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5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697" r:id="rId2"/>
    <p:sldMasterId id="2147483708" r:id="rId3"/>
    <p:sldMasterId id="2147483720" r:id="rId4"/>
    <p:sldMasterId id="2147483727" r:id="rId5"/>
    <p:sldMasterId id="2147483735" r:id="rId6"/>
  </p:sldMasterIdLst>
  <p:notesMasterIdLst>
    <p:notesMasterId r:id="rId25"/>
  </p:notesMasterIdLst>
  <p:sldIdLst>
    <p:sldId id="5973" r:id="rId7"/>
    <p:sldId id="4640" r:id="rId8"/>
    <p:sldId id="4651" r:id="rId9"/>
    <p:sldId id="4606" r:id="rId10"/>
    <p:sldId id="4649" r:id="rId11"/>
    <p:sldId id="4647" r:id="rId12"/>
    <p:sldId id="4648" r:id="rId13"/>
    <p:sldId id="4650" r:id="rId14"/>
    <p:sldId id="4652" r:id="rId15"/>
    <p:sldId id="5877" r:id="rId16"/>
    <p:sldId id="277" r:id="rId17"/>
    <p:sldId id="300" r:id="rId18"/>
    <p:sldId id="301" r:id="rId19"/>
    <p:sldId id="302" r:id="rId20"/>
    <p:sldId id="303" r:id="rId21"/>
    <p:sldId id="299" r:id="rId22"/>
    <p:sldId id="298" r:id="rId23"/>
    <p:sldId id="304" r:id="rId24"/>
  </p:sldIdLst>
  <p:sldSz cx="12192000" cy="6858000"/>
  <p:notesSz cx="6718300" cy="9855200"/>
  <p:custDataLst>
    <p:tags r:id="rId26"/>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3" orient="horz" pos="4292" userDrawn="1">
          <p15:clr>
            <a:srgbClr val="A4A3A4"/>
          </p15:clr>
        </p15:guide>
        <p15:guide id="33" orient="horz" pos="572" userDrawn="1">
          <p15:clr>
            <a:srgbClr val="A4A3A4"/>
          </p15:clr>
        </p15:guide>
        <p15:guide id="35" orient="horz" pos="2772" userDrawn="1">
          <p15:clr>
            <a:srgbClr val="A4A3A4"/>
          </p15:clr>
        </p15:guide>
        <p15:guide id="39" orient="horz" pos="504" userDrawn="1">
          <p15:clr>
            <a:srgbClr val="A4A3A4"/>
          </p15:clr>
        </p15:guide>
        <p15:guide id="43" pos="6448" userDrawn="1">
          <p15:clr>
            <a:srgbClr val="A4A3A4"/>
          </p15:clr>
        </p15:guide>
        <p15:guide id="44" orient="horz" pos="2160" userDrawn="1">
          <p15:clr>
            <a:srgbClr val="A4A3A4"/>
          </p15:clr>
        </p15:guide>
        <p15:guide id="45" pos="1323" userDrawn="1">
          <p15:clr>
            <a:srgbClr val="A4A3A4"/>
          </p15:clr>
        </p15:guide>
        <p15:guide id="47" pos="415" userDrawn="1">
          <p15:clr>
            <a:srgbClr val="A4A3A4"/>
          </p15:clr>
        </p15:guide>
        <p15:guide id="48" pos="4112" userDrawn="1">
          <p15:clr>
            <a:srgbClr val="A4A3A4"/>
          </p15:clr>
        </p15:guide>
        <p15:guide id="49" pos="5201" userDrawn="1">
          <p15:clr>
            <a:srgbClr val="A4A3A4"/>
          </p15:clr>
        </p15:guide>
        <p15:guide id="50" pos="2184" userDrawn="1">
          <p15:clr>
            <a:srgbClr val="A4A3A4"/>
          </p15:clr>
        </p15:guide>
        <p15:guide id="52" pos="3477" userDrawn="1">
          <p15:clr>
            <a:srgbClr val="A4A3A4"/>
          </p15:clr>
        </p15:guide>
        <p15:guide id="55" pos="461" userDrawn="1">
          <p15:clr>
            <a:srgbClr val="A4A3A4"/>
          </p15:clr>
        </p15:guide>
        <p15:guide id="59" orient="horz" pos="43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Анастасия Александровна Панюкова" initials="ААП" lastIdx="17" clrIdx="0">
    <p:extLst>
      <p:ext uri="{19B8F6BF-5375-455C-9EA6-DF929625EA0E}">
        <p15:presenceInfo xmlns:p15="http://schemas.microsoft.com/office/powerpoint/2012/main" userId="S::a.panyukova@bitobe.ru::265d38d0-9317-46d7-a542-1369372665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C2BC"/>
    <a:srgbClr val="01AF71"/>
    <a:srgbClr val="45A17A"/>
    <a:srgbClr val="FF3A3A"/>
    <a:srgbClr val="FFFFFF"/>
    <a:srgbClr val="56B78D"/>
    <a:srgbClr val="F68807"/>
    <a:srgbClr val="B60000"/>
    <a:srgbClr val="C52A2A"/>
    <a:srgbClr val="FFFD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A3C6D1-B2E9-4513-A7B9-CF69A8CDEBDD}" v="15180" dt="2021-10-04T11:51:25.484"/>
    <p1510:client id="{666889F4-5942-4EAE-A8DD-20D0A41677F8}" v="2" dt="2021-10-04T12:47:09.448"/>
    <p1510:client id="{724AA125-6D1A-4A83-8725-AB3D4545489E}" vWet="36" dt="2021-10-04T11:02:18.333"/>
    <p1510:client id="{E391F034-1B80-49F4-A354-1DF79D6F4FF1}" v="1110" dt="2021-10-04T13:15:28.735"/>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4292"/>
        <p:guide orient="horz" pos="572"/>
        <p:guide orient="horz" pos="2772"/>
        <p:guide orient="horz" pos="504"/>
        <p:guide pos="6448"/>
        <p:guide orient="horz" pos="2160"/>
        <p:guide pos="1323"/>
        <p:guide pos="415"/>
        <p:guide pos="4112"/>
        <p:guide pos="5201"/>
        <p:guide pos="2184"/>
        <p:guide pos="3477"/>
        <p:guide pos="461"/>
        <p:guide orient="horz" pos="436"/>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1263" cy="49447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05482" y="0"/>
            <a:ext cx="2911263" cy="494472"/>
          </a:xfrm>
          <a:prstGeom prst="rect">
            <a:avLst/>
          </a:prstGeom>
        </p:spPr>
        <p:txBody>
          <a:bodyPr vert="horz" lIns="91440" tIns="45720" rIns="91440" bIns="45720" rtlCol="0"/>
          <a:lstStyle>
            <a:lvl1pPr algn="r">
              <a:defRPr sz="1200"/>
            </a:lvl1pPr>
          </a:lstStyle>
          <a:p>
            <a:fld id="{4C78DB90-233A-4289-8AC4-3A82775D03B5}" type="datetimeFigureOut">
              <a:rPr lang="ru-RU" smtClean="0"/>
              <a:t>04.10.2021</a:t>
            </a:fld>
            <a:endParaRPr lang="ru-RU"/>
          </a:p>
        </p:txBody>
      </p:sp>
      <p:sp>
        <p:nvSpPr>
          <p:cNvPr id="4" name="Образ слайда 3"/>
          <p:cNvSpPr>
            <a:spLocks noGrp="1" noRot="1" noChangeAspect="1"/>
          </p:cNvSpPr>
          <p:nvPr>
            <p:ph type="sldImg" idx="2"/>
          </p:nvPr>
        </p:nvSpPr>
        <p:spPr>
          <a:xfrm>
            <a:off x="403225" y="1231900"/>
            <a:ext cx="5911850" cy="3325813"/>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1830" y="4742815"/>
            <a:ext cx="5374640" cy="3880485"/>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60730"/>
            <a:ext cx="2911263" cy="49447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05482" y="9360730"/>
            <a:ext cx="2911263" cy="494470"/>
          </a:xfrm>
          <a:prstGeom prst="rect">
            <a:avLst/>
          </a:prstGeom>
        </p:spPr>
        <p:txBody>
          <a:bodyPr vert="horz" lIns="91440" tIns="45720" rIns="91440" bIns="45720" rtlCol="0" anchor="b"/>
          <a:lstStyle>
            <a:lvl1pPr algn="r">
              <a:defRPr sz="1200"/>
            </a:lvl1pPr>
          </a:lstStyle>
          <a:p>
            <a:fld id="{AD506F7D-CAE5-48F4-A7CD-5226F650A6C1}" type="slidenum">
              <a:rPr lang="ru-RU" smtClean="0"/>
              <a:t>‹#›</a:t>
            </a:fld>
            <a:endParaRPr lang="ru-RU"/>
          </a:p>
        </p:txBody>
      </p:sp>
    </p:spTree>
    <p:extLst>
      <p:ext uri="{BB962C8B-B14F-4D97-AF65-F5344CB8AC3E}">
        <p14:creationId xmlns:p14="http://schemas.microsoft.com/office/powerpoint/2010/main" val="1882711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kotterinc.com/8-steps-process-for-leading-change/"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b="0" i="0">
                <a:solidFill>
                  <a:srgbClr val="000000"/>
                </a:solidFill>
                <a:effectLst/>
                <a:latin typeface="YS Text Optional"/>
              </a:rPr>
              <a:t>Трансформация бизнеса представляет собой такие изменения, которые связаны с существенными, глубинными преобразованиями лежащих в его основе принципов и убеждений и как следствие – в модели бизнеса. В последние годы на слуху такие примеры трансформации, как Лин (</a:t>
            </a:r>
            <a:r>
              <a:rPr lang="ru-RU" b="0" i="0" err="1">
                <a:solidFill>
                  <a:srgbClr val="000000"/>
                </a:solidFill>
                <a:effectLst/>
                <a:latin typeface="YS Text Optional"/>
              </a:rPr>
              <a:t>Lean</a:t>
            </a:r>
            <a:r>
              <a:rPr lang="ru-RU" b="0" i="0">
                <a:solidFill>
                  <a:srgbClr val="000000"/>
                </a:solidFill>
                <a:effectLst/>
                <a:latin typeface="YS Text Optional"/>
              </a:rPr>
              <a:t>) трансформация, </a:t>
            </a:r>
            <a:r>
              <a:rPr lang="ru-RU" b="0" i="0" err="1">
                <a:solidFill>
                  <a:srgbClr val="000000"/>
                </a:solidFill>
                <a:effectLst/>
                <a:latin typeface="YS Text Optional"/>
              </a:rPr>
              <a:t>Agile</a:t>
            </a:r>
            <a:r>
              <a:rPr lang="ru-RU" b="0" i="0">
                <a:solidFill>
                  <a:srgbClr val="000000"/>
                </a:solidFill>
                <a:effectLst/>
                <a:latin typeface="YS Text Optional"/>
              </a:rPr>
              <a:t> трансформация, ТОС трансформация и цифровая трансформация. Все они безусловно связаны с глубинными изменениями в убеждениях. Например, Лин трансформация связана с вовлечением персонала и немыслима без уважения к нему. На одно из первых мест выходит реальное делегирование полномочий рабочим, вовлечение их в принятие решений, использование нематериальной мотивации. Отсутствие такого элемента ставит под вопрос то, что проводимые изменения являются Лин трансформацией. Концентрация на отдельных инструментах, таких как поток создания ценности, порядок на рабочем месте может ни к чему не привести.</a:t>
            </a:r>
            <a:endParaRPr lang="ru-RU"/>
          </a:p>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2</a:t>
            </a:fld>
            <a:endParaRPr lang="ru-RU"/>
          </a:p>
        </p:txBody>
      </p:sp>
    </p:spTree>
    <p:extLst>
      <p:ext uri="{BB962C8B-B14F-4D97-AF65-F5344CB8AC3E}">
        <p14:creationId xmlns:p14="http://schemas.microsoft.com/office/powerpoint/2010/main" val="3351797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6</a:t>
            </a:fld>
            <a:endParaRPr lang="ru-RU"/>
          </a:p>
        </p:txBody>
      </p:sp>
    </p:spTree>
    <p:extLst>
      <p:ext uri="{BB962C8B-B14F-4D97-AF65-F5344CB8AC3E}">
        <p14:creationId xmlns:p14="http://schemas.microsoft.com/office/powerpoint/2010/main" val="280877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7</a:t>
            </a:fld>
            <a:endParaRPr lang="ru-RU"/>
          </a:p>
        </p:txBody>
      </p:sp>
    </p:spTree>
    <p:extLst>
      <p:ext uri="{BB962C8B-B14F-4D97-AF65-F5344CB8AC3E}">
        <p14:creationId xmlns:p14="http://schemas.microsoft.com/office/powerpoint/2010/main" val="1906013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3</a:t>
            </a:fld>
            <a:endParaRPr lang="ru-RU"/>
          </a:p>
        </p:txBody>
      </p:sp>
    </p:spTree>
    <p:extLst>
      <p:ext uri="{BB962C8B-B14F-4D97-AF65-F5344CB8AC3E}">
        <p14:creationId xmlns:p14="http://schemas.microsoft.com/office/powerpoint/2010/main" val="2076993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0" i="0">
                <a:solidFill>
                  <a:srgbClr val="000000"/>
                </a:solidFill>
                <a:effectLst/>
                <a:latin typeface="+mj-lt"/>
              </a:rPr>
              <a:t>Есть ли альтернатива, которая поможет преодолеть бесполезные, хотя и понятные, иммунные реакции, замедляющие или вовсе убивающие трансформацию? Наши исследования показывают, что существует подход, который мы называем «масштабированием края» (</a:t>
            </a:r>
            <a:r>
              <a:rPr lang="ru-RU" sz="1200" b="0" i="0" err="1">
                <a:solidFill>
                  <a:srgbClr val="000000"/>
                </a:solidFill>
                <a:effectLst/>
                <a:latin typeface="+mj-lt"/>
              </a:rPr>
              <a:t>scaling</a:t>
            </a:r>
            <a:r>
              <a:rPr lang="ru-RU" sz="1200" b="0" i="0">
                <a:solidFill>
                  <a:srgbClr val="000000"/>
                </a:solidFill>
                <a:effectLst/>
                <a:latin typeface="+mj-lt"/>
              </a:rPr>
              <a:t> </a:t>
            </a:r>
            <a:r>
              <a:rPr lang="ru-RU" sz="1200" b="0" i="0" err="1">
                <a:solidFill>
                  <a:srgbClr val="000000"/>
                </a:solidFill>
                <a:effectLst/>
                <a:latin typeface="+mj-lt"/>
              </a:rPr>
              <a:t>the</a:t>
            </a:r>
            <a:r>
              <a:rPr lang="ru-RU" sz="1200" b="0" i="0">
                <a:solidFill>
                  <a:srgbClr val="000000"/>
                </a:solidFill>
                <a:effectLst/>
                <a:latin typeface="+mj-lt"/>
              </a:rPr>
              <a:t> </a:t>
            </a:r>
            <a:r>
              <a:rPr lang="ru-RU" sz="1200" b="0" i="0" err="1">
                <a:solidFill>
                  <a:srgbClr val="000000"/>
                </a:solidFill>
                <a:effectLst/>
                <a:latin typeface="+mj-lt"/>
              </a:rPr>
              <a:t>edge</a:t>
            </a:r>
            <a:r>
              <a:rPr lang="ru-RU" sz="1200" b="0" i="0">
                <a:solidFill>
                  <a:srgbClr val="000000"/>
                </a:solidFill>
                <a:effectLst/>
                <a:latin typeface="+mj-lt"/>
              </a:rPr>
              <a:t>).</a:t>
            </a:r>
          </a:p>
          <a:p>
            <a:endParaRPr lang="ru-RU" sz="1200" b="0" i="0">
              <a:solidFill>
                <a:srgbClr val="000000"/>
              </a:solidFill>
              <a:effectLst/>
              <a:latin typeface="+mj-lt"/>
            </a:endParaRPr>
          </a:p>
          <a:p>
            <a:r>
              <a:rPr lang="ru-RU" sz="1200" b="0" i="0">
                <a:solidFill>
                  <a:srgbClr val="000000"/>
                </a:solidFill>
                <a:effectLst/>
                <a:latin typeface="+mj-lt"/>
              </a:rPr>
              <a:t>Этот подход не пытается изменить существующий бизнес. Вместо этого он фокусируется на поиске «сильной стороны» за пределами центра бизнеса, обладающей потенциалом быстрого масштабирования до такого размера, чтобы стать новым ядром бизнеса. Это высокая планка — это больше, чем просто инновации, рост или диверсификация. Это обязательство создать что-то настолько большое, способное в итоге приносить основную часть доходов и прибыли компании.</a:t>
            </a:r>
          </a:p>
          <a:p>
            <a:endParaRPr lang="ru-RU" sz="1200" b="0" i="0">
              <a:solidFill>
                <a:srgbClr val="000000"/>
              </a:solidFill>
              <a:effectLst/>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a:solidFill>
                  <a:srgbClr val="000000"/>
                </a:solidFill>
                <a:effectLst/>
                <a:latin typeface="+mj-lt"/>
              </a:rPr>
              <a:t>Идея запусков проектов «на краю» не нова. Многие компании пытаются создать пространство для инициатив и инноваций, чтобы набрать критическую массу и импульс, и запустить их с краю текущего бизнеса. Но часто цель таких инициатив в том, чтобы быстро протолкнуть их из периферии в центр бизнеса, чтобы они стали катализатором изменений в ядре. В этот момент та самая иммунная система и антитела мобилизуются внутри ядра, чтобы сокрушить предполагаемую угрозу, пришедшую извне.</a:t>
            </a:r>
            <a:br>
              <a:rPr lang="ru-RU" sz="1200">
                <a:latin typeface="+mj-lt"/>
              </a:rPr>
            </a:br>
            <a:endParaRPr lang="ru-RU" sz="1200" b="0" i="0">
              <a:solidFill>
                <a:srgbClr val="000000"/>
              </a:solidFill>
              <a:effectLst/>
              <a:latin typeface="+mj-lt"/>
            </a:endParaRPr>
          </a:p>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7</a:t>
            </a:fld>
            <a:endParaRPr lang="ru-RU"/>
          </a:p>
        </p:txBody>
      </p:sp>
    </p:spTree>
    <p:extLst>
      <p:ext uri="{BB962C8B-B14F-4D97-AF65-F5344CB8AC3E}">
        <p14:creationId xmlns:p14="http://schemas.microsoft.com/office/powerpoint/2010/main" val="924630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rtl="0"/>
            <a:r>
              <a:rPr lang="ru-RU" b="1" i="0">
                <a:solidFill>
                  <a:srgbClr val="222222"/>
                </a:solidFill>
                <a:effectLst/>
                <a:latin typeface="montserrat" panose="020B0604020202020204" pitchFamily="2" charset="-52"/>
              </a:rPr>
              <a:t>Ошибка №1. Агент изменений не владеет </a:t>
            </a:r>
            <a:r>
              <a:rPr lang="ru-RU" b="1" i="0" err="1">
                <a:solidFill>
                  <a:srgbClr val="222222"/>
                </a:solidFill>
                <a:effectLst/>
                <a:latin typeface="montserrat" panose="020B0604020202020204" pitchFamily="2" charset="-52"/>
              </a:rPr>
              <a:t>change</a:t>
            </a:r>
            <a:r>
              <a:rPr lang="ru-RU" b="1" i="0">
                <a:solidFill>
                  <a:srgbClr val="222222"/>
                </a:solidFill>
                <a:effectLst/>
                <a:latin typeface="montserrat" panose="020B0604020202020204" pitchFamily="2" charset="-52"/>
              </a:rPr>
              <a:t>-менеджментом</a:t>
            </a:r>
          </a:p>
          <a:p>
            <a:pPr algn="l" rtl="0"/>
            <a:r>
              <a:rPr lang="ru-RU" b="0" i="0">
                <a:solidFill>
                  <a:srgbClr val="222222"/>
                </a:solidFill>
                <a:effectLst/>
                <a:latin typeface="montserrat" panose="020B0604020202020204" pitchFamily="2" charset="-52"/>
              </a:rPr>
              <a:t>В основе любых изменений должна лежать такая наука как </a:t>
            </a:r>
            <a:r>
              <a:rPr lang="ru-RU" b="0" i="0" err="1">
                <a:solidFill>
                  <a:srgbClr val="222222"/>
                </a:solidFill>
                <a:effectLst/>
                <a:latin typeface="montserrat" panose="020B0604020202020204" pitchFamily="2" charset="-52"/>
              </a:rPr>
              <a:t>change</a:t>
            </a:r>
            <a:r>
              <a:rPr lang="ru-RU" b="0" i="0">
                <a:solidFill>
                  <a:srgbClr val="222222"/>
                </a:solidFill>
                <a:effectLst/>
                <a:latin typeface="montserrat" panose="020B0604020202020204" pitchFamily="2" charset="-52"/>
              </a:rPr>
              <a:t>-менеджмент. К сожалению, на постсоветском пространстве его нигде не преподают. При этом в Европе, США и других странах — это полноценная профессия, которую можно получить в любом бизнес-университете.</a:t>
            </a:r>
          </a:p>
          <a:p>
            <a:pPr algn="l" rtl="0"/>
            <a:r>
              <a:rPr lang="ru-RU" b="0" i="0">
                <a:solidFill>
                  <a:srgbClr val="222222"/>
                </a:solidFill>
                <a:effectLst/>
                <a:latin typeface="montserrat" panose="020B0604020202020204" pitchFamily="2" charset="-52"/>
              </a:rPr>
              <a:t>В процессе преподавания в бизнес-школах я с удивлением обнаруживаю, что ответственные за направление трансформации бизнеса часто не знают базовых вещей. Банально не везде даже используют подходы Коттера, который почти полвека назад </a:t>
            </a:r>
            <a:r>
              <a:rPr lang="ru-RU" b="0" i="0" u="none" strike="noStrike">
                <a:solidFill>
                  <a:srgbClr val="994555"/>
                </a:solidFill>
                <a:effectLst/>
                <a:latin typeface="montserrat" panose="020B0604020202020204" pitchFamily="2" charset="-52"/>
                <a:hlinkClick r:id="rId3"/>
              </a:rPr>
              <a:t>описал</a:t>
            </a:r>
            <a:r>
              <a:rPr lang="ru-RU" b="0" i="0">
                <a:solidFill>
                  <a:srgbClr val="222222"/>
                </a:solidFill>
                <a:effectLst/>
                <a:latin typeface="montserrat" panose="020B0604020202020204" pitchFamily="2" charset="-52"/>
              </a:rPr>
              <a:t>, в каком порядке и как стоит подходить к любым изменениям. </a:t>
            </a:r>
          </a:p>
          <a:p>
            <a:pPr algn="l" rtl="0"/>
            <a:endParaRPr lang="ru-RU" b="0" i="0">
              <a:solidFill>
                <a:srgbClr val="222222"/>
              </a:solidFill>
              <a:effectLst/>
              <a:latin typeface="montserrat" panose="020B0604020202020204" pitchFamily="2" charset="-52"/>
            </a:endParaRPr>
          </a:p>
          <a:p>
            <a:pPr algn="l" rtl="0"/>
            <a:r>
              <a:rPr lang="ru-RU" b="1" i="0">
                <a:solidFill>
                  <a:srgbClr val="222222"/>
                </a:solidFill>
                <a:effectLst/>
                <a:latin typeface="montserrat" panose="00000500000000000000" pitchFamily="2" charset="-52"/>
              </a:rPr>
              <a:t>Ошибка №2. Нет команды или она собрана неправильно</a:t>
            </a:r>
          </a:p>
          <a:p>
            <a:pPr algn="l" rtl="0"/>
            <a:r>
              <a:rPr lang="ru-RU" b="0" i="0">
                <a:solidFill>
                  <a:srgbClr val="222222"/>
                </a:solidFill>
                <a:effectLst/>
                <a:latin typeface="montserrat" panose="00000500000000000000" pitchFamily="2" charset="-52"/>
              </a:rPr>
              <a:t>Найти в одном человеке все компетенции и качества, необходимые для проведения трансформации, практически нереально. Поэтому чаще всего трансформация происходит с помощью команды. Есть множество нюансов, которые нужно учитывать при ее создании. </a:t>
            </a:r>
          </a:p>
          <a:p>
            <a:pPr algn="l" rtl="0"/>
            <a:r>
              <a:rPr lang="ru-RU" b="0" i="0">
                <a:solidFill>
                  <a:srgbClr val="222222"/>
                </a:solidFill>
                <a:effectLst/>
                <a:latin typeface="montserrat" panose="00000500000000000000" pitchFamily="2" charset="-52"/>
              </a:rPr>
              <a:t>Мы глубоко анализируем команды в рамках нашей программы в MACS, учим комбинировать нужные качества и диагностировать, чего не хватает. Учимся подбирать оптимальную команду в зависимости от компании и бизнес-запроса.</a:t>
            </a:r>
          </a:p>
          <a:p>
            <a:pPr algn="l" rtl="0"/>
            <a:r>
              <a:rPr lang="ru-RU" b="0" i="0">
                <a:solidFill>
                  <a:srgbClr val="222222"/>
                </a:solidFill>
                <a:effectLst/>
                <a:latin typeface="montserrat" panose="00000500000000000000" pitchFamily="2" charset="-52"/>
              </a:rPr>
              <a:t>Например, нужно учитывать, что в команде должны быть не только </a:t>
            </a:r>
            <a:r>
              <a:rPr lang="ru-RU" b="0" i="0" err="1">
                <a:solidFill>
                  <a:srgbClr val="222222"/>
                </a:solidFill>
                <a:effectLst/>
                <a:latin typeface="montserrat" panose="00000500000000000000" pitchFamily="2" charset="-52"/>
              </a:rPr>
              <a:t>инноваторы</a:t>
            </a:r>
            <a:r>
              <a:rPr lang="ru-RU" b="0" i="0">
                <a:solidFill>
                  <a:srgbClr val="222222"/>
                </a:solidFill>
                <a:effectLst/>
                <a:latin typeface="montserrat" panose="00000500000000000000" pitchFamily="2" charset="-52"/>
              </a:rPr>
              <a:t>, но и человек, который более практично будет смотреть на ваши сумасшедшие идеи и приземлять их на реалистичную почву. </a:t>
            </a:r>
          </a:p>
          <a:p>
            <a:pPr algn="l" rtl="0"/>
            <a:endParaRPr lang="ru-RU" b="0" i="0">
              <a:solidFill>
                <a:srgbClr val="222222"/>
              </a:solidFill>
              <a:effectLst/>
              <a:latin typeface="montserrat" panose="020B0604020202020204" pitchFamily="2" charset="-52"/>
            </a:endParaRPr>
          </a:p>
          <a:p>
            <a:pPr algn="l"/>
            <a:r>
              <a:rPr lang="ru-RU" b="1" i="0">
                <a:solidFill>
                  <a:srgbClr val="222222"/>
                </a:solidFill>
                <a:effectLst/>
                <a:latin typeface="montserrat" panose="00000500000000000000" pitchFamily="2" charset="-52"/>
              </a:rPr>
              <a:t>Ошибка №3. Не заданы бизнес-цели</a:t>
            </a:r>
          </a:p>
          <a:p>
            <a:pPr algn="l" rtl="0"/>
            <a:r>
              <a:rPr lang="ru-RU" b="0" i="0">
                <a:solidFill>
                  <a:srgbClr val="222222"/>
                </a:solidFill>
                <a:effectLst/>
                <a:latin typeface="montserrat" panose="00000500000000000000" pitchFamily="2" charset="-52"/>
              </a:rPr>
              <a:t>Базовые ошибки начинаются с того, что люди в самом начале неправильно коммуницируют, не создают понятное видение бизнес-цели, не отвечают на ключевые вопросы: «Куда и зачем мы движемся? Как изменения повлияют на нас? Что мы получим?». </a:t>
            </a:r>
          </a:p>
          <a:p>
            <a:pPr algn="l" rtl="0"/>
            <a:r>
              <a:rPr lang="ru-RU" b="0" i="0">
                <a:solidFill>
                  <a:srgbClr val="222222"/>
                </a:solidFill>
                <a:effectLst/>
                <a:latin typeface="montserrat" panose="00000500000000000000" pitchFamily="2" charset="-52"/>
              </a:rPr>
              <a:t>Трансформация не должна делаться ради трансформации. Для иллюстрации давайте представим себе безумный кейс, в котором продуктовая компания производила мороженое, а потом вдруг взяла и решила стать IT-компанией, потому что это модно. </a:t>
            </a:r>
          </a:p>
          <a:p>
            <a:pPr algn="l" rtl="0"/>
            <a:r>
              <a:rPr lang="ru-RU" b="0" i="0">
                <a:solidFill>
                  <a:srgbClr val="222222"/>
                </a:solidFill>
                <a:effectLst/>
                <a:latin typeface="montserrat" panose="00000500000000000000" pitchFamily="2" charset="-52"/>
              </a:rPr>
              <a:t>Логично предположить, что процессы создания мороженого и работы IT-компании будут во многом не совпадать, и такая гонка за «бизнес-модой» привести к негативным последствиям.</a:t>
            </a:r>
          </a:p>
          <a:p>
            <a:pPr algn="l" rtl="0"/>
            <a:endParaRPr lang="ru-RU" b="0" i="0">
              <a:solidFill>
                <a:srgbClr val="222222"/>
              </a:solidFill>
              <a:effectLst/>
              <a:latin typeface="montserrat" panose="00000500000000000000" pitchFamily="2" charset="-52"/>
            </a:endParaRPr>
          </a:p>
          <a:p>
            <a:pPr algn="l" rtl="0"/>
            <a:r>
              <a:rPr lang="ru-RU" b="1" i="0">
                <a:solidFill>
                  <a:srgbClr val="222222"/>
                </a:solidFill>
                <a:effectLst/>
                <a:latin typeface="montserrat" panose="00000500000000000000" pitchFamily="2" charset="-52"/>
              </a:rPr>
              <a:t>Ошибка №4. Неверные ожидания от изменений</a:t>
            </a:r>
          </a:p>
          <a:p>
            <a:pPr algn="l" rtl="0"/>
            <a:r>
              <a:rPr lang="ru-RU" b="0" i="0">
                <a:solidFill>
                  <a:srgbClr val="222222"/>
                </a:solidFill>
                <a:effectLst/>
                <a:latin typeface="montserrat" panose="00000500000000000000" pitchFamily="2" charset="-52"/>
              </a:rPr>
              <a:t>Одна из ключевых ошибок лежит в сфере управления ожиданиями и рисками. Любые изменения, которые вы внедряете, всегда влекут за собой комплексные последствия.</a:t>
            </a:r>
          </a:p>
          <a:p>
            <a:pPr algn="l" rtl="0"/>
            <a:r>
              <a:rPr lang="ru-RU" b="0" i="0">
                <a:solidFill>
                  <a:srgbClr val="222222"/>
                </a:solidFill>
                <a:effectLst/>
                <a:latin typeface="montserrat" panose="00000500000000000000" pitchFamily="2" charset="-52"/>
              </a:rPr>
              <a:t>Например, вы решили оцифровать воронку продаж, внедрив CRM. На старте многие думают: сейчас внедрим — и заживем! В действительности это работает не так. Будьте готовы, что на первых этапах эффективность команды упадет, потому что она будет использовать новый для нее инструмент и тратить на это время. </a:t>
            </a:r>
          </a:p>
          <a:p>
            <a:pPr algn="l" rtl="0"/>
            <a:r>
              <a:rPr lang="ru-RU" b="0" i="0">
                <a:solidFill>
                  <a:srgbClr val="222222"/>
                </a:solidFill>
                <a:effectLst/>
                <a:latin typeface="montserrat" panose="00000500000000000000" pitchFamily="2" charset="-52"/>
              </a:rPr>
              <a:t>Часто компании действительно выходят на новый уровень. Иногда — не выходят, потому что заканчиваются терпение, время и ресурсы. Неудача происходит из-за ошибок в управлении изменениями и из-за непонимания, как влияют те самые изменения. Это можно встретить почти в каждом неудавшимся кейсе по трансформации</a:t>
            </a:r>
          </a:p>
          <a:p>
            <a:pPr algn="l" rtl="0"/>
            <a:endParaRPr lang="ru-RU" b="0" i="0">
              <a:solidFill>
                <a:srgbClr val="222222"/>
              </a:solidFill>
              <a:effectLst/>
              <a:latin typeface="montserrat" panose="00000500000000000000" pitchFamily="2" charset="-52"/>
            </a:endParaRPr>
          </a:p>
          <a:p>
            <a:pPr algn="l" rtl="0"/>
            <a:endParaRPr lang="ru-RU" b="0" i="0">
              <a:solidFill>
                <a:srgbClr val="222222"/>
              </a:solidFill>
              <a:effectLst/>
              <a:latin typeface="montserrat" panose="00000500000000000000" pitchFamily="2" charset="-52"/>
            </a:endParaRPr>
          </a:p>
          <a:p>
            <a:pPr algn="l"/>
            <a:r>
              <a:rPr lang="ru-RU" b="0" i="0">
                <a:solidFill>
                  <a:srgbClr val="435065"/>
                </a:solidFill>
                <a:effectLst/>
                <a:latin typeface="PT Sans" panose="020B0503020203020204" pitchFamily="34" charset="-52"/>
              </a:rPr>
              <a:t>трансформация – это процесс протяженный во времени/длительный, отсюда сроки трансформационного коучинга от 6 </a:t>
            </a:r>
            <a:r>
              <a:rPr lang="ru-RU" b="0" i="0" err="1">
                <a:solidFill>
                  <a:srgbClr val="435065"/>
                </a:solidFill>
                <a:effectLst/>
                <a:latin typeface="PT Sans" panose="020B0503020203020204" pitchFamily="34" charset="-52"/>
              </a:rPr>
              <a:t>мес</a:t>
            </a:r>
            <a:r>
              <a:rPr lang="ru-RU" b="0" i="0">
                <a:solidFill>
                  <a:srgbClr val="435065"/>
                </a:solidFill>
                <a:effectLst/>
                <a:latin typeface="PT Sans" panose="020B0503020203020204" pitchFamily="34" charset="-52"/>
              </a:rPr>
              <a:t> и больше (НЕ путать с трекингом), сроки в управлении изменениями, испытательные сроки на управленческие позиции от полугода (особенно если мы говорим про топ-менеджмент)…все это для того, чтобы дать психике человека время созреть и перестроиться</a:t>
            </a:r>
          </a:p>
          <a:p>
            <a:pPr algn="l"/>
            <a:endParaRPr lang="ru-RU">
              <a:solidFill>
                <a:srgbClr val="435065"/>
              </a:solidFill>
              <a:latin typeface="PT Sans" panose="020B0503020203020204" pitchFamily="34" charset="-52"/>
            </a:endParaRPr>
          </a:p>
          <a:p>
            <a:pPr algn="l"/>
            <a:endParaRPr lang="ru-RU" b="0" i="0">
              <a:solidFill>
                <a:srgbClr val="435065"/>
              </a:solidFill>
              <a:effectLst/>
              <a:latin typeface="PT Sans" panose="020B0503020203020204" pitchFamily="34" charset="-52"/>
            </a:endParaRPr>
          </a:p>
          <a:p>
            <a:pPr algn="l"/>
            <a:r>
              <a:rPr lang="ru-RU" b="0" i="0">
                <a:solidFill>
                  <a:srgbClr val="435065"/>
                </a:solidFill>
                <a:effectLst/>
                <a:latin typeface="PT Sans" panose="020B0503020203020204" pitchFamily="34" charset="-52"/>
              </a:rPr>
              <a:t>ее НЕЛЬЗЯ форсировать – это как с беременностью, вот положено от природы женщине вынашивать ребенка 9 месяцев, вот так и должно быть, все происходит в срок, иначе – могут случиться преждевременные роды, их последствия нам всем хорошо знакомы…</a:t>
            </a:r>
          </a:p>
          <a:p>
            <a:pPr algn="l"/>
            <a:endParaRPr lang="ru-RU">
              <a:solidFill>
                <a:srgbClr val="435065"/>
              </a:solidFill>
              <a:latin typeface="PT Sans" panose="020B0503020203020204" pitchFamily="34" charset="-52"/>
            </a:endParaRPr>
          </a:p>
          <a:p>
            <a:pPr algn="l"/>
            <a:r>
              <a:rPr lang="ru-RU" b="0" i="0">
                <a:solidFill>
                  <a:srgbClr val="435065"/>
                </a:solidFill>
                <a:effectLst/>
                <a:latin typeface="PT Sans" panose="020B0503020203020204" pitchFamily="34" charset="-52"/>
              </a:rPr>
              <a:t>в результате трансформации происходят внутренние изменения  в человеке (трансформация – это изменения свойств психики человека), в результате которых он начинает по-новому проявляться: уверена, вы часто наблюдали такую картину, когда давно знакомый вам коллега «вдруг» начинал как-то по-новому себя вести/проявлять другие качества; на самом деле, НЕ «вдруг» - этому «вдруг» предшествовали скрытые внутренние изменения психики, безусловно, спровоцированные влиянием внешней среды, людей из окружения, обстоятельств и т.д., и т.п.</a:t>
            </a:r>
          </a:p>
          <a:p>
            <a:pPr algn="l">
              <a:buFont typeface="Arial" panose="020B0604020202020204" pitchFamily="34" charset="0"/>
              <a:buChar char="•"/>
            </a:pPr>
            <a:r>
              <a:rPr lang="ru-RU" b="0" i="0">
                <a:solidFill>
                  <a:srgbClr val="435065"/>
                </a:solidFill>
                <a:effectLst/>
                <a:latin typeface="PT Sans" panose="020B0503020203020204" pitchFamily="34" charset="-52"/>
              </a:rPr>
              <a:t>если говорить языком пирамиды логических уровней, результатом трансформации является проявление человека по-новому по всем логическим уровням (как только произошел сдвиг на уровне БЫТЬ, КТО Я, уровень личностного своеобразия, идентификации) по принципу домино: проявляются новые ценности, формируются и запускаются новые установки/убеждения, они запускают механизм развития и проявления новых качеств и способностей, которые складываются в новые действия и новые модели поведения (на языке бизнеса – человек начинает проявлять и развивать новые компетенции), которые ведут к новым отношениям, новым решениям/новому качеству решений, а отсюда – к новым результатам (результаты в бизнесе – это всеми любимые задачи по SMART, KPI, различные статистические и аналитические показатели, планы продаж, маржа, EBITDA и т.д., и т.п.)</a:t>
            </a:r>
          </a:p>
          <a:p>
            <a:pPr algn="l"/>
            <a:endParaRPr lang="ru-RU" b="0" i="0">
              <a:solidFill>
                <a:srgbClr val="435065"/>
              </a:solidFill>
              <a:effectLst/>
              <a:latin typeface="PT Sans" panose="020B0503020203020204" pitchFamily="34" charset="-52"/>
            </a:endParaRPr>
          </a:p>
          <a:p>
            <a:pPr algn="l" rtl="0"/>
            <a:endParaRPr lang="ru-RU" b="0" i="0">
              <a:solidFill>
                <a:srgbClr val="222222"/>
              </a:solidFill>
              <a:effectLst/>
              <a:latin typeface="montserrat" panose="00000500000000000000" pitchFamily="2" charset="-52"/>
            </a:endParaRPr>
          </a:p>
          <a:p>
            <a:pPr algn="l" rtl="0"/>
            <a:endParaRPr lang="ru-RU" b="0" i="0">
              <a:solidFill>
                <a:srgbClr val="222222"/>
              </a:solidFill>
              <a:effectLst/>
              <a:latin typeface="montserrat" panose="020B0604020202020204" pitchFamily="2" charset="-52"/>
            </a:endParaRPr>
          </a:p>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9</a:t>
            </a:fld>
            <a:endParaRPr lang="ru-RU"/>
          </a:p>
        </p:txBody>
      </p:sp>
    </p:spTree>
    <p:extLst>
      <p:ext uri="{BB962C8B-B14F-4D97-AF65-F5344CB8AC3E}">
        <p14:creationId xmlns:p14="http://schemas.microsoft.com/office/powerpoint/2010/main" val="1015654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0</a:t>
            </a:fld>
            <a:endParaRPr lang="ru-RU"/>
          </a:p>
        </p:txBody>
      </p:sp>
    </p:spTree>
    <p:extLst>
      <p:ext uri="{BB962C8B-B14F-4D97-AF65-F5344CB8AC3E}">
        <p14:creationId xmlns:p14="http://schemas.microsoft.com/office/powerpoint/2010/main" val="196590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1</a:t>
            </a:fld>
            <a:endParaRPr lang="ru-RU"/>
          </a:p>
        </p:txBody>
      </p:sp>
    </p:spTree>
    <p:extLst>
      <p:ext uri="{BB962C8B-B14F-4D97-AF65-F5344CB8AC3E}">
        <p14:creationId xmlns:p14="http://schemas.microsoft.com/office/powerpoint/2010/main" val="3370120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2</a:t>
            </a:fld>
            <a:endParaRPr lang="ru-RU"/>
          </a:p>
        </p:txBody>
      </p:sp>
    </p:spTree>
    <p:extLst>
      <p:ext uri="{BB962C8B-B14F-4D97-AF65-F5344CB8AC3E}">
        <p14:creationId xmlns:p14="http://schemas.microsoft.com/office/powerpoint/2010/main" val="3325140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AD506F7D-CAE5-48F4-A7CD-5226F650A6C1}" type="slidenum">
              <a:rPr lang="ru-RU" smtClean="0"/>
              <a:t>14</a:t>
            </a:fld>
            <a:endParaRPr lang="ru-RU"/>
          </a:p>
        </p:txBody>
      </p:sp>
    </p:spTree>
    <p:extLst>
      <p:ext uri="{BB962C8B-B14F-4D97-AF65-F5344CB8AC3E}">
        <p14:creationId xmlns:p14="http://schemas.microsoft.com/office/powerpoint/2010/main" val="1138735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5"/>
          </p:nvPr>
        </p:nvSpPr>
        <p:spPr/>
        <p:txBody>
          <a:bodyPr/>
          <a:lstStyle/>
          <a:p>
            <a:fld id="{68AD590D-A79C-4829-913A-0F30E3BCA46D}" type="slidenum">
              <a:rPr lang="ru-RU" smtClean="0"/>
              <a:t>15</a:t>
            </a:fld>
            <a:endParaRPr lang="ru-RU"/>
          </a:p>
        </p:txBody>
      </p:sp>
    </p:spTree>
    <p:extLst>
      <p:ext uri="{BB962C8B-B14F-4D97-AF65-F5344CB8AC3E}">
        <p14:creationId xmlns:p14="http://schemas.microsoft.com/office/powerpoint/2010/main" val="3107990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microsoft.com/office/2007/relationships/hdphoto" Target="../media/hdphoto2.wdp"/><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5.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38.xml"/><Relationship Id="rId1" Type="http://schemas.openxmlformats.org/officeDocument/2006/relationships/vmlDrawing" Target="../drawings/vmlDrawing2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39.xml"/><Relationship Id="rId1" Type="http://schemas.openxmlformats.org/officeDocument/2006/relationships/vmlDrawing" Target="../drawings/vmlDrawing2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7.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slideMaster" Target="../slideMasters/slideMaster3.xml"/><Relationship Id="rId7" Type="http://schemas.openxmlformats.org/officeDocument/2006/relationships/image" Target="../media/image18.png"/><Relationship Id="rId2" Type="http://schemas.openxmlformats.org/officeDocument/2006/relationships/tags" Target="../tags/tag42.xml"/><Relationship Id="rId1" Type="http://schemas.openxmlformats.org/officeDocument/2006/relationships/vmlDrawing" Target="../drawings/vmlDrawing28.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45.xml"/><Relationship Id="rId1" Type="http://schemas.openxmlformats.org/officeDocument/2006/relationships/vmlDrawing" Target="../drawings/vmlDrawing30.vml"/><Relationship Id="rId6" Type="http://schemas.openxmlformats.org/officeDocument/2006/relationships/image" Target="../media/image13.jpeg"/><Relationship Id="rId5" Type="http://schemas.openxmlformats.org/officeDocument/2006/relationships/image" Target="../media/image21.emf"/><Relationship Id="rId4" Type="http://schemas.openxmlformats.org/officeDocument/2006/relationships/oleObject" Target="../embeddings/oleObject3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emf"/><Relationship Id="rId2" Type="http://schemas.openxmlformats.org/officeDocument/2006/relationships/tags" Target="../tags/tag46.xml"/><Relationship Id="rId1" Type="http://schemas.openxmlformats.org/officeDocument/2006/relationships/vmlDrawing" Target="../drawings/vmlDrawing31.vml"/><Relationship Id="rId6" Type="http://schemas.openxmlformats.org/officeDocument/2006/relationships/image" Target="../media/image24.jpeg"/><Relationship Id="rId5" Type="http://schemas.openxmlformats.org/officeDocument/2006/relationships/image" Target="../media/image21.emf"/><Relationship Id="rId4" Type="http://schemas.openxmlformats.org/officeDocument/2006/relationships/oleObject" Target="../embeddings/oleObject31.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7.emf"/></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9.svg"/></Relationships>
</file>

<file path=ppt/slideLayouts/_rels/slideLayout6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6.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Заголовок в 1 строку">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153020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0" name="Заголовок 1">
            <a:extLst>
              <a:ext uri="{FF2B5EF4-FFF2-40B4-BE49-F238E27FC236}">
                <a16:creationId xmlns:a16="http://schemas.microsoft.com/office/drawing/2014/main" id="{624BDE2A-2DB5-4B00-8433-0D76BE7E46BC}"/>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Tree>
    <p:extLst>
      <p:ext uri="{BB962C8B-B14F-4D97-AF65-F5344CB8AC3E}">
        <p14:creationId xmlns:p14="http://schemas.microsoft.com/office/powerpoint/2010/main" val="3800255579"/>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карточки с фото вертикальн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81576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8719437" y="1089025"/>
            <a:ext cx="2942656" cy="1690687"/>
          </a:xfrm>
          <a:prstGeom prst="rect">
            <a:avLst/>
          </a:prstGeom>
          <a:solidFill>
            <a:schemeClr val="bg1">
              <a:lumMod val="95000"/>
            </a:schemeClr>
          </a:solidFill>
          <a:ln w="6350">
            <a:noFill/>
          </a:ln>
        </p:spPr>
        <p:txBody>
          <a:bodyPr/>
          <a:lstStyle>
            <a:lvl1pPr>
              <a:defRPr lang="ru-RU"/>
            </a:lvl1pPr>
          </a:lstStyle>
          <a:p>
            <a:pPr lvl="0"/>
            <a:r>
              <a:rPr lang="ru-RU"/>
              <a:t>Вставка рисунка</a:t>
            </a:r>
          </a:p>
        </p:txBody>
      </p:sp>
      <p:sp>
        <p:nvSpPr>
          <p:cNvPr id="17" name="Рисунок 2">
            <a:extLst>
              <a:ext uri="{FF2B5EF4-FFF2-40B4-BE49-F238E27FC236}">
                <a16:creationId xmlns:a16="http://schemas.microsoft.com/office/drawing/2014/main" id="{F8196BF3-5C33-43AD-8BBD-CA9EC9CD5A73}"/>
              </a:ext>
            </a:extLst>
          </p:cNvPr>
          <p:cNvSpPr>
            <a:spLocks noGrp="1"/>
          </p:cNvSpPr>
          <p:nvPr>
            <p:ph type="pic" sz="quarter" idx="16"/>
          </p:nvPr>
        </p:nvSpPr>
        <p:spPr>
          <a:xfrm>
            <a:off x="8719437" y="2863851"/>
            <a:ext cx="2942656" cy="1690687"/>
          </a:xfrm>
          <a:prstGeom prst="rect">
            <a:avLst/>
          </a:prstGeom>
          <a:solidFill>
            <a:schemeClr val="bg1">
              <a:lumMod val="95000"/>
            </a:schemeClr>
          </a:solidFill>
          <a:ln w="6350">
            <a:noFill/>
          </a:ln>
        </p:spPr>
        <p:txBody>
          <a:bodyPr/>
          <a:lstStyle>
            <a:lvl1pPr>
              <a:defRPr lang="ru-RU"/>
            </a:lvl1pPr>
          </a:lstStyle>
          <a:p>
            <a:pPr lvl="0"/>
            <a:r>
              <a:rPr lang="ru-RU"/>
              <a:t>Вставка рисунка</a:t>
            </a:r>
          </a:p>
        </p:txBody>
      </p:sp>
      <p:sp>
        <p:nvSpPr>
          <p:cNvPr id="18" name="Рисунок 2">
            <a:extLst>
              <a:ext uri="{FF2B5EF4-FFF2-40B4-BE49-F238E27FC236}">
                <a16:creationId xmlns:a16="http://schemas.microsoft.com/office/drawing/2014/main" id="{D590F98D-CD53-4C9F-A4AF-5D6D6FD55811}"/>
              </a:ext>
            </a:extLst>
          </p:cNvPr>
          <p:cNvSpPr>
            <a:spLocks noGrp="1"/>
          </p:cNvSpPr>
          <p:nvPr>
            <p:ph type="pic" sz="quarter" idx="17"/>
          </p:nvPr>
        </p:nvSpPr>
        <p:spPr>
          <a:xfrm>
            <a:off x="8719437" y="4627563"/>
            <a:ext cx="2942656" cy="1690687"/>
          </a:xfrm>
          <a:prstGeom prst="rect">
            <a:avLst/>
          </a:prstGeom>
          <a:solidFill>
            <a:schemeClr val="bg1">
              <a:lumMod val="95000"/>
            </a:schemeClr>
          </a:solidFill>
          <a:ln w="6350">
            <a:noFill/>
          </a:ln>
        </p:spPr>
        <p:txBody>
          <a:bodyPr/>
          <a:lstStyle>
            <a:lvl1pPr>
              <a:defRPr lang="ru-RU"/>
            </a:lvl1pPr>
          </a:lstStyle>
          <a:p>
            <a:pPr lvl="0"/>
            <a:r>
              <a:rPr lang="ru-RU"/>
              <a:t>Вставка рисунка</a:t>
            </a:r>
          </a:p>
        </p:txBody>
      </p:sp>
      <p:sp>
        <p:nvSpPr>
          <p:cNvPr id="12" name="Заголовок 1">
            <a:extLst>
              <a:ext uri="{FF2B5EF4-FFF2-40B4-BE49-F238E27FC236}">
                <a16:creationId xmlns:a16="http://schemas.microsoft.com/office/drawing/2014/main" id="{4092F547-5F88-4410-9715-DDF718C2967F}"/>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2573640818"/>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таблица и карточка с фото вертикальн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244734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8710613" y="1394009"/>
            <a:ext cx="2965450" cy="2300104"/>
          </a:xfrm>
          <a:prstGeom prst="rect">
            <a:avLst/>
          </a:prstGeom>
          <a:solidFill>
            <a:schemeClr val="bg1">
              <a:lumMod val="95000"/>
            </a:schemeClr>
          </a:solidFill>
          <a:ln w="6350">
            <a:noFill/>
          </a:ln>
        </p:spPr>
        <p:txBody>
          <a:bodyPr/>
          <a:lstStyle>
            <a:lvl1pPr>
              <a:defRPr lang="ru-RU"/>
            </a:lvl1pPr>
          </a:lstStyle>
          <a:p>
            <a:pPr lvl="0"/>
            <a:r>
              <a:rPr lang="ru-RU"/>
              <a:t>Вставка рисунка</a:t>
            </a:r>
          </a:p>
        </p:txBody>
      </p:sp>
      <p:sp>
        <p:nvSpPr>
          <p:cNvPr id="7" name="Заголовок 1">
            <a:extLst>
              <a:ext uri="{FF2B5EF4-FFF2-40B4-BE49-F238E27FC236}">
                <a16:creationId xmlns:a16="http://schemas.microsoft.com/office/drawing/2014/main" id="{ED612462-A5BB-4EDA-9156-8F4374C10109}"/>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384658945"/>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Карточки с фото слева">
    <p:spTree>
      <p:nvGrpSpPr>
        <p:cNvPr id="1" name=""/>
        <p:cNvGrpSpPr/>
        <p:nvPr/>
      </p:nvGrpSpPr>
      <p:grpSpPr>
        <a:xfrm>
          <a:off x="0" y="0"/>
          <a:ext cx="0" cy="0"/>
          <a:chOff x="0" y="0"/>
          <a:chExt cx="0" cy="0"/>
        </a:xfrm>
      </p:grpSpPr>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18" name="Рисунок 2">
            <a:extLst>
              <a:ext uri="{FF2B5EF4-FFF2-40B4-BE49-F238E27FC236}">
                <a16:creationId xmlns:a16="http://schemas.microsoft.com/office/drawing/2014/main" id="{DE046B16-23DE-48F1-8DB4-4EB4DCFE5D45}"/>
              </a:ext>
            </a:extLst>
          </p:cNvPr>
          <p:cNvSpPr>
            <a:spLocks noGrp="1"/>
          </p:cNvSpPr>
          <p:nvPr>
            <p:ph type="pic" sz="quarter" idx="11"/>
          </p:nvPr>
        </p:nvSpPr>
        <p:spPr>
          <a:xfrm>
            <a:off x="3145154" y="1233487"/>
            <a:ext cx="2331720" cy="1543659"/>
          </a:xfrm>
          <a:prstGeom prst="rect">
            <a:avLst/>
          </a:prstGeom>
        </p:spPr>
        <p:txBody>
          <a:bodyPr/>
          <a:lstStyle>
            <a:lvl1pPr marL="0" indent="0">
              <a:buNone/>
              <a:defRPr sz="2400"/>
            </a:lvl1pPr>
          </a:lstStyle>
          <a:p>
            <a:r>
              <a:rPr lang="ru-RU"/>
              <a:t>Вставка рисунка</a:t>
            </a:r>
          </a:p>
        </p:txBody>
      </p:sp>
      <p:sp>
        <p:nvSpPr>
          <p:cNvPr id="20" name="Рисунок 2">
            <a:extLst>
              <a:ext uri="{FF2B5EF4-FFF2-40B4-BE49-F238E27FC236}">
                <a16:creationId xmlns:a16="http://schemas.microsoft.com/office/drawing/2014/main" id="{D42141B5-D535-4BEE-B807-BA896F7C9621}"/>
              </a:ext>
            </a:extLst>
          </p:cNvPr>
          <p:cNvSpPr>
            <a:spLocks noGrp="1"/>
          </p:cNvSpPr>
          <p:nvPr>
            <p:ph type="pic" sz="quarter" idx="12"/>
          </p:nvPr>
        </p:nvSpPr>
        <p:spPr>
          <a:xfrm>
            <a:off x="3145154" y="2964449"/>
            <a:ext cx="2331720" cy="1543659"/>
          </a:xfrm>
          <a:prstGeom prst="rect">
            <a:avLst/>
          </a:prstGeom>
        </p:spPr>
        <p:txBody>
          <a:bodyPr/>
          <a:lstStyle>
            <a:lvl1pPr marL="0" indent="0">
              <a:buNone/>
              <a:defRPr sz="2400"/>
            </a:lvl1pPr>
          </a:lstStyle>
          <a:p>
            <a:r>
              <a:rPr lang="ru-RU"/>
              <a:t>Вставка рисунка</a:t>
            </a:r>
          </a:p>
        </p:txBody>
      </p:sp>
      <p:sp>
        <p:nvSpPr>
          <p:cNvPr id="21" name="Рисунок 2">
            <a:extLst>
              <a:ext uri="{FF2B5EF4-FFF2-40B4-BE49-F238E27FC236}">
                <a16:creationId xmlns:a16="http://schemas.microsoft.com/office/drawing/2014/main" id="{588E98E2-34ED-488A-891F-FD9535AE2173}"/>
              </a:ext>
            </a:extLst>
          </p:cNvPr>
          <p:cNvSpPr>
            <a:spLocks noGrp="1"/>
          </p:cNvSpPr>
          <p:nvPr>
            <p:ph type="pic" sz="quarter" idx="13"/>
          </p:nvPr>
        </p:nvSpPr>
        <p:spPr>
          <a:xfrm>
            <a:off x="3145154" y="4693629"/>
            <a:ext cx="2331720" cy="1543659"/>
          </a:xfrm>
          <a:prstGeom prst="rect">
            <a:avLst/>
          </a:prstGeom>
        </p:spPr>
        <p:txBody>
          <a:bodyPr/>
          <a:lstStyle>
            <a:lvl1pPr marL="0" indent="0">
              <a:buNone/>
              <a:defRPr sz="2400"/>
            </a:lvl1pPr>
          </a:lstStyle>
          <a:p>
            <a:r>
              <a:rPr lang="ru-RU"/>
              <a:t>Вставка рисунка</a:t>
            </a:r>
          </a:p>
        </p:txBody>
      </p:sp>
      <p:sp>
        <p:nvSpPr>
          <p:cNvPr id="24" name="Текст 2">
            <a:extLst>
              <a:ext uri="{FF2B5EF4-FFF2-40B4-BE49-F238E27FC236}">
                <a16:creationId xmlns:a16="http://schemas.microsoft.com/office/drawing/2014/main" id="{337AC333-9995-412B-A338-4739B48C0EC4}"/>
              </a:ext>
            </a:extLst>
          </p:cNvPr>
          <p:cNvSpPr>
            <a:spLocks noGrp="1"/>
          </p:cNvSpPr>
          <p:nvPr>
            <p:ph type="body" sz="quarter" idx="14"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8" name="Заголовок 1">
            <a:extLst>
              <a:ext uri="{FF2B5EF4-FFF2-40B4-BE49-F238E27FC236}">
                <a16:creationId xmlns:a16="http://schemas.microsoft.com/office/drawing/2014/main" id="{0F898D5B-9D38-4A7C-972F-EEF186925400}"/>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1221790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Слайд с командой ">
    <p:spTree>
      <p:nvGrpSpPr>
        <p:cNvPr id="1" name=""/>
        <p:cNvGrpSpPr/>
        <p:nvPr/>
      </p:nvGrpSpPr>
      <p:grpSpPr>
        <a:xfrm>
          <a:off x="0" y="0"/>
          <a:ext cx="0" cy="0"/>
          <a:chOff x="0" y="0"/>
          <a:chExt cx="0" cy="0"/>
        </a:xfrm>
      </p:grpSpPr>
      <p:sp>
        <p:nvSpPr>
          <p:cNvPr id="34" name="Рисунок 33">
            <a:extLst>
              <a:ext uri="{FF2B5EF4-FFF2-40B4-BE49-F238E27FC236}">
                <a16:creationId xmlns:a16="http://schemas.microsoft.com/office/drawing/2014/main" id="{AD355A58-514E-4978-8453-BB5FA1302A80}"/>
              </a:ext>
            </a:extLst>
          </p:cNvPr>
          <p:cNvSpPr>
            <a:spLocks noGrp="1"/>
          </p:cNvSpPr>
          <p:nvPr>
            <p:ph type="pic" sz="quarter" idx="16"/>
          </p:nvPr>
        </p:nvSpPr>
        <p:spPr>
          <a:xfrm>
            <a:off x="8302674" y="4418425"/>
            <a:ext cx="988167" cy="988167"/>
          </a:xfrm>
          <a:custGeom>
            <a:avLst/>
            <a:gdLst>
              <a:gd name="connsiteX0" fmla="*/ 494083 w 988167"/>
              <a:gd name="connsiteY0" fmla="*/ 0 h 988167"/>
              <a:gd name="connsiteX1" fmla="*/ 988167 w 988167"/>
              <a:gd name="connsiteY1" fmla="*/ 494084 h 988167"/>
              <a:gd name="connsiteX2" fmla="*/ 494083 w 988167"/>
              <a:gd name="connsiteY2" fmla="*/ 988167 h 988167"/>
              <a:gd name="connsiteX3" fmla="*/ 0 w 988167"/>
              <a:gd name="connsiteY3" fmla="*/ 494084 h 988167"/>
              <a:gd name="connsiteX4" fmla="*/ 494083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3" y="0"/>
                </a:moveTo>
                <a:cubicBezTo>
                  <a:pt x="766958" y="0"/>
                  <a:pt x="988167" y="221209"/>
                  <a:pt x="988167" y="494084"/>
                </a:cubicBezTo>
                <a:cubicBezTo>
                  <a:pt x="988167" y="766958"/>
                  <a:pt x="766958" y="988167"/>
                  <a:pt x="494083" y="988167"/>
                </a:cubicBezTo>
                <a:cubicBezTo>
                  <a:pt x="221209" y="988167"/>
                  <a:pt x="0" y="766958"/>
                  <a:pt x="0" y="494084"/>
                </a:cubicBezTo>
                <a:cubicBezTo>
                  <a:pt x="0" y="221209"/>
                  <a:pt x="221209" y="0"/>
                  <a:pt x="494083" y="0"/>
                </a:cubicBezTo>
                <a:close/>
              </a:path>
            </a:pathLst>
          </a:custGeom>
        </p:spPr>
        <p:txBody>
          <a:bodyPr wrap="square">
            <a:noAutofit/>
          </a:bodyPr>
          <a:lstStyle>
            <a:lvl1pPr marL="0" indent="0">
              <a:buNone/>
              <a:defRPr sz="1600"/>
            </a:lvl1pPr>
          </a:lstStyle>
          <a:p>
            <a:r>
              <a:rPr lang="ru-RU"/>
              <a:t>Вставка рисунка</a:t>
            </a:r>
          </a:p>
        </p:txBody>
      </p:sp>
      <p:sp>
        <p:nvSpPr>
          <p:cNvPr id="31" name="Рисунок 30">
            <a:extLst>
              <a:ext uri="{FF2B5EF4-FFF2-40B4-BE49-F238E27FC236}">
                <a16:creationId xmlns:a16="http://schemas.microsoft.com/office/drawing/2014/main" id="{8A54D4FE-3909-44D6-B21E-5A1A44788D79}"/>
              </a:ext>
            </a:extLst>
          </p:cNvPr>
          <p:cNvSpPr>
            <a:spLocks noGrp="1"/>
          </p:cNvSpPr>
          <p:nvPr>
            <p:ph type="pic" sz="quarter" idx="15"/>
          </p:nvPr>
        </p:nvSpPr>
        <p:spPr>
          <a:xfrm>
            <a:off x="4522511" y="4418425"/>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8" name="Рисунок 27">
            <a:extLst>
              <a:ext uri="{FF2B5EF4-FFF2-40B4-BE49-F238E27FC236}">
                <a16:creationId xmlns:a16="http://schemas.microsoft.com/office/drawing/2014/main" id="{B36651C3-541C-4735-A3DC-CDBD0D265B15}"/>
              </a:ext>
            </a:extLst>
          </p:cNvPr>
          <p:cNvSpPr>
            <a:spLocks noGrp="1"/>
          </p:cNvSpPr>
          <p:nvPr>
            <p:ph type="pic" sz="quarter" idx="14"/>
          </p:nvPr>
        </p:nvSpPr>
        <p:spPr>
          <a:xfrm>
            <a:off x="742346" y="4418426"/>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5" name="Рисунок 24">
            <a:extLst>
              <a:ext uri="{FF2B5EF4-FFF2-40B4-BE49-F238E27FC236}">
                <a16:creationId xmlns:a16="http://schemas.microsoft.com/office/drawing/2014/main" id="{0CBCDCDC-3CE1-4134-A054-E597A48D5936}"/>
              </a:ext>
            </a:extLst>
          </p:cNvPr>
          <p:cNvSpPr>
            <a:spLocks noGrp="1"/>
          </p:cNvSpPr>
          <p:nvPr>
            <p:ph type="pic" sz="quarter" idx="13"/>
          </p:nvPr>
        </p:nvSpPr>
        <p:spPr>
          <a:xfrm>
            <a:off x="8302673" y="2024606"/>
            <a:ext cx="988167" cy="988167"/>
          </a:xfrm>
          <a:custGeom>
            <a:avLst/>
            <a:gdLst>
              <a:gd name="connsiteX0" fmla="*/ 494083 w 988167"/>
              <a:gd name="connsiteY0" fmla="*/ 0 h 988167"/>
              <a:gd name="connsiteX1" fmla="*/ 988167 w 988167"/>
              <a:gd name="connsiteY1" fmla="*/ 494084 h 988167"/>
              <a:gd name="connsiteX2" fmla="*/ 494083 w 988167"/>
              <a:gd name="connsiteY2" fmla="*/ 988167 h 988167"/>
              <a:gd name="connsiteX3" fmla="*/ 0 w 988167"/>
              <a:gd name="connsiteY3" fmla="*/ 494084 h 988167"/>
              <a:gd name="connsiteX4" fmla="*/ 494083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3" y="0"/>
                </a:moveTo>
                <a:cubicBezTo>
                  <a:pt x="766958" y="0"/>
                  <a:pt x="988167" y="221209"/>
                  <a:pt x="988167" y="494084"/>
                </a:cubicBezTo>
                <a:cubicBezTo>
                  <a:pt x="988167" y="766958"/>
                  <a:pt x="766958" y="988167"/>
                  <a:pt x="494083" y="988167"/>
                </a:cubicBezTo>
                <a:cubicBezTo>
                  <a:pt x="221209" y="988167"/>
                  <a:pt x="0" y="766958"/>
                  <a:pt x="0" y="494084"/>
                </a:cubicBezTo>
                <a:cubicBezTo>
                  <a:pt x="0" y="221209"/>
                  <a:pt x="221209" y="0"/>
                  <a:pt x="494083" y="0"/>
                </a:cubicBezTo>
                <a:close/>
              </a:path>
            </a:pathLst>
          </a:custGeom>
        </p:spPr>
        <p:txBody>
          <a:bodyPr wrap="square">
            <a:noAutofit/>
          </a:bodyPr>
          <a:lstStyle>
            <a:lvl1pPr marL="0" indent="0">
              <a:buNone/>
              <a:defRPr sz="1600"/>
            </a:lvl1pPr>
          </a:lstStyle>
          <a:p>
            <a:r>
              <a:rPr lang="ru-RU"/>
              <a:t>Вставка рисунка</a:t>
            </a:r>
          </a:p>
        </p:txBody>
      </p:sp>
      <p:sp>
        <p:nvSpPr>
          <p:cNvPr id="22" name="Рисунок 21">
            <a:extLst>
              <a:ext uri="{FF2B5EF4-FFF2-40B4-BE49-F238E27FC236}">
                <a16:creationId xmlns:a16="http://schemas.microsoft.com/office/drawing/2014/main" id="{99C11288-1DEE-4F48-9319-F37B278E2619}"/>
              </a:ext>
            </a:extLst>
          </p:cNvPr>
          <p:cNvSpPr>
            <a:spLocks noGrp="1"/>
          </p:cNvSpPr>
          <p:nvPr>
            <p:ph type="pic" sz="quarter" idx="12"/>
          </p:nvPr>
        </p:nvSpPr>
        <p:spPr>
          <a:xfrm>
            <a:off x="4522510" y="2024605"/>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20" name="Рисунок 19">
            <a:extLst>
              <a:ext uri="{FF2B5EF4-FFF2-40B4-BE49-F238E27FC236}">
                <a16:creationId xmlns:a16="http://schemas.microsoft.com/office/drawing/2014/main" id="{CA017888-274F-43BC-88DF-38CCEC23604B}"/>
              </a:ext>
            </a:extLst>
          </p:cNvPr>
          <p:cNvSpPr>
            <a:spLocks noGrp="1"/>
          </p:cNvSpPr>
          <p:nvPr>
            <p:ph type="pic" sz="quarter" idx="11"/>
          </p:nvPr>
        </p:nvSpPr>
        <p:spPr>
          <a:xfrm>
            <a:off x="742347" y="2024606"/>
            <a:ext cx="988167" cy="988167"/>
          </a:xfrm>
          <a:custGeom>
            <a:avLst/>
            <a:gdLst>
              <a:gd name="connsiteX0" fmla="*/ 494084 w 988167"/>
              <a:gd name="connsiteY0" fmla="*/ 0 h 988167"/>
              <a:gd name="connsiteX1" fmla="*/ 988167 w 988167"/>
              <a:gd name="connsiteY1" fmla="*/ 494084 h 988167"/>
              <a:gd name="connsiteX2" fmla="*/ 494084 w 988167"/>
              <a:gd name="connsiteY2" fmla="*/ 988167 h 988167"/>
              <a:gd name="connsiteX3" fmla="*/ 0 w 988167"/>
              <a:gd name="connsiteY3" fmla="*/ 494084 h 988167"/>
              <a:gd name="connsiteX4" fmla="*/ 494084 w 988167"/>
              <a:gd name="connsiteY4" fmla="*/ 0 h 988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67" h="988167">
                <a:moveTo>
                  <a:pt x="494084" y="0"/>
                </a:moveTo>
                <a:cubicBezTo>
                  <a:pt x="766958" y="0"/>
                  <a:pt x="988167" y="221209"/>
                  <a:pt x="988167" y="494084"/>
                </a:cubicBezTo>
                <a:cubicBezTo>
                  <a:pt x="988167" y="766958"/>
                  <a:pt x="766958" y="988167"/>
                  <a:pt x="494084" y="988167"/>
                </a:cubicBezTo>
                <a:cubicBezTo>
                  <a:pt x="221209" y="988167"/>
                  <a:pt x="0" y="766958"/>
                  <a:pt x="0" y="494084"/>
                </a:cubicBezTo>
                <a:cubicBezTo>
                  <a:pt x="0" y="221209"/>
                  <a:pt x="221209" y="0"/>
                  <a:pt x="494084" y="0"/>
                </a:cubicBezTo>
                <a:close/>
              </a:path>
            </a:pathLst>
          </a:custGeom>
        </p:spPr>
        <p:txBody>
          <a:bodyPr wrap="square">
            <a:noAutofit/>
          </a:bodyPr>
          <a:lstStyle>
            <a:lvl1pPr marL="0" indent="0">
              <a:buNone/>
              <a:defRPr sz="1600"/>
            </a:lvl1pPr>
          </a:lstStyle>
          <a:p>
            <a:r>
              <a:rPr lang="ru-RU"/>
              <a:t>Вставка рисунка</a:t>
            </a:r>
          </a:p>
        </p:txBody>
      </p:sp>
      <p:sp>
        <p:nvSpPr>
          <p:cNvPr id="11" name="Номер слайда 3">
            <a:extLst>
              <a:ext uri="{FF2B5EF4-FFF2-40B4-BE49-F238E27FC236}">
                <a16:creationId xmlns:a16="http://schemas.microsoft.com/office/drawing/2014/main" id="{A8D8CCBB-60F1-421E-BD7C-5B2872A3F053}"/>
              </a:ext>
            </a:extLst>
          </p:cNvPr>
          <p:cNvSpPr>
            <a:spLocks noGrp="1"/>
          </p:cNvSpPr>
          <p:nvPr>
            <p:ph type="sldNum" sz="quarter" idx="4"/>
          </p:nvPr>
        </p:nvSpPr>
        <p:spPr>
          <a:xfrm>
            <a:off x="11150352" y="6437938"/>
            <a:ext cx="509605" cy="365125"/>
          </a:xfrm>
          <a:prstGeom prst="rect">
            <a:avLst/>
          </a:prstGeom>
        </p:spPr>
        <p:txBody>
          <a:bodyPr vert="horz" lIns="91440" tIns="45720" rIns="91440" bIns="45720" rtlCol="0" anchor="ctr"/>
          <a:lstStyle>
            <a:lvl1pPr algn="r">
              <a:defRPr sz="1400">
                <a:solidFill>
                  <a:schemeClr val="bg1"/>
                </a:solidFill>
                <a:latin typeface="+mj-lt"/>
              </a:defRPr>
            </a:lvl1pPr>
          </a:lstStyle>
          <a:p>
            <a:fld id="{7E1A2DEA-0812-41F9-88C5-48F7F643210D}" type="slidenum">
              <a:rPr lang="ru-RU" smtClean="0"/>
              <a:pPr/>
              <a:t>‹#›</a:t>
            </a:fld>
            <a:endParaRPr lang="ru-RU"/>
          </a:p>
        </p:txBody>
      </p:sp>
      <p:sp>
        <p:nvSpPr>
          <p:cNvPr id="27" name="Текст 2">
            <a:extLst>
              <a:ext uri="{FF2B5EF4-FFF2-40B4-BE49-F238E27FC236}">
                <a16:creationId xmlns:a16="http://schemas.microsoft.com/office/drawing/2014/main" id="{740907DF-C9ED-4D75-98CF-8E77435FB886}"/>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2" name="Заголовок 1">
            <a:extLst>
              <a:ext uri="{FF2B5EF4-FFF2-40B4-BE49-F238E27FC236}">
                <a16:creationId xmlns:a16="http://schemas.microsoft.com/office/drawing/2014/main" id="{22750329-5807-40CF-9A9F-B784D0855719}"/>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3674790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Скриншоты">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9799127-183C-4A66-B5A8-474F44D7CD3D}"/>
              </a:ext>
            </a:extLst>
          </p:cNvPr>
          <p:cNvSpPr>
            <a:spLocks noGrp="1"/>
          </p:cNvSpPr>
          <p:nvPr>
            <p:ph type="pic" sz="quarter" idx="15" hasCustomPrompt="1"/>
          </p:nvPr>
        </p:nvSpPr>
        <p:spPr>
          <a:xfrm>
            <a:off x="515934" y="1685925"/>
            <a:ext cx="5418000" cy="3046138"/>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11" name="Picture Placeholder 3">
            <a:extLst>
              <a:ext uri="{FF2B5EF4-FFF2-40B4-BE49-F238E27FC236}">
                <a16:creationId xmlns:a16="http://schemas.microsoft.com/office/drawing/2014/main" id="{F26F0704-14DE-4148-815F-6C7B8F824203}"/>
              </a:ext>
            </a:extLst>
          </p:cNvPr>
          <p:cNvSpPr>
            <a:spLocks noGrp="1"/>
          </p:cNvSpPr>
          <p:nvPr>
            <p:ph type="pic" sz="quarter" idx="16" hasCustomPrompt="1"/>
          </p:nvPr>
        </p:nvSpPr>
        <p:spPr>
          <a:xfrm>
            <a:off x="6258063" y="1685925"/>
            <a:ext cx="5418000" cy="3046138"/>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6" name="Rectangle 5">
            <a:extLst>
              <a:ext uri="{FF2B5EF4-FFF2-40B4-BE49-F238E27FC236}">
                <a16:creationId xmlns:a16="http://schemas.microsoft.com/office/drawing/2014/main" id="{841833EE-FAC3-45BC-97A0-80DD06CC1DA0}"/>
              </a:ext>
            </a:extLst>
          </p:cNvPr>
          <p:cNvSpPr/>
          <p:nvPr/>
        </p:nvSpPr>
        <p:spPr>
          <a:xfrm>
            <a:off x="515934" y="1520825"/>
            <a:ext cx="5418000" cy="165100"/>
          </a:xfrm>
          <a:prstGeom prst="rect">
            <a:avLst/>
          </a:prstGeom>
          <a:gradFill>
            <a:gsLst>
              <a:gs pos="100000">
                <a:schemeClr val="accent1">
                  <a:lumMod val="75000"/>
                </a:schemeClr>
              </a:gs>
              <a:gs pos="0">
                <a:schemeClr val="accent1"/>
              </a:gs>
            </a:gsLst>
            <a:lin ang="2700000" scaled="0"/>
          </a:gradFill>
          <a:ln w="6350">
            <a:gradFill flip="none" rotWithShape="1">
              <a:gsLst>
                <a:gs pos="0">
                  <a:schemeClr val="accent1"/>
                </a:gs>
                <a:gs pos="100000">
                  <a:schemeClr val="accent1">
                    <a:lumMod val="75000"/>
                  </a:schemeClr>
                </a:gs>
              </a:gsLst>
              <a:lin ang="2700000" scaled="1"/>
              <a:tileRec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sp>
        <p:nvSpPr>
          <p:cNvPr id="13" name="Rectangle 12">
            <a:extLst>
              <a:ext uri="{FF2B5EF4-FFF2-40B4-BE49-F238E27FC236}">
                <a16:creationId xmlns:a16="http://schemas.microsoft.com/office/drawing/2014/main" id="{E6C3D705-1135-4844-A2AF-EF8717B16651}"/>
              </a:ext>
            </a:extLst>
          </p:cNvPr>
          <p:cNvSpPr/>
          <p:nvPr/>
        </p:nvSpPr>
        <p:spPr>
          <a:xfrm>
            <a:off x="6259509" y="1520825"/>
            <a:ext cx="5418000" cy="165100"/>
          </a:xfrm>
          <a:prstGeom prst="rect">
            <a:avLst/>
          </a:prstGeom>
          <a:gradFill>
            <a:gsLst>
              <a:gs pos="100000">
                <a:schemeClr val="accent1">
                  <a:lumMod val="75000"/>
                </a:schemeClr>
              </a:gs>
              <a:gs pos="0">
                <a:schemeClr val="accent1"/>
              </a:gs>
            </a:gsLst>
            <a:lin ang="2700000" scaled="0"/>
          </a:gradFill>
          <a:ln w="6350">
            <a:gradFill flip="none" rotWithShape="1">
              <a:gsLst>
                <a:gs pos="0">
                  <a:schemeClr val="accent1"/>
                </a:gs>
                <a:gs pos="100000">
                  <a:schemeClr val="accent1">
                    <a:lumMod val="75000"/>
                  </a:schemeClr>
                </a:gs>
              </a:gsLst>
              <a:lin ang="2700000" scaled="1"/>
              <a:tileRec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23" name="Group 22">
            <a:extLst>
              <a:ext uri="{FF2B5EF4-FFF2-40B4-BE49-F238E27FC236}">
                <a16:creationId xmlns:a16="http://schemas.microsoft.com/office/drawing/2014/main" id="{435F986C-D6E2-4713-A778-408284BE149D}"/>
              </a:ext>
            </a:extLst>
          </p:cNvPr>
          <p:cNvGrpSpPr/>
          <p:nvPr/>
        </p:nvGrpSpPr>
        <p:grpSpPr>
          <a:xfrm rot="2700000">
            <a:off x="5751768" y="1543844"/>
            <a:ext cx="119062" cy="119062"/>
            <a:chOff x="5961318" y="1004888"/>
            <a:chExt cx="119062" cy="119062"/>
          </a:xfrm>
        </p:grpSpPr>
        <p:cxnSp>
          <p:nvCxnSpPr>
            <p:cNvPr id="21" name="Straight Connector 20">
              <a:extLst>
                <a:ext uri="{FF2B5EF4-FFF2-40B4-BE49-F238E27FC236}">
                  <a16:creationId xmlns:a16="http://schemas.microsoft.com/office/drawing/2014/main" id="{42D2A80F-E12D-4FC0-881C-9C1A8BF63AFF}"/>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55DABE9-94CE-4ED7-B69D-F98AE2C989D9}"/>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62559E5-FFFE-4580-A667-74212DB6FD98}"/>
              </a:ext>
            </a:extLst>
          </p:cNvPr>
          <p:cNvGrpSpPr/>
          <p:nvPr/>
        </p:nvGrpSpPr>
        <p:grpSpPr>
          <a:xfrm rot="2700000">
            <a:off x="11492451" y="1543844"/>
            <a:ext cx="119062" cy="119062"/>
            <a:chOff x="5961318" y="1004888"/>
            <a:chExt cx="119062" cy="119062"/>
          </a:xfrm>
        </p:grpSpPr>
        <p:cxnSp>
          <p:nvCxnSpPr>
            <p:cNvPr id="26" name="Straight Connector 25">
              <a:extLst>
                <a:ext uri="{FF2B5EF4-FFF2-40B4-BE49-F238E27FC236}">
                  <a16:creationId xmlns:a16="http://schemas.microsoft.com/office/drawing/2014/main" id="{2BE9FC5B-CD7D-4FFA-93B5-AD047FFE1DAB}"/>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E478BE2-89BE-4F3B-A3F0-6761DCF8B8F0}"/>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6" name="Текст 2">
            <a:extLst>
              <a:ext uri="{FF2B5EF4-FFF2-40B4-BE49-F238E27FC236}">
                <a16:creationId xmlns:a16="http://schemas.microsoft.com/office/drawing/2014/main" id="{9D7D54F7-A8A5-44F6-9DC8-DE4B5D91CFDA}"/>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4" name="Заголовок 1">
            <a:extLst>
              <a:ext uri="{FF2B5EF4-FFF2-40B4-BE49-F238E27FC236}">
                <a16:creationId xmlns:a16="http://schemas.microsoft.com/office/drawing/2014/main" id="{9FCE0368-D935-4C67-B863-16B8E2C3ABD2}"/>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308918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Скриншоты">
    <p:spTree>
      <p:nvGrpSpPr>
        <p:cNvPr id="1" name=""/>
        <p:cNvGrpSpPr/>
        <p:nvPr/>
      </p:nvGrpSpPr>
      <p:grpSpPr>
        <a:xfrm>
          <a:off x="0" y="0"/>
          <a:ext cx="0" cy="0"/>
          <a:chOff x="0" y="0"/>
          <a:chExt cx="0" cy="0"/>
        </a:xfrm>
      </p:grpSpPr>
      <p:sp>
        <p:nvSpPr>
          <p:cNvPr id="36" name="Picture Placeholder 3">
            <a:extLst>
              <a:ext uri="{FF2B5EF4-FFF2-40B4-BE49-F238E27FC236}">
                <a16:creationId xmlns:a16="http://schemas.microsoft.com/office/drawing/2014/main" id="{5FF22288-AAA0-459D-AFD7-760E64428CB5}"/>
              </a:ext>
            </a:extLst>
          </p:cNvPr>
          <p:cNvSpPr>
            <a:spLocks noGrp="1"/>
          </p:cNvSpPr>
          <p:nvPr>
            <p:ph type="pic" sz="quarter" idx="19" hasCustomPrompt="1"/>
          </p:nvPr>
        </p:nvSpPr>
        <p:spPr>
          <a:xfrm>
            <a:off x="515934" y="3720762"/>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41" name="Picture Placeholder 3">
            <a:extLst>
              <a:ext uri="{FF2B5EF4-FFF2-40B4-BE49-F238E27FC236}">
                <a16:creationId xmlns:a16="http://schemas.microsoft.com/office/drawing/2014/main" id="{E88CCF38-632E-4300-A1E8-9C9BEE8C529A}"/>
              </a:ext>
            </a:extLst>
          </p:cNvPr>
          <p:cNvSpPr>
            <a:spLocks noGrp="1"/>
          </p:cNvSpPr>
          <p:nvPr>
            <p:ph type="pic" sz="quarter" idx="21" hasCustomPrompt="1"/>
          </p:nvPr>
        </p:nvSpPr>
        <p:spPr>
          <a:xfrm>
            <a:off x="4272915" y="3720762"/>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46" name="Picture Placeholder 3">
            <a:extLst>
              <a:ext uri="{FF2B5EF4-FFF2-40B4-BE49-F238E27FC236}">
                <a16:creationId xmlns:a16="http://schemas.microsoft.com/office/drawing/2014/main" id="{2B8DAB9C-23CB-423F-AC82-CB9AAED71647}"/>
              </a:ext>
            </a:extLst>
          </p:cNvPr>
          <p:cNvSpPr>
            <a:spLocks noGrp="1"/>
          </p:cNvSpPr>
          <p:nvPr>
            <p:ph type="pic" sz="quarter" idx="23" hasCustomPrompt="1"/>
          </p:nvPr>
        </p:nvSpPr>
        <p:spPr>
          <a:xfrm>
            <a:off x="8029899" y="3720762"/>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35" name="Rectangle 5">
            <a:extLst>
              <a:ext uri="{FF2B5EF4-FFF2-40B4-BE49-F238E27FC236}">
                <a16:creationId xmlns:a16="http://schemas.microsoft.com/office/drawing/2014/main" id="{2BFBB444-431E-42EC-B1BD-521F4E7AB0F3}"/>
              </a:ext>
            </a:extLst>
          </p:cNvPr>
          <p:cNvSpPr/>
          <p:nvPr/>
        </p:nvSpPr>
        <p:spPr>
          <a:xfrm>
            <a:off x="515937" y="3555662"/>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37" name="Group 22">
            <a:extLst>
              <a:ext uri="{FF2B5EF4-FFF2-40B4-BE49-F238E27FC236}">
                <a16:creationId xmlns:a16="http://schemas.microsoft.com/office/drawing/2014/main" id="{31A980DD-B333-400D-91E2-B6E9C8EE48B0}"/>
              </a:ext>
            </a:extLst>
          </p:cNvPr>
          <p:cNvGrpSpPr/>
          <p:nvPr/>
        </p:nvGrpSpPr>
        <p:grpSpPr>
          <a:xfrm rot="2700000">
            <a:off x="3979931" y="3578681"/>
            <a:ext cx="119062" cy="119062"/>
            <a:chOff x="5961318" y="1004888"/>
            <a:chExt cx="119062" cy="119062"/>
          </a:xfrm>
        </p:grpSpPr>
        <p:cxnSp>
          <p:nvCxnSpPr>
            <p:cNvPr id="38" name="Straight Connector 20">
              <a:extLst>
                <a:ext uri="{FF2B5EF4-FFF2-40B4-BE49-F238E27FC236}">
                  <a16:creationId xmlns:a16="http://schemas.microsoft.com/office/drawing/2014/main" id="{DCBA8C88-FBAB-4FD1-A3EB-06CBA9F3899D}"/>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21">
              <a:extLst>
                <a:ext uri="{FF2B5EF4-FFF2-40B4-BE49-F238E27FC236}">
                  <a16:creationId xmlns:a16="http://schemas.microsoft.com/office/drawing/2014/main" id="{982473EE-C284-4ADB-9853-6CCD5B9F853A}"/>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0" name="Rectangle 5">
            <a:extLst>
              <a:ext uri="{FF2B5EF4-FFF2-40B4-BE49-F238E27FC236}">
                <a16:creationId xmlns:a16="http://schemas.microsoft.com/office/drawing/2014/main" id="{C0E61ED6-5CBA-40DB-A818-61411AC6DEB4}"/>
              </a:ext>
            </a:extLst>
          </p:cNvPr>
          <p:cNvSpPr/>
          <p:nvPr/>
        </p:nvSpPr>
        <p:spPr>
          <a:xfrm>
            <a:off x="4272918" y="3555662"/>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42" name="Group 22">
            <a:extLst>
              <a:ext uri="{FF2B5EF4-FFF2-40B4-BE49-F238E27FC236}">
                <a16:creationId xmlns:a16="http://schemas.microsoft.com/office/drawing/2014/main" id="{48B1979C-D39D-4325-8960-392CF23D2029}"/>
              </a:ext>
            </a:extLst>
          </p:cNvPr>
          <p:cNvGrpSpPr/>
          <p:nvPr/>
        </p:nvGrpSpPr>
        <p:grpSpPr>
          <a:xfrm rot="2700000">
            <a:off x="7736912" y="3578681"/>
            <a:ext cx="119062" cy="119062"/>
            <a:chOff x="5961318" y="1004888"/>
            <a:chExt cx="119062" cy="119062"/>
          </a:xfrm>
        </p:grpSpPr>
        <p:cxnSp>
          <p:nvCxnSpPr>
            <p:cNvPr id="43" name="Straight Connector 20">
              <a:extLst>
                <a:ext uri="{FF2B5EF4-FFF2-40B4-BE49-F238E27FC236}">
                  <a16:creationId xmlns:a16="http://schemas.microsoft.com/office/drawing/2014/main" id="{1E6A0AE0-F02E-4FA8-A97F-73FFEF30BD1A}"/>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21">
              <a:extLst>
                <a:ext uri="{FF2B5EF4-FFF2-40B4-BE49-F238E27FC236}">
                  <a16:creationId xmlns:a16="http://schemas.microsoft.com/office/drawing/2014/main" id="{C3606D37-1EA3-4212-987B-8EC8625243D6}"/>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5" name="Rectangle 5">
            <a:extLst>
              <a:ext uri="{FF2B5EF4-FFF2-40B4-BE49-F238E27FC236}">
                <a16:creationId xmlns:a16="http://schemas.microsoft.com/office/drawing/2014/main" id="{E4BAAA84-C114-429D-9485-B98FEF5A8E1A}"/>
              </a:ext>
            </a:extLst>
          </p:cNvPr>
          <p:cNvSpPr/>
          <p:nvPr/>
        </p:nvSpPr>
        <p:spPr>
          <a:xfrm>
            <a:off x="8029902" y="3555662"/>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47" name="Group 22">
            <a:extLst>
              <a:ext uri="{FF2B5EF4-FFF2-40B4-BE49-F238E27FC236}">
                <a16:creationId xmlns:a16="http://schemas.microsoft.com/office/drawing/2014/main" id="{6941AF34-34C1-4F76-9010-06C68AEA30D3}"/>
              </a:ext>
            </a:extLst>
          </p:cNvPr>
          <p:cNvGrpSpPr/>
          <p:nvPr/>
        </p:nvGrpSpPr>
        <p:grpSpPr>
          <a:xfrm rot="2700000">
            <a:off x="11493896" y="3578681"/>
            <a:ext cx="119062" cy="119062"/>
            <a:chOff x="5961318" y="1004888"/>
            <a:chExt cx="119062" cy="119062"/>
          </a:xfrm>
        </p:grpSpPr>
        <p:cxnSp>
          <p:nvCxnSpPr>
            <p:cNvPr id="48" name="Straight Connector 20">
              <a:extLst>
                <a:ext uri="{FF2B5EF4-FFF2-40B4-BE49-F238E27FC236}">
                  <a16:creationId xmlns:a16="http://schemas.microsoft.com/office/drawing/2014/main" id="{3EF2C97E-3BE7-48DB-9D88-9115D19B2D5E}"/>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21">
              <a:extLst>
                <a:ext uri="{FF2B5EF4-FFF2-40B4-BE49-F238E27FC236}">
                  <a16:creationId xmlns:a16="http://schemas.microsoft.com/office/drawing/2014/main" id="{8A556BFE-CC77-4AE1-B5F6-6AFC9C0C98B1}"/>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Текст 2">
            <a:extLst>
              <a:ext uri="{FF2B5EF4-FFF2-40B4-BE49-F238E27FC236}">
                <a16:creationId xmlns:a16="http://schemas.microsoft.com/office/drawing/2014/main" id="{85DC60DA-93FD-4435-8247-631B0F3BE3EC}"/>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9" name="Заголовок 1">
            <a:extLst>
              <a:ext uri="{FF2B5EF4-FFF2-40B4-BE49-F238E27FC236}">
                <a16:creationId xmlns:a16="http://schemas.microsoft.com/office/drawing/2014/main" id="{4BC35528-2EC8-4815-8E01-802BF439EEF9}"/>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15912232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Скриншоты">
    <p:spTree>
      <p:nvGrpSpPr>
        <p:cNvPr id="1" name=""/>
        <p:cNvGrpSpPr/>
        <p:nvPr/>
      </p:nvGrpSpPr>
      <p:grpSpPr>
        <a:xfrm>
          <a:off x="0" y="0"/>
          <a:ext cx="0" cy="0"/>
          <a:chOff x="0" y="0"/>
          <a:chExt cx="0" cy="0"/>
        </a:xfrm>
      </p:grpSpPr>
      <p:sp>
        <p:nvSpPr>
          <p:cNvPr id="35" name="Picture Placeholder 3">
            <a:extLst>
              <a:ext uri="{FF2B5EF4-FFF2-40B4-BE49-F238E27FC236}">
                <a16:creationId xmlns:a16="http://schemas.microsoft.com/office/drawing/2014/main" id="{C4C9AF5C-D7A0-4879-9DE3-3848B4EE5A15}"/>
              </a:ext>
            </a:extLst>
          </p:cNvPr>
          <p:cNvSpPr>
            <a:spLocks noGrp="1"/>
          </p:cNvSpPr>
          <p:nvPr>
            <p:ph type="pic" sz="quarter" idx="19" hasCustomPrompt="1"/>
          </p:nvPr>
        </p:nvSpPr>
        <p:spPr>
          <a:xfrm>
            <a:off x="2291660" y="1685925"/>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36" name="Picture Placeholder 3">
            <a:extLst>
              <a:ext uri="{FF2B5EF4-FFF2-40B4-BE49-F238E27FC236}">
                <a16:creationId xmlns:a16="http://schemas.microsoft.com/office/drawing/2014/main" id="{608BE6CE-FB6A-41E9-ADDE-B1928E2D50A3}"/>
              </a:ext>
            </a:extLst>
          </p:cNvPr>
          <p:cNvSpPr>
            <a:spLocks noGrp="1"/>
          </p:cNvSpPr>
          <p:nvPr>
            <p:ph type="pic" sz="quarter" idx="20" hasCustomPrompt="1"/>
          </p:nvPr>
        </p:nvSpPr>
        <p:spPr>
          <a:xfrm>
            <a:off x="2291660" y="4116225"/>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39" name="Picture Placeholder 3">
            <a:extLst>
              <a:ext uri="{FF2B5EF4-FFF2-40B4-BE49-F238E27FC236}">
                <a16:creationId xmlns:a16="http://schemas.microsoft.com/office/drawing/2014/main" id="{5F091B24-7D35-4460-92D5-CFE3414C3942}"/>
              </a:ext>
            </a:extLst>
          </p:cNvPr>
          <p:cNvSpPr>
            <a:spLocks noGrp="1"/>
          </p:cNvSpPr>
          <p:nvPr>
            <p:ph type="pic" sz="quarter" idx="21" hasCustomPrompt="1"/>
          </p:nvPr>
        </p:nvSpPr>
        <p:spPr>
          <a:xfrm>
            <a:off x="6254179" y="1685925"/>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46" name="Picture Placeholder 3">
            <a:extLst>
              <a:ext uri="{FF2B5EF4-FFF2-40B4-BE49-F238E27FC236}">
                <a16:creationId xmlns:a16="http://schemas.microsoft.com/office/drawing/2014/main" id="{9903AE43-539E-4828-9A6F-5145FEFE582D}"/>
              </a:ext>
            </a:extLst>
          </p:cNvPr>
          <p:cNvSpPr>
            <a:spLocks noGrp="1"/>
          </p:cNvSpPr>
          <p:nvPr>
            <p:ph type="pic" sz="quarter" idx="22" hasCustomPrompt="1"/>
          </p:nvPr>
        </p:nvSpPr>
        <p:spPr>
          <a:xfrm>
            <a:off x="6254179" y="4116225"/>
            <a:ext cx="3646163"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6" name="Rectangle 5">
            <a:extLst>
              <a:ext uri="{FF2B5EF4-FFF2-40B4-BE49-F238E27FC236}">
                <a16:creationId xmlns:a16="http://schemas.microsoft.com/office/drawing/2014/main" id="{841833EE-FAC3-45BC-97A0-80DD06CC1DA0}"/>
              </a:ext>
            </a:extLst>
          </p:cNvPr>
          <p:cNvSpPr/>
          <p:nvPr/>
        </p:nvSpPr>
        <p:spPr>
          <a:xfrm>
            <a:off x="2291663" y="1520825"/>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sp>
        <p:nvSpPr>
          <p:cNvPr id="18" name="Rectangle 17">
            <a:extLst>
              <a:ext uri="{FF2B5EF4-FFF2-40B4-BE49-F238E27FC236}">
                <a16:creationId xmlns:a16="http://schemas.microsoft.com/office/drawing/2014/main" id="{2CE9E460-0638-4E96-9F95-AA4058041D73}"/>
              </a:ext>
            </a:extLst>
          </p:cNvPr>
          <p:cNvSpPr/>
          <p:nvPr/>
        </p:nvSpPr>
        <p:spPr>
          <a:xfrm>
            <a:off x="2291663" y="3951125"/>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23" name="Group 22">
            <a:extLst>
              <a:ext uri="{FF2B5EF4-FFF2-40B4-BE49-F238E27FC236}">
                <a16:creationId xmlns:a16="http://schemas.microsoft.com/office/drawing/2014/main" id="{435F986C-D6E2-4713-A778-408284BE149D}"/>
              </a:ext>
            </a:extLst>
          </p:cNvPr>
          <p:cNvGrpSpPr/>
          <p:nvPr/>
        </p:nvGrpSpPr>
        <p:grpSpPr>
          <a:xfrm rot="2700000">
            <a:off x="5755657" y="1543844"/>
            <a:ext cx="119062" cy="119062"/>
            <a:chOff x="5961318" y="1004888"/>
            <a:chExt cx="119062" cy="119062"/>
          </a:xfrm>
        </p:grpSpPr>
        <p:cxnSp>
          <p:nvCxnSpPr>
            <p:cNvPr id="21" name="Straight Connector 20">
              <a:extLst>
                <a:ext uri="{FF2B5EF4-FFF2-40B4-BE49-F238E27FC236}">
                  <a16:creationId xmlns:a16="http://schemas.microsoft.com/office/drawing/2014/main" id="{42D2A80F-E12D-4FC0-881C-9C1A8BF63AFF}"/>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55DABE9-94CE-4ED7-B69D-F98AE2C989D9}"/>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0FB323E-1BDD-467F-B5E2-7F856E78D0FD}"/>
              </a:ext>
            </a:extLst>
          </p:cNvPr>
          <p:cNvGrpSpPr/>
          <p:nvPr/>
        </p:nvGrpSpPr>
        <p:grpSpPr>
          <a:xfrm rot="2700000">
            <a:off x="5755657" y="3974144"/>
            <a:ext cx="119062" cy="119062"/>
            <a:chOff x="5961318" y="1004888"/>
            <a:chExt cx="119062" cy="119062"/>
          </a:xfrm>
        </p:grpSpPr>
        <p:cxnSp>
          <p:nvCxnSpPr>
            <p:cNvPr id="24" name="Straight Connector 23">
              <a:extLst>
                <a:ext uri="{FF2B5EF4-FFF2-40B4-BE49-F238E27FC236}">
                  <a16:creationId xmlns:a16="http://schemas.microsoft.com/office/drawing/2014/main" id="{B9011DB6-FF2F-43E4-AFB5-879FBE86934F}"/>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EC76A17-3C7E-4C32-AC29-763448F87FCC}"/>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7" name="Rectangle 5">
            <a:extLst>
              <a:ext uri="{FF2B5EF4-FFF2-40B4-BE49-F238E27FC236}">
                <a16:creationId xmlns:a16="http://schemas.microsoft.com/office/drawing/2014/main" id="{83CC5A62-94A5-4520-A95F-BDDDAFC7284C}"/>
              </a:ext>
            </a:extLst>
          </p:cNvPr>
          <p:cNvSpPr/>
          <p:nvPr/>
        </p:nvSpPr>
        <p:spPr>
          <a:xfrm>
            <a:off x="6254182" y="1520825"/>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sp>
        <p:nvSpPr>
          <p:cNvPr id="38" name="Rectangle 17">
            <a:extLst>
              <a:ext uri="{FF2B5EF4-FFF2-40B4-BE49-F238E27FC236}">
                <a16:creationId xmlns:a16="http://schemas.microsoft.com/office/drawing/2014/main" id="{227E4834-AE30-4B83-AF63-4C76C17EDED2}"/>
              </a:ext>
            </a:extLst>
          </p:cNvPr>
          <p:cNvSpPr/>
          <p:nvPr/>
        </p:nvSpPr>
        <p:spPr>
          <a:xfrm>
            <a:off x="6254182" y="3951125"/>
            <a:ext cx="3646159"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40" name="Group 22">
            <a:extLst>
              <a:ext uri="{FF2B5EF4-FFF2-40B4-BE49-F238E27FC236}">
                <a16:creationId xmlns:a16="http://schemas.microsoft.com/office/drawing/2014/main" id="{7ED1FF97-F54C-4C8B-97C6-477D2C13F035}"/>
              </a:ext>
            </a:extLst>
          </p:cNvPr>
          <p:cNvGrpSpPr/>
          <p:nvPr/>
        </p:nvGrpSpPr>
        <p:grpSpPr>
          <a:xfrm rot="2700000">
            <a:off x="9718176" y="1543844"/>
            <a:ext cx="119062" cy="119062"/>
            <a:chOff x="5961318" y="1004888"/>
            <a:chExt cx="119062" cy="119062"/>
          </a:xfrm>
        </p:grpSpPr>
        <p:cxnSp>
          <p:nvCxnSpPr>
            <p:cNvPr id="41" name="Straight Connector 20">
              <a:extLst>
                <a:ext uri="{FF2B5EF4-FFF2-40B4-BE49-F238E27FC236}">
                  <a16:creationId xmlns:a16="http://schemas.microsoft.com/office/drawing/2014/main" id="{86DBC299-2D3D-4029-99B2-0F1F79651D91}"/>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21">
              <a:extLst>
                <a:ext uri="{FF2B5EF4-FFF2-40B4-BE49-F238E27FC236}">
                  <a16:creationId xmlns:a16="http://schemas.microsoft.com/office/drawing/2014/main" id="{9005335A-4F47-47E6-BE1D-BDEB50DE8BD4}"/>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3" name="Group 19">
            <a:extLst>
              <a:ext uri="{FF2B5EF4-FFF2-40B4-BE49-F238E27FC236}">
                <a16:creationId xmlns:a16="http://schemas.microsoft.com/office/drawing/2014/main" id="{F9D563DB-0B65-4657-B33D-0543EBC1300F}"/>
              </a:ext>
            </a:extLst>
          </p:cNvPr>
          <p:cNvGrpSpPr/>
          <p:nvPr/>
        </p:nvGrpSpPr>
        <p:grpSpPr>
          <a:xfrm rot="2700000">
            <a:off x="9718176" y="3974144"/>
            <a:ext cx="119062" cy="119062"/>
            <a:chOff x="5961318" y="1004888"/>
            <a:chExt cx="119062" cy="119062"/>
          </a:xfrm>
        </p:grpSpPr>
        <p:cxnSp>
          <p:nvCxnSpPr>
            <p:cNvPr id="44" name="Straight Connector 23">
              <a:extLst>
                <a:ext uri="{FF2B5EF4-FFF2-40B4-BE49-F238E27FC236}">
                  <a16:creationId xmlns:a16="http://schemas.microsoft.com/office/drawing/2014/main" id="{A8638CD9-D4B6-4A38-849A-278156978CA3}"/>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27">
              <a:extLst>
                <a:ext uri="{FF2B5EF4-FFF2-40B4-BE49-F238E27FC236}">
                  <a16:creationId xmlns:a16="http://schemas.microsoft.com/office/drawing/2014/main" id="{2D53BDD3-EDC1-4D07-A0EE-61E7E17551FD}"/>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0" name="Текст 2">
            <a:extLst>
              <a:ext uri="{FF2B5EF4-FFF2-40B4-BE49-F238E27FC236}">
                <a16:creationId xmlns:a16="http://schemas.microsoft.com/office/drawing/2014/main" id="{9D400844-0922-4342-9346-C2CA29B32AF0}"/>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25" name="Заголовок 1">
            <a:extLst>
              <a:ext uri="{FF2B5EF4-FFF2-40B4-BE49-F238E27FC236}">
                <a16:creationId xmlns:a16="http://schemas.microsoft.com/office/drawing/2014/main" id="{E9F21D11-5E95-4CC8-A578-FB53E4E70D9F}"/>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33358898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_Скриншоты">
    <p:spTree>
      <p:nvGrpSpPr>
        <p:cNvPr id="1" name=""/>
        <p:cNvGrpSpPr/>
        <p:nvPr/>
      </p:nvGrpSpPr>
      <p:grpSpPr>
        <a:xfrm>
          <a:off x="0" y="0"/>
          <a:ext cx="0" cy="0"/>
          <a:chOff x="0" y="0"/>
          <a:chExt cx="0" cy="0"/>
        </a:xfrm>
      </p:grpSpPr>
      <p:sp>
        <p:nvSpPr>
          <p:cNvPr id="35" name="Picture Placeholder 3">
            <a:extLst>
              <a:ext uri="{FF2B5EF4-FFF2-40B4-BE49-F238E27FC236}">
                <a16:creationId xmlns:a16="http://schemas.microsoft.com/office/drawing/2014/main" id="{C4C9AF5C-D7A0-4879-9DE3-3848B4EE5A15}"/>
              </a:ext>
            </a:extLst>
          </p:cNvPr>
          <p:cNvSpPr>
            <a:spLocks noGrp="1"/>
          </p:cNvSpPr>
          <p:nvPr>
            <p:ph type="pic" sz="quarter" idx="19" hasCustomPrompt="1"/>
          </p:nvPr>
        </p:nvSpPr>
        <p:spPr>
          <a:xfrm>
            <a:off x="2553822" y="1685925"/>
            <a:ext cx="3384000"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36" name="Picture Placeholder 3">
            <a:extLst>
              <a:ext uri="{FF2B5EF4-FFF2-40B4-BE49-F238E27FC236}">
                <a16:creationId xmlns:a16="http://schemas.microsoft.com/office/drawing/2014/main" id="{608BE6CE-FB6A-41E9-ADDE-B1928E2D50A3}"/>
              </a:ext>
            </a:extLst>
          </p:cNvPr>
          <p:cNvSpPr>
            <a:spLocks noGrp="1"/>
          </p:cNvSpPr>
          <p:nvPr>
            <p:ph type="pic" sz="quarter" idx="20" hasCustomPrompt="1"/>
          </p:nvPr>
        </p:nvSpPr>
        <p:spPr>
          <a:xfrm>
            <a:off x="2553822" y="4116225"/>
            <a:ext cx="3384000"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39" name="Picture Placeholder 3">
            <a:extLst>
              <a:ext uri="{FF2B5EF4-FFF2-40B4-BE49-F238E27FC236}">
                <a16:creationId xmlns:a16="http://schemas.microsoft.com/office/drawing/2014/main" id="{5F091B24-7D35-4460-92D5-CFE3414C3942}"/>
              </a:ext>
            </a:extLst>
          </p:cNvPr>
          <p:cNvSpPr>
            <a:spLocks noGrp="1"/>
          </p:cNvSpPr>
          <p:nvPr>
            <p:ph type="pic" sz="quarter" idx="21" hasCustomPrompt="1"/>
          </p:nvPr>
        </p:nvSpPr>
        <p:spPr>
          <a:xfrm>
            <a:off x="6254179" y="1685925"/>
            <a:ext cx="3384000"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46" name="Picture Placeholder 3">
            <a:extLst>
              <a:ext uri="{FF2B5EF4-FFF2-40B4-BE49-F238E27FC236}">
                <a16:creationId xmlns:a16="http://schemas.microsoft.com/office/drawing/2014/main" id="{9903AE43-539E-4828-9A6F-5145FEFE582D}"/>
              </a:ext>
            </a:extLst>
          </p:cNvPr>
          <p:cNvSpPr>
            <a:spLocks noGrp="1"/>
          </p:cNvSpPr>
          <p:nvPr>
            <p:ph type="pic" sz="quarter" idx="22" hasCustomPrompt="1"/>
          </p:nvPr>
        </p:nvSpPr>
        <p:spPr>
          <a:xfrm>
            <a:off x="6254179" y="4116225"/>
            <a:ext cx="3384000" cy="2049966"/>
          </a:xfrm>
          <a:prstGeom prst="rect">
            <a:avLst/>
          </a:prstGeom>
          <a:solidFill>
            <a:schemeClr val="bg1"/>
          </a:solidFill>
          <a:ln w="6350">
            <a:solidFill>
              <a:schemeClr val="bg1">
                <a:lumMod val="75000"/>
              </a:schemeClr>
            </a:solid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800" dirty="0">
                <a:solidFill>
                  <a:schemeClr val="tx1"/>
                </a:solidFill>
              </a:defRPr>
            </a:lvl1pPr>
          </a:lstStyle>
          <a:p>
            <a:pPr algn="ctr"/>
            <a:r>
              <a:rPr lang="ru-RU"/>
              <a:t>Скриншот / изображение</a:t>
            </a:r>
          </a:p>
        </p:txBody>
      </p:sp>
      <p:sp>
        <p:nvSpPr>
          <p:cNvPr id="6" name="Rectangle 5">
            <a:extLst>
              <a:ext uri="{FF2B5EF4-FFF2-40B4-BE49-F238E27FC236}">
                <a16:creationId xmlns:a16="http://schemas.microsoft.com/office/drawing/2014/main" id="{841833EE-FAC3-45BC-97A0-80DD06CC1DA0}"/>
              </a:ext>
            </a:extLst>
          </p:cNvPr>
          <p:cNvSpPr/>
          <p:nvPr/>
        </p:nvSpPr>
        <p:spPr>
          <a:xfrm>
            <a:off x="2553822" y="1520825"/>
            <a:ext cx="3384000"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sp>
        <p:nvSpPr>
          <p:cNvPr id="18" name="Rectangle 17">
            <a:extLst>
              <a:ext uri="{FF2B5EF4-FFF2-40B4-BE49-F238E27FC236}">
                <a16:creationId xmlns:a16="http://schemas.microsoft.com/office/drawing/2014/main" id="{2CE9E460-0638-4E96-9F95-AA4058041D73}"/>
              </a:ext>
            </a:extLst>
          </p:cNvPr>
          <p:cNvSpPr/>
          <p:nvPr/>
        </p:nvSpPr>
        <p:spPr>
          <a:xfrm>
            <a:off x="2553822" y="3951125"/>
            <a:ext cx="3384000"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23" name="Group 22">
            <a:extLst>
              <a:ext uri="{FF2B5EF4-FFF2-40B4-BE49-F238E27FC236}">
                <a16:creationId xmlns:a16="http://schemas.microsoft.com/office/drawing/2014/main" id="{435F986C-D6E2-4713-A778-408284BE149D}"/>
              </a:ext>
            </a:extLst>
          </p:cNvPr>
          <p:cNvGrpSpPr/>
          <p:nvPr/>
        </p:nvGrpSpPr>
        <p:grpSpPr>
          <a:xfrm rot="2700000">
            <a:off x="5755657" y="1543844"/>
            <a:ext cx="119062" cy="119062"/>
            <a:chOff x="5961318" y="1004888"/>
            <a:chExt cx="119062" cy="119062"/>
          </a:xfrm>
        </p:grpSpPr>
        <p:cxnSp>
          <p:nvCxnSpPr>
            <p:cNvPr id="21" name="Straight Connector 20">
              <a:extLst>
                <a:ext uri="{FF2B5EF4-FFF2-40B4-BE49-F238E27FC236}">
                  <a16:creationId xmlns:a16="http://schemas.microsoft.com/office/drawing/2014/main" id="{42D2A80F-E12D-4FC0-881C-9C1A8BF63AFF}"/>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55DABE9-94CE-4ED7-B69D-F98AE2C989D9}"/>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0FB323E-1BDD-467F-B5E2-7F856E78D0FD}"/>
              </a:ext>
            </a:extLst>
          </p:cNvPr>
          <p:cNvGrpSpPr/>
          <p:nvPr/>
        </p:nvGrpSpPr>
        <p:grpSpPr>
          <a:xfrm rot="2700000">
            <a:off x="5755657" y="3974144"/>
            <a:ext cx="119062" cy="119062"/>
            <a:chOff x="5961318" y="1004888"/>
            <a:chExt cx="119062" cy="119062"/>
          </a:xfrm>
        </p:grpSpPr>
        <p:cxnSp>
          <p:nvCxnSpPr>
            <p:cNvPr id="24" name="Straight Connector 23">
              <a:extLst>
                <a:ext uri="{FF2B5EF4-FFF2-40B4-BE49-F238E27FC236}">
                  <a16:creationId xmlns:a16="http://schemas.microsoft.com/office/drawing/2014/main" id="{B9011DB6-FF2F-43E4-AFB5-879FBE86934F}"/>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EC76A17-3C7E-4C32-AC29-763448F87FCC}"/>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7" name="Rectangle 5">
            <a:extLst>
              <a:ext uri="{FF2B5EF4-FFF2-40B4-BE49-F238E27FC236}">
                <a16:creationId xmlns:a16="http://schemas.microsoft.com/office/drawing/2014/main" id="{83CC5A62-94A5-4520-A95F-BDDDAFC7284C}"/>
              </a:ext>
            </a:extLst>
          </p:cNvPr>
          <p:cNvSpPr/>
          <p:nvPr/>
        </p:nvSpPr>
        <p:spPr>
          <a:xfrm>
            <a:off x="6254182" y="1520825"/>
            <a:ext cx="3384000"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sp>
        <p:nvSpPr>
          <p:cNvPr id="38" name="Rectangle 17">
            <a:extLst>
              <a:ext uri="{FF2B5EF4-FFF2-40B4-BE49-F238E27FC236}">
                <a16:creationId xmlns:a16="http://schemas.microsoft.com/office/drawing/2014/main" id="{227E4834-AE30-4B83-AF63-4C76C17EDED2}"/>
              </a:ext>
            </a:extLst>
          </p:cNvPr>
          <p:cNvSpPr/>
          <p:nvPr/>
        </p:nvSpPr>
        <p:spPr>
          <a:xfrm>
            <a:off x="6254182" y="3951125"/>
            <a:ext cx="3384000" cy="165100"/>
          </a:xfrm>
          <a:prstGeom prst="rect">
            <a:avLst/>
          </a:prstGeom>
          <a:gradFill>
            <a:gsLst>
              <a:gs pos="100000">
                <a:schemeClr val="accent1">
                  <a:lumMod val="75000"/>
                </a:schemeClr>
              </a:gs>
              <a:gs pos="0">
                <a:schemeClr val="accent1"/>
              </a:gs>
            </a:gsLst>
            <a:lin ang="2700000" scaled="0"/>
          </a:gradFill>
          <a:ln w="6350">
            <a:gradFill>
              <a:gsLst>
                <a:gs pos="0">
                  <a:schemeClr val="accent1"/>
                </a:gs>
                <a:gs pos="100000">
                  <a:schemeClr val="accent1">
                    <a:lumMod val="75000"/>
                  </a:schemeClr>
                </a:gs>
              </a:gsLst>
            </a:gradFill>
          </a:ln>
          <a:effectLst>
            <a:outerShdw blurRad="127000" dist="38100" dir="5400000" algn="t" rotWithShape="0">
              <a:schemeClr val="accent1">
                <a:alpha val="5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endParaRPr lang="en-US" sz="1400">
              <a:solidFill>
                <a:schemeClr val="bg1"/>
              </a:solidFill>
              <a:effectLst>
                <a:outerShdw blurRad="38100" dist="38100" dir="2700000" algn="tl">
                  <a:srgbClr val="000000">
                    <a:alpha val="43137"/>
                  </a:srgbClr>
                </a:outerShdw>
              </a:effectLst>
            </a:endParaRPr>
          </a:p>
        </p:txBody>
      </p:sp>
      <p:grpSp>
        <p:nvGrpSpPr>
          <p:cNvPr id="40" name="Group 22">
            <a:extLst>
              <a:ext uri="{FF2B5EF4-FFF2-40B4-BE49-F238E27FC236}">
                <a16:creationId xmlns:a16="http://schemas.microsoft.com/office/drawing/2014/main" id="{7ED1FF97-F54C-4C8B-97C6-477D2C13F035}"/>
              </a:ext>
            </a:extLst>
          </p:cNvPr>
          <p:cNvGrpSpPr/>
          <p:nvPr/>
        </p:nvGrpSpPr>
        <p:grpSpPr>
          <a:xfrm rot="2700000">
            <a:off x="9464684" y="1543844"/>
            <a:ext cx="119062" cy="119062"/>
            <a:chOff x="5961318" y="1004888"/>
            <a:chExt cx="119062" cy="119062"/>
          </a:xfrm>
        </p:grpSpPr>
        <p:cxnSp>
          <p:nvCxnSpPr>
            <p:cNvPr id="41" name="Straight Connector 20">
              <a:extLst>
                <a:ext uri="{FF2B5EF4-FFF2-40B4-BE49-F238E27FC236}">
                  <a16:creationId xmlns:a16="http://schemas.microsoft.com/office/drawing/2014/main" id="{86DBC299-2D3D-4029-99B2-0F1F79651D91}"/>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21">
              <a:extLst>
                <a:ext uri="{FF2B5EF4-FFF2-40B4-BE49-F238E27FC236}">
                  <a16:creationId xmlns:a16="http://schemas.microsoft.com/office/drawing/2014/main" id="{9005335A-4F47-47E6-BE1D-BDEB50DE8BD4}"/>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3" name="Group 19">
            <a:extLst>
              <a:ext uri="{FF2B5EF4-FFF2-40B4-BE49-F238E27FC236}">
                <a16:creationId xmlns:a16="http://schemas.microsoft.com/office/drawing/2014/main" id="{F9D563DB-0B65-4657-B33D-0543EBC1300F}"/>
              </a:ext>
            </a:extLst>
          </p:cNvPr>
          <p:cNvGrpSpPr/>
          <p:nvPr/>
        </p:nvGrpSpPr>
        <p:grpSpPr>
          <a:xfrm rot="2700000">
            <a:off x="9464684" y="3974144"/>
            <a:ext cx="119062" cy="119062"/>
            <a:chOff x="5961318" y="1004888"/>
            <a:chExt cx="119062" cy="119062"/>
          </a:xfrm>
        </p:grpSpPr>
        <p:cxnSp>
          <p:nvCxnSpPr>
            <p:cNvPr id="44" name="Straight Connector 23">
              <a:extLst>
                <a:ext uri="{FF2B5EF4-FFF2-40B4-BE49-F238E27FC236}">
                  <a16:creationId xmlns:a16="http://schemas.microsoft.com/office/drawing/2014/main" id="{A8638CD9-D4B6-4A38-849A-278156978CA3}"/>
                </a:ext>
              </a:extLst>
            </p:cNvPr>
            <p:cNvCxnSpPr>
              <a:cxnSpLocks/>
            </p:cNvCxnSpPr>
            <p:nvPr/>
          </p:nvCxnSpPr>
          <p:spPr>
            <a:xfrm>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27">
              <a:extLst>
                <a:ext uri="{FF2B5EF4-FFF2-40B4-BE49-F238E27FC236}">
                  <a16:creationId xmlns:a16="http://schemas.microsoft.com/office/drawing/2014/main" id="{2D53BDD3-EDC1-4D07-A0EE-61E7E17551FD}"/>
                </a:ext>
              </a:extLst>
            </p:cNvPr>
            <p:cNvCxnSpPr>
              <a:cxnSpLocks/>
            </p:cNvCxnSpPr>
            <p:nvPr/>
          </p:nvCxnSpPr>
          <p:spPr>
            <a:xfrm rot="16200000">
              <a:off x="6020849" y="1004888"/>
              <a:ext cx="0" cy="11906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0" name="Текст 2">
            <a:extLst>
              <a:ext uri="{FF2B5EF4-FFF2-40B4-BE49-F238E27FC236}">
                <a16:creationId xmlns:a16="http://schemas.microsoft.com/office/drawing/2014/main" id="{97F21F8B-CCA4-4FD5-82E0-BC5588A9CCFC}"/>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25" name="Заголовок 1">
            <a:extLst>
              <a:ext uri="{FF2B5EF4-FFF2-40B4-BE49-F238E27FC236}">
                <a16:creationId xmlns:a16="http://schemas.microsoft.com/office/drawing/2014/main" id="{1EBA4C6A-2C23-4470-9353-B60283DFD414}"/>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13834627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7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4171738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5" name="Рисунок 34">
            <a:extLst>
              <a:ext uri="{FF2B5EF4-FFF2-40B4-BE49-F238E27FC236}">
                <a16:creationId xmlns:a16="http://schemas.microsoft.com/office/drawing/2014/main" id="{99ED0618-5143-44F2-8C23-BC7B213F3A17}"/>
              </a:ext>
            </a:extLst>
          </p:cNvPr>
          <p:cNvSpPr>
            <a:spLocks noGrp="1"/>
          </p:cNvSpPr>
          <p:nvPr>
            <p:ph type="pic" sz="quarter" idx="10" hasCustomPrompt="1"/>
          </p:nvPr>
        </p:nvSpPr>
        <p:spPr>
          <a:xfrm>
            <a:off x="0" y="0"/>
            <a:ext cx="12192000" cy="6858000"/>
          </a:xfrm>
          <a:prstGeom prst="rect">
            <a:avLst/>
          </a:prstGeom>
          <a:blipFill>
            <a:blip r:embed="rId6" cstate="screen">
              <a:extLst>
                <a:ext uri="{28A0092B-C50C-407E-A947-70E740481C1C}">
                  <a14:useLocalDpi xmlns:a14="http://schemas.microsoft.com/office/drawing/2010/main"/>
                </a:ext>
              </a:extLst>
            </a:blip>
            <a:stretch>
              <a:fillRect/>
            </a:stretch>
          </a:blipFill>
        </p:spPr>
        <p:txBody>
          <a:bodyPr/>
          <a:lstStyle/>
          <a:p>
            <a:r>
              <a:rPr lang="ru-RU"/>
              <a:t> </a:t>
            </a:r>
          </a:p>
        </p:txBody>
      </p:sp>
      <p:sp>
        <p:nvSpPr>
          <p:cNvPr id="8" name="Заголовок 6">
            <a:extLst>
              <a:ext uri="{FF2B5EF4-FFF2-40B4-BE49-F238E27FC236}">
                <a16:creationId xmlns:a16="http://schemas.microsoft.com/office/drawing/2014/main" id="{198EAA76-0DF1-4853-B11F-B13FE07F9D6A}"/>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6" name="Прямоугольник 25">
            <a:extLst>
              <a:ext uri="{FF2B5EF4-FFF2-40B4-BE49-F238E27FC236}">
                <a16:creationId xmlns:a16="http://schemas.microsoft.com/office/drawing/2014/main" id="{D11BF3E8-752F-436E-AA8E-76D266BEDA6C}"/>
              </a:ext>
            </a:extLst>
          </p:cNvPr>
          <p:cNvSpPr/>
          <p:nvPr/>
        </p:nvSpPr>
        <p:spPr>
          <a:xfrm rot="10800000">
            <a:off x="515938" y="12027"/>
            <a:ext cx="4676548" cy="6858001"/>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рямоугольник 27">
            <a:extLst>
              <a:ext uri="{FF2B5EF4-FFF2-40B4-BE49-F238E27FC236}">
                <a16:creationId xmlns:a16="http://schemas.microsoft.com/office/drawing/2014/main" id="{DD9E275F-A1D4-414C-8F67-C9D1389850CF}"/>
              </a:ext>
            </a:extLst>
          </p:cNvPr>
          <p:cNvSpPr/>
          <p:nvPr/>
        </p:nvSpPr>
        <p:spPr>
          <a:xfrm>
            <a:off x="4987292" y="-29561"/>
            <a:ext cx="392180" cy="68875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9" name="Заголовок 1">
            <a:extLst>
              <a:ext uri="{FF2B5EF4-FFF2-40B4-BE49-F238E27FC236}">
                <a16:creationId xmlns:a16="http://schemas.microsoft.com/office/drawing/2014/main" id="{AF835CDB-456D-48ED-B10D-17FB13757FD9}"/>
              </a:ext>
            </a:extLst>
          </p:cNvPr>
          <p:cNvSpPr>
            <a:spLocks noGrp="1"/>
          </p:cNvSpPr>
          <p:nvPr>
            <p:ph type="ctrTitle"/>
          </p:nvPr>
        </p:nvSpPr>
        <p:spPr>
          <a:xfrm>
            <a:off x="928028" y="3658920"/>
            <a:ext cx="3114705" cy="596666"/>
          </a:xfrm>
          <a:prstGeom prst="rect">
            <a:avLst/>
          </a:prstGeom>
        </p:spPr>
        <p:txBody>
          <a:bodyPr anchor="ctr"/>
          <a:lstStyle>
            <a:lvl1pPr>
              <a:lnSpc>
                <a:spcPct val="90000"/>
              </a:lnSpc>
              <a:defRPr sz="2000" b="0">
                <a:solidFill>
                  <a:schemeClr val="tx2"/>
                </a:solidFill>
                <a:latin typeface="+mj-lt"/>
              </a:defRPr>
            </a:lvl1pPr>
          </a:lstStyle>
          <a:p>
            <a:r>
              <a:rPr lang="ru-RU"/>
              <a:t>Образец заголовка</a:t>
            </a:r>
          </a:p>
        </p:txBody>
      </p:sp>
      <p:grpSp>
        <p:nvGrpSpPr>
          <p:cNvPr id="30" name="Группа 29">
            <a:extLst>
              <a:ext uri="{FF2B5EF4-FFF2-40B4-BE49-F238E27FC236}">
                <a16:creationId xmlns:a16="http://schemas.microsoft.com/office/drawing/2014/main" id="{5E49E005-3202-4E6E-84CA-9866B69E5F65}"/>
              </a:ext>
            </a:extLst>
          </p:cNvPr>
          <p:cNvGrpSpPr/>
          <p:nvPr/>
        </p:nvGrpSpPr>
        <p:grpSpPr>
          <a:xfrm>
            <a:off x="729774" y="-29560"/>
            <a:ext cx="72000" cy="4222897"/>
            <a:chOff x="809984" y="1566120"/>
            <a:chExt cx="72000" cy="4222897"/>
          </a:xfrm>
        </p:grpSpPr>
        <p:cxnSp>
          <p:nvCxnSpPr>
            <p:cNvPr id="31" name="Прямая соединительная линия 30">
              <a:extLst>
                <a:ext uri="{FF2B5EF4-FFF2-40B4-BE49-F238E27FC236}">
                  <a16:creationId xmlns:a16="http://schemas.microsoft.com/office/drawing/2014/main" id="{B08C6BB0-7D0E-44D8-AAFC-7B7F1302EF80}"/>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Прямоугольник 33">
              <a:extLst>
                <a:ext uri="{FF2B5EF4-FFF2-40B4-BE49-F238E27FC236}">
                  <a16:creationId xmlns:a16="http://schemas.microsoft.com/office/drawing/2014/main" id="{BBC46049-E468-4A38-BDF7-CBFD8CF8E8B9}"/>
                </a:ext>
              </a:extLst>
            </p:cNvPr>
            <p:cNvSpPr/>
            <p:nvPr/>
          </p:nvSpPr>
          <p:spPr>
            <a:xfrm>
              <a:off x="809984" y="530200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pic>
        <p:nvPicPr>
          <p:cNvPr id="36" name="Рисунок 35">
            <a:extLst>
              <a:ext uri="{FF2B5EF4-FFF2-40B4-BE49-F238E27FC236}">
                <a16:creationId xmlns:a16="http://schemas.microsoft.com/office/drawing/2014/main" id="{107EAD7C-F9B8-49CC-8CE5-DC4EDBAE3E5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9240" y="477901"/>
            <a:ext cx="1229035" cy="391985"/>
          </a:xfrm>
          <a:prstGeom prst="rect">
            <a:avLst/>
          </a:prstGeom>
        </p:spPr>
      </p:pic>
    </p:spTree>
    <p:extLst>
      <p:ext uri="{BB962C8B-B14F-4D97-AF65-F5344CB8AC3E}">
        <p14:creationId xmlns:p14="http://schemas.microsoft.com/office/powerpoint/2010/main" val="244390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8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164934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6" name="Рисунок 35" descr="Изображение выглядит как внутренний&#10;&#10;Автоматически созданное описание">
            <a:extLst>
              <a:ext uri="{FF2B5EF4-FFF2-40B4-BE49-F238E27FC236}">
                <a16:creationId xmlns:a16="http://schemas.microsoft.com/office/drawing/2014/main" id="{B75CA406-9BE2-49D1-94A8-BAAC6EBB5FF6}"/>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37" name="Рисунок 47">
            <a:extLst>
              <a:ext uri="{FF2B5EF4-FFF2-40B4-BE49-F238E27FC236}">
                <a16:creationId xmlns:a16="http://schemas.microsoft.com/office/drawing/2014/main" id="{0D02ED66-485F-4BA0-BCA1-A06456D2BD20}"/>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6" name="Прямоугольник 25">
            <a:extLst>
              <a:ext uri="{FF2B5EF4-FFF2-40B4-BE49-F238E27FC236}">
                <a16:creationId xmlns:a16="http://schemas.microsoft.com/office/drawing/2014/main" id="{FF112DBE-6683-4CF2-96D3-7F7C8C293C15}"/>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рямоугольник 27">
            <a:extLst>
              <a:ext uri="{FF2B5EF4-FFF2-40B4-BE49-F238E27FC236}">
                <a16:creationId xmlns:a16="http://schemas.microsoft.com/office/drawing/2014/main" id="{6A645C0F-60F2-4DE5-B517-AA17B776E250}"/>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9" name="Рисунок 28">
            <a:extLst>
              <a:ext uri="{FF2B5EF4-FFF2-40B4-BE49-F238E27FC236}">
                <a16:creationId xmlns:a16="http://schemas.microsoft.com/office/drawing/2014/main" id="{17EF5889-8B95-436D-A171-0E285703ADB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30" name="Заголовок 17">
            <a:extLst>
              <a:ext uri="{FF2B5EF4-FFF2-40B4-BE49-F238E27FC236}">
                <a16:creationId xmlns:a16="http://schemas.microsoft.com/office/drawing/2014/main" id="{FE30084B-064C-4249-8B60-99A8B365E14A}"/>
              </a:ext>
            </a:extLst>
          </p:cNvPr>
          <p:cNvSpPr txBox="1">
            <a:spLocks/>
          </p:cNvSpPr>
          <p:nvPr/>
        </p:nvSpPr>
        <p:spPr>
          <a:xfrm>
            <a:off x="13166399" y="2327088"/>
            <a:ext cx="2898991" cy="889072"/>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endParaRPr lang="ru-RU" sz="2000">
              <a:solidFill>
                <a:schemeClr val="bg1"/>
              </a:solidFill>
              <a:latin typeface="+mj-lt"/>
            </a:endParaRPr>
          </a:p>
        </p:txBody>
      </p:sp>
      <p:sp>
        <p:nvSpPr>
          <p:cNvPr id="31" name="TextBox 30">
            <a:extLst>
              <a:ext uri="{FF2B5EF4-FFF2-40B4-BE49-F238E27FC236}">
                <a16:creationId xmlns:a16="http://schemas.microsoft.com/office/drawing/2014/main" id="{2D2391A7-985F-4DF6-A761-59E9843256E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9" name="Текст 8">
            <a:extLst>
              <a:ext uri="{FF2B5EF4-FFF2-40B4-BE49-F238E27FC236}">
                <a16:creationId xmlns:a16="http://schemas.microsoft.com/office/drawing/2014/main" id="{2C851541-3346-492B-AE69-3A00155B47E8}"/>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2197203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531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1_Заголовок в 1 строку">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53896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0" name="Заголовок 1">
            <a:extLst>
              <a:ext uri="{FF2B5EF4-FFF2-40B4-BE49-F238E27FC236}">
                <a16:creationId xmlns:a16="http://schemas.microsoft.com/office/drawing/2014/main" id="{624BDE2A-2DB5-4B00-8433-0D76BE7E46BC}"/>
              </a:ext>
            </a:extLst>
          </p:cNvPr>
          <p:cNvSpPr>
            <a:spLocks noGrp="1"/>
          </p:cNvSpPr>
          <p:nvPr>
            <p:ph type="title" hasCustomPrompt="1"/>
          </p:nvPr>
        </p:nvSpPr>
        <p:spPr>
          <a:xfrm>
            <a:off x="511848" y="341593"/>
            <a:ext cx="5732462"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pic>
        <p:nvPicPr>
          <p:cNvPr id="6" name="Рисунок 5" descr="Изображение выглядит как текст, внутренний&#10;&#10;Автоматически созданное описание">
            <a:extLst>
              <a:ext uri="{FF2B5EF4-FFF2-40B4-BE49-F238E27FC236}">
                <a16:creationId xmlns:a16="http://schemas.microsoft.com/office/drawing/2014/main" id="{89A18B22-2BA4-4617-9FC8-0B949D018E85}"/>
              </a:ext>
            </a:extLst>
          </p:cNvPr>
          <p:cNvPicPr>
            <a:picLocks noChangeAspect="1"/>
          </p:cNvPicPr>
          <p:nvPr/>
        </p:nvPicPr>
        <p:blipFill>
          <a:blip r:embed="rId7">
            <a:extLst>
              <a:ext uri="{28A0092B-C50C-407E-A947-70E740481C1C}">
                <a14:useLocalDpi xmlns:a14="http://schemas.microsoft.com/office/drawing/2010/main" val="0"/>
              </a:ext>
            </a:extLst>
          </a:blip>
          <a:srcRect l="22136" r="22136"/>
          <a:stretch>
            <a:fillRect/>
          </a:stretch>
        </p:blipFill>
        <p:spPr>
          <a:xfrm>
            <a:off x="6459538" y="0"/>
            <a:ext cx="5732462" cy="6864350"/>
          </a:xfrm>
          <a:custGeom>
            <a:avLst/>
            <a:gdLst>
              <a:gd name="connsiteX0" fmla="*/ 0 w 4780955"/>
              <a:gd name="connsiteY0" fmla="*/ 0 h 5773019"/>
              <a:gd name="connsiteX1" fmla="*/ 4780955 w 4780955"/>
              <a:gd name="connsiteY1" fmla="*/ 0 h 5773019"/>
              <a:gd name="connsiteX2" fmla="*/ 4780955 w 4780955"/>
              <a:gd name="connsiteY2" fmla="*/ 5773019 h 5773019"/>
              <a:gd name="connsiteX3" fmla="*/ 630376 w 4780955"/>
              <a:gd name="connsiteY3" fmla="*/ 5773019 h 5773019"/>
              <a:gd name="connsiteX0" fmla="*/ 0 w 4780955"/>
              <a:gd name="connsiteY0" fmla="*/ 0 h 5786343"/>
              <a:gd name="connsiteX1" fmla="*/ 4780955 w 4780955"/>
              <a:gd name="connsiteY1" fmla="*/ 0 h 5786343"/>
              <a:gd name="connsiteX2" fmla="*/ 4780955 w 4780955"/>
              <a:gd name="connsiteY2" fmla="*/ 5773019 h 5786343"/>
              <a:gd name="connsiteX3" fmla="*/ 1096154 w 4780955"/>
              <a:gd name="connsiteY3" fmla="*/ 5786343 h 5786343"/>
              <a:gd name="connsiteX4" fmla="*/ 630376 w 4780955"/>
              <a:gd name="connsiteY4" fmla="*/ 5773019 h 5786343"/>
              <a:gd name="connsiteX5" fmla="*/ 0 w 4780955"/>
              <a:gd name="connsiteY5" fmla="*/ 0 h 5786343"/>
              <a:gd name="connsiteX0" fmla="*/ 1363266 w 6144221"/>
              <a:gd name="connsiteY0" fmla="*/ 0 h 5795147"/>
              <a:gd name="connsiteX1" fmla="*/ 6144221 w 6144221"/>
              <a:gd name="connsiteY1" fmla="*/ 0 h 5795147"/>
              <a:gd name="connsiteX2" fmla="*/ 6144221 w 6144221"/>
              <a:gd name="connsiteY2" fmla="*/ 5773019 h 5795147"/>
              <a:gd name="connsiteX3" fmla="*/ 2459420 w 6144221"/>
              <a:gd name="connsiteY3" fmla="*/ 5786343 h 5795147"/>
              <a:gd name="connsiteX4" fmla="*/ 0 w 6144221"/>
              <a:gd name="connsiteY4" fmla="*/ 5795147 h 5795147"/>
              <a:gd name="connsiteX5" fmla="*/ 1363266 w 6144221"/>
              <a:gd name="connsiteY5" fmla="*/ 0 h 5795147"/>
              <a:gd name="connsiteX0" fmla="*/ 1363266 w 6144221"/>
              <a:gd name="connsiteY0" fmla="*/ 0 h 5795147"/>
              <a:gd name="connsiteX1" fmla="*/ 6144221 w 6144221"/>
              <a:gd name="connsiteY1" fmla="*/ 0 h 5795147"/>
              <a:gd name="connsiteX2" fmla="*/ 6144221 w 6144221"/>
              <a:gd name="connsiteY2" fmla="*/ 5773019 h 5795147"/>
              <a:gd name="connsiteX3" fmla="*/ 0 w 6144221"/>
              <a:gd name="connsiteY3" fmla="*/ 5795147 h 5795147"/>
              <a:gd name="connsiteX4" fmla="*/ 1363266 w 6144221"/>
              <a:gd name="connsiteY4" fmla="*/ 0 h 5795147"/>
              <a:gd name="connsiteX0" fmla="*/ 1074532 w 5855487"/>
              <a:gd name="connsiteY0" fmla="*/ 0 h 5773019"/>
              <a:gd name="connsiteX1" fmla="*/ 5855487 w 5855487"/>
              <a:gd name="connsiteY1" fmla="*/ 0 h 5773019"/>
              <a:gd name="connsiteX2" fmla="*/ 5855487 w 5855487"/>
              <a:gd name="connsiteY2" fmla="*/ 5773019 h 5773019"/>
              <a:gd name="connsiteX3" fmla="*/ 0 w 5855487"/>
              <a:gd name="connsiteY3" fmla="*/ 5750892 h 5773019"/>
              <a:gd name="connsiteX4" fmla="*/ 1074532 w 5855487"/>
              <a:gd name="connsiteY4" fmla="*/ 0 h 5773019"/>
              <a:gd name="connsiteX0" fmla="*/ 1047034 w 5827989"/>
              <a:gd name="connsiteY0" fmla="*/ 0 h 5784084"/>
              <a:gd name="connsiteX1" fmla="*/ 5827989 w 5827989"/>
              <a:gd name="connsiteY1" fmla="*/ 0 h 5784084"/>
              <a:gd name="connsiteX2" fmla="*/ 5827989 w 5827989"/>
              <a:gd name="connsiteY2" fmla="*/ 5773019 h 5784084"/>
              <a:gd name="connsiteX3" fmla="*/ 0 w 5827989"/>
              <a:gd name="connsiteY3" fmla="*/ 5784084 h 5784084"/>
              <a:gd name="connsiteX4" fmla="*/ 1047034 w 5827989"/>
              <a:gd name="connsiteY4" fmla="*/ 0 h 5784084"/>
              <a:gd name="connsiteX0" fmla="*/ 1033285 w 5814240"/>
              <a:gd name="connsiteY0" fmla="*/ 0 h 5773021"/>
              <a:gd name="connsiteX1" fmla="*/ 5814240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814240"/>
              <a:gd name="connsiteY0" fmla="*/ 12829 h 5785850"/>
              <a:gd name="connsiteX1" fmla="*/ 5202760 w 5814240"/>
              <a:gd name="connsiteY1" fmla="*/ 0 h 5785850"/>
              <a:gd name="connsiteX2" fmla="*/ 5814240 w 5814240"/>
              <a:gd name="connsiteY2" fmla="*/ 5785848 h 5785850"/>
              <a:gd name="connsiteX3" fmla="*/ 0 w 5814240"/>
              <a:gd name="connsiteY3" fmla="*/ 5785850 h 5785850"/>
              <a:gd name="connsiteX4" fmla="*/ 1033285 w 5814240"/>
              <a:gd name="connsiteY4" fmla="*/ 12829 h 5785850"/>
              <a:gd name="connsiteX0" fmla="*/ 1033285 w 5814240"/>
              <a:gd name="connsiteY0" fmla="*/ 0 h 5773021"/>
              <a:gd name="connsiteX1" fmla="*/ 5352746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352746"/>
              <a:gd name="connsiteY0" fmla="*/ 0 h 5773021"/>
              <a:gd name="connsiteX1" fmla="*/ 5352746 w 5352746"/>
              <a:gd name="connsiteY1" fmla="*/ 0 h 5773021"/>
              <a:gd name="connsiteX2" fmla="*/ 4879713 w 5352746"/>
              <a:gd name="connsiteY2" fmla="*/ 5567756 h 5773021"/>
              <a:gd name="connsiteX3" fmla="*/ 0 w 5352746"/>
              <a:gd name="connsiteY3" fmla="*/ 5773021 h 5773021"/>
              <a:gd name="connsiteX4" fmla="*/ 1033285 w 5352746"/>
              <a:gd name="connsiteY4" fmla="*/ 0 h 5773021"/>
              <a:gd name="connsiteX0" fmla="*/ 1033285 w 5352746"/>
              <a:gd name="connsiteY0" fmla="*/ 0 h 5773021"/>
              <a:gd name="connsiteX1" fmla="*/ 5352746 w 5352746"/>
              <a:gd name="connsiteY1" fmla="*/ 0 h 5773021"/>
              <a:gd name="connsiteX2" fmla="*/ 5341208 w 5352746"/>
              <a:gd name="connsiteY2" fmla="*/ 5773019 h 5773021"/>
              <a:gd name="connsiteX3" fmla="*/ 0 w 5352746"/>
              <a:gd name="connsiteY3" fmla="*/ 5773021 h 5773021"/>
              <a:gd name="connsiteX4" fmla="*/ 1033285 w 5352746"/>
              <a:gd name="connsiteY4" fmla="*/ 0 h 5773021"/>
              <a:gd name="connsiteX0" fmla="*/ 1033285 w 5341208"/>
              <a:gd name="connsiteY0" fmla="*/ 0 h 5773021"/>
              <a:gd name="connsiteX1" fmla="*/ 5288137 w 5341208"/>
              <a:gd name="connsiteY1" fmla="*/ 107763 h 5773021"/>
              <a:gd name="connsiteX2" fmla="*/ 5341208 w 5341208"/>
              <a:gd name="connsiteY2" fmla="*/ 5773019 h 5773021"/>
              <a:gd name="connsiteX3" fmla="*/ 0 w 5341208"/>
              <a:gd name="connsiteY3" fmla="*/ 5773021 h 5773021"/>
              <a:gd name="connsiteX4" fmla="*/ 1033285 w 5341208"/>
              <a:gd name="connsiteY4" fmla="*/ 0 h 5773021"/>
              <a:gd name="connsiteX0" fmla="*/ 1033285 w 5343516"/>
              <a:gd name="connsiteY0" fmla="*/ 0 h 5773021"/>
              <a:gd name="connsiteX1" fmla="*/ 5343516 w 5343516"/>
              <a:gd name="connsiteY1" fmla="*/ 0 h 5773021"/>
              <a:gd name="connsiteX2" fmla="*/ 5341208 w 5343516"/>
              <a:gd name="connsiteY2" fmla="*/ 5773019 h 5773021"/>
              <a:gd name="connsiteX3" fmla="*/ 0 w 5343516"/>
              <a:gd name="connsiteY3" fmla="*/ 5773021 h 5773021"/>
              <a:gd name="connsiteX4" fmla="*/ 1033285 w 5343516"/>
              <a:gd name="connsiteY4" fmla="*/ 0 h 5773021"/>
              <a:gd name="connsiteX0" fmla="*/ 1033285 w 5343516"/>
              <a:gd name="connsiteY0" fmla="*/ 0 h 5773021"/>
              <a:gd name="connsiteX1" fmla="*/ 5343516 w 5343516"/>
              <a:gd name="connsiteY1" fmla="*/ 0 h 5773021"/>
              <a:gd name="connsiteX2" fmla="*/ 5290444 w 5343516"/>
              <a:gd name="connsiteY2" fmla="*/ 5701177 h 5773021"/>
              <a:gd name="connsiteX3" fmla="*/ 0 w 5343516"/>
              <a:gd name="connsiteY3" fmla="*/ 5773021 h 5773021"/>
              <a:gd name="connsiteX4" fmla="*/ 1033285 w 5343516"/>
              <a:gd name="connsiteY4" fmla="*/ 0 h 5773021"/>
              <a:gd name="connsiteX0" fmla="*/ 1033285 w 5345925"/>
              <a:gd name="connsiteY0" fmla="*/ 0 h 5778151"/>
              <a:gd name="connsiteX1" fmla="*/ 5343516 w 5345925"/>
              <a:gd name="connsiteY1" fmla="*/ 0 h 5778151"/>
              <a:gd name="connsiteX2" fmla="*/ 5345823 w 5345925"/>
              <a:gd name="connsiteY2" fmla="*/ 5778151 h 5778151"/>
              <a:gd name="connsiteX3" fmla="*/ 0 w 5345925"/>
              <a:gd name="connsiteY3" fmla="*/ 5773021 h 5778151"/>
              <a:gd name="connsiteX4" fmla="*/ 1033285 w 5345925"/>
              <a:gd name="connsiteY4" fmla="*/ 0 h 5778151"/>
              <a:gd name="connsiteX0" fmla="*/ 26970 w 4339610"/>
              <a:gd name="connsiteY0" fmla="*/ 0 h 5778151"/>
              <a:gd name="connsiteX1" fmla="*/ 4337201 w 4339610"/>
              <a:gd name="connsiteY1" fmla="*/ 0 h 5778151"/>
              <a:gd name="connsiteX2" fmla="*/ 4339508 w 4339610"/>
              <a:gd name="connsiteY2" fmla="*/ 5778151 h 5778151"/>
              <a:gd name="connsiteX3" fmla="*/ 0 w 4339610"/>
              <a:gd name="connsiteY3" fmla="*/ 5758767 h 5778151"/>
              <a:gd name="connsiteX4" fmla="*/ 26970 w 4339610"/>
              <a:gd name="connsiteY4" fmla="*/ 0 h 577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610" h="5778151">
                <a:moveTo>
                  <a:pt x="26970" y="0"/>
                </a:moveTo>
                <a:lnTo>
                  <a:pt x="4337201" y="0"/>
                </a:lnTo>
                <a:cubicBezTo>
                  <a:pt x="4336432" y="1924340"/>
                  <a:pt x="4340277" y="3853811"/>
                  <a:pt x="4339508" y="5778151"/>
                </a:cubicBezTo>
                <a:lnTo>
                  <a:pt x="0" y="5758767"/>
                </a:lnTo>
                <a:lnTo>
                  <a:pt x="26970" y="0"/>
                </a:lnTo>
                <a:close/>
              </a:path>
            </a:pathLst>
          </a:custGeom>
        </p:spPr>
      </p:pic>
      <p:sp>
        <p:nvSpPr>
          <p:cNvPr id="7" name="Прямоугольник 6">
            <a:extLst>
              <a:ext uri="{FF2B5EF4-FFF2-40B4-BE49-F238E27FC236}">
                <a16:creationId xmlns:a16="http://schemas.microsoft.com/office/drawing/2014/main" id="{20B0502E-1044-42A7-9764-3EE8B142247B}"/>
              </a:ext>
            </a:extLst>
          </p:cNvPr>
          <p:cNvSpPr/>
          <p:nvPr/>
        </p:nvSpPr>
        <p:spPr>
          <a:xfrm>
            <a:off x="10406092" y="0"/>
            <a:ext cx="1432266" cy="6858003"/>
          </a:xfrm>
          <a:prstGeom prst="rect">
            <a:avLst/>
          </a:prstGeom>
          <a:gradFill flip="none" rotWithShape="1">
            <a:gsLst>
              <a:gs pos="0">
                <a:schemeClr val="bg1">
                  <a:alpha val="34000"/>
                </a:schemeClr>
              </a:gs>
              <a:gs pos="59000">
                <a:schemeClr val="bg1">
                  <a:alpha val="0"/>
                </a:schemeClr>
              </a:gs>
            </a:gsLst>
            <a:lin ang="0" scaled="0"/>
            <a:tileRect/>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chemeClr val="accent1"/>
              </a:buClr>
              <a:buFont typeface="Wingdings" panose="05000000000000000000" pitchFamily="2" charset="2"/>
              <a:buChar char="§"/>
            </a:pPr>
            <a:endParaRPr lang="ru-RU" sz="1200" err="1">
              <a:solidFill>
                <a:schemeClr val="accent3">
                  <a:lumMod val="50000"/>
                </a:schemeClr>
              </a:solidFill>
            </a:endParaRPr>
          </a:p>
        </p:txBody>
      </p:sp>
      <p:sp>
        <p:nvSpPr>
          <p:cNvPr id="11" name="Прямоугольник 10">
            <a:extLst>
              <a:ext uri="{FF2B5EF4-FFF2-40B4-BE49-F238E27FC236}">
                <a16:creationId xmlns:a16="http://schemas.microsoft.com/office/drawing/2014/main" id="{C9F6B548-2C3C-4720-AE11-87FCB38EF24C}"/>
              </a:ext>
            </a:extLst>
          </p:cNvPr>
          <p:cNvSpPr/>
          <p:nvPr/>
        </p:nvSpPr>
        <p:spPr>
          <a:xfrm>
            <a:off x="10657889" y="0"/>
            <a:ext cx="2518391" cy="6858000"/>
          </a:xfrm>
          <a:prstGeom prst="rect">
            <a:avLst/>
          </a:prstGeom>
          <a:gradFill flip="none" rotWithShape="1">
            <a:gsLst>
              <a:gs pos="0">
                <a:schemeClr val="bg1">
                  <a:alpha val="34000"/>
                </a:schemeClr>
              </a:gs>
              <a:gs pos="59000">
                <a:schemeClr val="bg1">
                  <a:alpha val="0"/>
                </a:schemeClr>
              </a:gs>
            </a:gsLst>
            <a:lin ang="0" scaled="0"/>
            <a:tileRect/>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chemeClr val="accent1"/>
              </a:buClr>
              <a:buFont typeface="Wingdings" panose="05000000000000000000" pitchFamily="2" charset="2"/>
              <a:buChar char="§"/>
            </a:pPr>
            <a:endParaRPr lang="ru-RU" sz="1200" err="1">
              <a:solidFill>
                <a:schemeClr val="accent3">
                  <a:lumMod val="50000"/>
                </a:schemeClr>
              </a:solidFill>
            </a:endParaRPr>
          </a:p>
        </p:txBody>
      </p:sp>
      <p:sp>
        <p:nvSpPr>
          <p:cNvPr id="12" name="Прямоугольник 11">
            <a:extLst>
              <a:ext uri="{FF2B5EF4-FFF2-40B4-BE49-F238E27FC236}">
                <a16:creationId xmlns:a16="http://schemas.microsoft.com/office/drawing/2014/main" id="{13C624EC-82AD-48E7-9A36-C7A086AEC455}"/>
              </a:ext>
            </a:extLst>
          </p:cNvPr>
          <p:cNvSpPr/>
          <p:nvPr/>
        </p:nvSpPr>
        <p:spPr>
          <a:xfrm>
            <a:off x="6732800" y="0"/>
            <a:ext cx="2372479" cy="6858000"/>
          </a:xfrm>
          <a:prstGeom prst="rect">
            <a:avLst/>
          </a:prstGeom>
          <a:gradFill flip="none" rotWithShape="1">
            <a:gsLst>
              <a:gs pos="0">
                <a:schemeClr val="bg1">
                  <a:alpha val="45000"/>
                </a:schemeClr>
              </a:gs>
              <a:gs pos="59000">
                <a:schemeClr val="bg1">
                  <a:alpha val="0"/>
                </a:schemeClr>
              </a:gs>
            </a:gsLst>
            <a:lin ang="0" scaled="0"/>
            <a:tileRect/>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chemeClr val="accent1"/>
              </a:buClr>
              <a:buFont typeface="Wingdings" panose="05000000000000000000" pitchFamily="2" charset="2"/>
              <a:buChar char="§"/>
            </a:pPr>
            <a:endParaRPr lang="ru-RU" sz="1200" err="1">
              <a:solidFill>
                <a:schemeClr val="accent3">
                  <a:lumMod val="50000"/>
                </a:schemeClr>
              </a:solidFill>
            </a:endParaRPr>
          </a:p>
        </p:txBody>
      </p:sp>
    </p:spTree>
    <p:extLst>
      <p:ext uri="{BB962C8B-B14F-4D97-AF65-F5344CB8AC3E}">
        <p14:creationId xmlns:p14="http://schemas.microsoft.com/office/powerpoint/2010/main" val="4280893508"/>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5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318513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2" name="Рисунок 41" descr="Изображение выглядит как внутренний&#10;&#10;Автоматически созданное описание">
            <a:extLst>
              <a:ext uri="{FF2B5EF4-FFF2-40B4-BE49-F238E27FC236}">
                <a16:creationId xmlns:a16="http://schemas.microsoft.com/office/drawing/2014/main" id="{564D71C5-388A-46B1-A022-A98CC30150A0}"/>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43" name="Рисунок 47">
            <a:extLst>
              <a:ext uri="{FF2B5EF4-FFF2-40B4-BE49-F238E27FC236}">
                <a16:creationId xmlns:a16="http://schemas.microsoft.com/office/drawing/2014/main" id="{2C566835-9A48-4FF6-9F86-45AB35588A31}"/>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9" name="Прямоугольник 28">
            <a:extLst>
              <a:ext uri="{FF2B5EF4-FFF2-40B4-BE49-F238E27FC236}">
                <a16:creationId xmlns:a16="http://schemas.microsoft.com/office/drawing/2014/main" id="{27CF5475-829A-4E61-86FB-7F653CB276DA}"/>
              </a:ext>
            </a:extLst>
          </p:cNvPr>
          <p:cNvSpPr/>
          <p:nvPr/>
        </p:nvSpPr>
        <p:spPr>
          <a:xfrm flipV="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30" name="Заголовок 6">
            <a:extLst>
              <a:ext uri="{FF2B5EF4-FFF2-40B4-BE49-F238E27FC236}">
                <a16:creationId xmlns:a16="http://schemas.microsoft.com/office/drawing/2014/main" id="{381ECBF8-9B52-4F96-A8FE-FF945594FAD1}"/>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Прямоугольник 30">
            <a:extLst>
              <a:ext uri="{FF2B5EF4-FFF2-40B4-BE49-F238E27FC236}">
                <a16:creationId xmlns:a16="http://schemas.microsoft.com/office/drawing/2014/main" id="{D3B9AF05-4789-460A-B166-CA0F06909144}"/>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34" name="Рисунок 33">
            <a:extLst>
              <a:ext uri="{FF2B5EF4-FFF2-40B4-BE49-F238E27FC236}">
                <a16:creationId xmlns:a16="http://schemas.microsoft.com/office/drawing/2014/main" id="{A389EBDA-0356-4F15-A10E-B2CDCC03B74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36" name="Заголовок 17">
            <a:extLst>
              <a:ext uri="{FF2B5EF4-FFF2-40B4-BE49-F238E27FC236}">
                <a16:creationId xmlns:a16="http://schemas.microsoft.com/office/drawing/2014/main" id="{1C16FF04-52E6-46E4-A1FE-B4CD3CBED97F}"/>
              </a:ext>
            </a:extLst>
          </p:cNvPr>
          <p:cNvSpPr>
            <a:spLocks noGrp="1"/>
          </p:cNvSpPr>
          <p:nvPr>
            <p:ph type="title" hasCustomPrompt="1"/>
          </p:nvPr>
        </p:nvSpPr>
        <p:spPr>
          <a:xfrm>
            <a:off x="1057024" y="3909857"/>
            <a:ext cx="4260041" cy="889072"/>
          </a:xfrm>
          <a:prstGeom prst="rect">
            <a:avLst/>
          </a:prstGeom>
        </p:spPr>
        <p:txBody>
          <a:bodyPr vert="horz" lIns="0" tIns="0" rIns="0" bIns="0"/>
          <a:lstStyle>
            <a:lvl1pPr>
              <a:defRPr sz="2800">
                <a:solidFill>
                  <a:schemeClr val="accent1"/>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СЕССИЯ ДЛЯ УПРАВЛЕНЧЕСКОЙ </a:t>
            </a:r>
            <a:b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br>
            <a: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КОМАНДЫ МНГ</a:t>
            </a:r>
          </a:p>
        </p:txBody>
      </p:sp>
      <p:sp>
        <p:nvSpPr>
          <p:cNvPr id="37" name="Заголовок 17">
            <a:extLst>
              <a:ext uri="{FF2B5EF4-FFF2-40B4-BE49-F238E27FC236}">
                <a16:creationId xmlns:a16="http://schemas.microsoft.com/office/drawing/2014/main" id="{F6A027C8-3B7F-4126-9989-0A658653E326}"/>
              </a:ext>
            </a:extLst>
          </p:cNvPr>
          <p:cNvSpPr txBox="1">
            <a:spLocks/>
          </p:cNvSpPr>
          <p:nvPr/>
        </p:nvSpPr>
        <p:spPr>
          <a:xfrm>
            <a:off x="1057025" y="5471382"/>
            <a:ext cx="1472300" cy="288287"/>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pPr>
              <a:defRPr/>
            </a:pPr>
            <a:r>
              <a:rPr lang="ru-RU" sz="1600" b="0">
                <a:solidFill>
                  <a:srgbClr val="FFFFFF"/>
                </a:solidFill>
                <a:latin typeface="Segoe UI Light" panose="020B0502040204020203" pitchFamily="34" charset="0"/>
                <a:cs typeface="Segoe UI Light" panose="020B0502040204020203" pitchFamily="34" charset="0"/>
              </a:rPr>
              <a:t>Подзаголовок</a:t>
            </a:r>
          </a:p>
        </p:txBody>
      </p:sp>
      <p:sp>
        <p:nvSpPr>
          <p:cNvPr id="38" name="Заголовок 17">
            <a:extLst>
              <a:ext uri="{FF2B5EF4-FFF2-40B4-BE49-F238E27FC236}">
                <a16:creationId xmlns:a16="http://schemas.microsoft.com/office/drawing/2014/main" id="{25241869-D157-43D6-9DFF-9FD1BA737E1B}"/>
              </a:ext>
            </a:extLst>
          </p:cNvPr>
          <p:cNvSpPr txBox="1">
            <a:spLocks/>
          </p:cNvSpPr>
          <p:nvPr/>
        </p:nvSpPr>
        <p:spPr>
          <a:xfrm>
            <a:off x="1057025" y="5875478"/>
            <a:ext cx="1472300" cy="288287"/>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pPr>
              <a:defRPr/>
            </a:pPr>
            <a:r>
              <a:rPr lang="ru-RU" sz="1600" b="0">
                <a:solidFill>
                  <a:srgbClr val="FFFFFF"/>
                </a:solidFill>
                <a:latin typeface="Segoe UI Light" panose="020B0502040204020203" pitchFamily="34" charset="0"/>
                <a:cs typeface="Segoe UI Light" panose="020B0502040204020203" pitchFamily="34" charset="0"/>
              </a:rPr>
              <a:t>Дата</a:t>
            </a:r>
          </a:p>
        </p:txBody>
      </p:sp>
    </p:spTree>
    <p:extLst>
      <p:ext uri="{BB962C8B-B14F-4D97-AF65-F5344CB8AC3E}">
        <p14:creationId xmlns:p14="http://schemas.microsoft.com/office/powerpoint/2010/main" val="827928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Пустой">
    <p:spTree>
      <p:nvGrpSpPr>
        <p:cNvPr id="1" name=""/>
        <p:cNvGrpSpPr/>
        <p:nvPr/>
      </p:nvGrpSpPr>
      <p:grpSpPr>
        <a:xfrm>
          <a:off x="0" y="0"/>
          <a:ext cx="0" cy="0"/>
          <a:chOff x="0" y="0"/>
          <a:chExt cx="0" cy="0"/>
        </a:xfrm>
      </p:grpSpPr>
      <p:pic>
        <p:nvPicPr>
          <p:cNvPr id="43" name="Рисунок 42">
            <a:extLst>
              <a:ext uri="{FF2B5EF4-FFF2-40B4-BE49-F238E27FC236}">
                <a16:creationId xmlns:a16="http://schemas.microsoft.com/office/drawing/2014/main" id="{F0823FB3-D590-4C37-A689-9586C1885A5F}"/>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47" name="Рисунок 47">
            <a:extLst>
              <a:ext uri="{FF2B5EF4-FFF2-40B4-BE49-F238E27FC236}">
                <a16:creationId xmlns:a16="http://schemas.microsoft.com/office/drawing/2014/main" id="{5BA51A45-7239-4F2F-81D9-392F94571DC1}"/>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425677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Слайд think-cell" r:id="rId6" imgW="473" imgH="476" progId="TCLayout.ActiveDocument.1">
                  <p:embed/>
                </p:oleObj>
              </mc:Choice>
              <mc:Fallback>
                <p:oleObj name="Слайд think-cell" r:id="rId6"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Прямоугольник 28">
            <a:extLst>
              <a:ext uri="{FF2B5EF4-FFF2-40B4-BE49-F238E27FC236}">
                <a16:creationId xmlns:a16="http://schemas.microsoft.com/office/drawing/2014/main" id="{27CF5475-829A-4E61-86FB-7F653CB276DA}"/>
              </a:ext>
            </a:extLst>
          </p:cNvPr>
          <p:cNvSpPr/>
          <p:nvPr/>
        </p:nvSpPr>
        <p:spPr>
          <a:xfrm flipV="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30" name="Заголовок 6">
            <a:extLst>
              <a:ext uri="{FF2B5EF4-FFF2-40B4-BE49-F238E27FC236}">
                <a16:creationId xmlns:a16="http://schemas.microsoft.com/office/drawing/2014/main" id="{381ECBF8-9B52-4F96-A8FE-FF945594FAD1}"/>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Прямоугольник 30">
            <a:extLst>
              <a:ext uri="{FF2B5EF4-FFF2-40B4-BE49-F238E27FC236}">
                <a16:creationId xmlns:a16="http://schemas.microsoft.com/office/drawing/2014/main" id="{D3B9AF05-4789-460A-B166-CA0F06909144}"/>
              </a:ext>
            </a:extLst>
          </p:cNvPr>
          <p:cNvSpPr/>
          <p:nvPr/>
        </p:nvSpPr>
        <p:spPr>
          <a:xfrm>
            <a:off x="499639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7" name="Заголовок 17">
            <a:extLst>
              <a:ext uri="{FF2B5EF4-FFF2-40B4-BE49-F238E27FC236}">
                <a16:creationId xmlns:a16="http://schemas.microsoft.com/office/drawing/2014/main" id="{F6A027C8-3B7F-4126-9989-0A658653E326}"/>
              </a:ext>
            </a:extLst>
          </p:cNvPr>
          <p:cNvSpPr txBox="1">
            <a:spLocks/>
          </p:cNvSpPr>
          <p:nvPr/>
        </p:nvSpPr>
        <p:spPr>
          <a:xfrm>
            <a:off x="1193800" y="7124466"/>
            <a:ext cx="3498641" cy="889000"/>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endParaRPr lang="ru-RU" sz="1600" b="0">
              <a:solidFill>
                <a:schemeClr val="bg1"/>
              </a:solidFill>
              <a:latin typeface="Segoe UI Light" panose="020B0502040204020203" pitchFamily="34" charset="0"/>
              <a:cs typeface="Segoe UI Light" panose="020B0502040204020203" pitchFamily="34" charset="0"/>
            </a:endParaRPr>
          </a:p>
        </p:txBody>
      </p:sp>
      <p:grpSp>
        <p:nvGrpSpPr>
          <p:cNvPr id="48" name="Группа 47">
            <a:extLst>
              <a:ext uri="{FF2B5EF4-FFF2-40B4-BE49-F238E27FC236}">
                <a16:creationId xmlns:a16="http://schemas.microsoft.com/office/drawing/2014/main" id="{23BF7E3B-53E7-42E7-978D-CBFF84A4E05E}"/>
              </a:ext>
            </a:extLst>
          </p:cNvPr>
          <p:cNvGrpSpPr/>
          <p:nvPr/>
        </p:nvGrpSpPr>
        <p:grpSpPr>
          <a:xfrm>
            <a:off x="823594" y="-25861"/>
            <a:ext cx="75181" cy="4239814"/>
            <a:chOff x="823594" y="-25861"/>
            <a:chExt cx="75181" cy="4239814"/>
          </a:xfrm>
        </p:grpSpPr>
        <p:sp>
          <p:nvSpPr>
            <p:cNvPr id="14" name="Прямоугольник 13">
              <a:extLst>
                <a:ext uri="{FF2B5EF4-FFF2-40B4-BE49-F238E27FC236}">
                  <a16:creationId xmlns:a16="http://schemas.microsoft.com/office/drawing/2014/main" id="{ED7735A9-5325-4877-8EAC-9A9EBA89646E}"/>
                </a:ext>
              </a:extLst>
            </p:cNvPr>
            <p:cNvSpPr/>
            <p:nvPr/>
          </p:nvSpPr>
          <p:spPr>
            <a:xfrm>
              <a:off x="823594" y="3399915"/>
              <a:ext cx="75181" cy="814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5" name="Прямая соединительная линия 14">
              <a:extLst>
                <a:ext uri="{FF2B5EF4-FFF2-40B4-BE49-F238E27FC236}">
                  <a16:creationId xmlns:a16="http://schemas.microsoft.com/office/drawing/2014/main" id="{C74674DD-D042-4CCF-ACE3-908F4967ADED}"/>
                </a:ext>
              </a:extLst>
            </p:cNvPr>
            <p:cNvCxnSpPr>
              <a:cxnSpLocks/>
            </p:cNvCxnSpPr>
            <p:nvPr/>
          </p:nvCxnSpPr>
          <p:spPr>
            <a:xfrm flipV="1">
              <a:off x="861184" y="-25861"/>
              <a:ext cx="0" cy="3425777"/>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35" name="Текст 34">
            <a:extLst>
              <a:ext uri="{FF2B5EF4-FFF2-40B4-BE49-F238E27FC236}">
                <a16:creationId xmlns:a16="http://schemas.microsoft.com/office/drawing/2014/main" id="{22180D23-8F56-44D0-82CC-E18324A24E01}"/>
              </a:ext>
            </a:extLst>
          </p:cNvPr>
          <p:cNvSpPr>
            <a:spLocks noGrp="1"/>
          </p:cNvSpPr>
          <p:nvPr>
            <p:ph type="body" sz="quarter" idx="13" hasCustomPrompt="1"/>
          </p:nvPr>
        </p:nvSpPr>
        <p:spPr>
          <a:xfrm>
            <a:off x="1057276" y="4398021"/>
            <a:ext cx="3600450" cy="800100"/>
          </a:xfrm>
          <a:prstGeom prst="rect">
            <a:avLst/>
          </a:prstGeom>
        </p:spPr>
        <p:txBody>
          <a:bodyPr/>
          <a:lstStyle>
            <a:lvl1pPr>
              <a:defRPr sz="1400"/>
            </a:lvl1pPr>
          </a:lstStyle>
          <a:p>
            <a:r>
              <a:rPr lang="ru-RU" sz="1600" b="0">
                <a:solidFill>
                  <a:schemeClr val="bg1"/>
                </a:solidFill>
                <a:latin typeface="Segoe UI Light" panose="020B0502040204020203" pitchFamily="34" charset="0"/>
                <a:cs typeface="Segoe UI Light" panose="020B0502040204020203" pitchFamily="34" charset="0"/>
              </a:rPr>
              <a:t>Отправьте себе «письмо </a:t>
            </a:r>
            <a:br>
              <a:rPr lang="ru-RU" sz="1600" b="0">
                <a:solidFill>
                  <a:schemeClr val="bg1"/>
                </a:solidFill>
                <a:latin typeface="Segoe UI Light" panose="020B0502040204020203" pitchFamily="34" charset="0"/>
                <a:cs typeface="Segoe UI Light" panose="020B0502040204020203" pitchFamily="34" charset="0"/>
              </a:rPr>
            </a:br>
            <a:r>
              <a:rPr lang="ru-RU" sz="1600" b="0">
                <a:solidFill>
                  <a:schemeClr val="bg1"/>
                </a:solidFill>
                <a:latin typeface="Segoe UI Light" panose="020B0502040204020203" pitchFamily="34" charset="0"/>
                <a:cs typeface="Segoe UI Light" panose="020B0502040204020203" pitchFamily="34" charset="0"/>
              </a:rPr>
              <a:t>в будущее» с благодарностью </a:t>
            </a:r>
            <a:br>
              <a:rPr lang="ru-RU" sz="1600" b="0">
                <a:solidFill>
                  <a:schemeClr val="bg1"/>
                </a:solidFill>
                <a:latin typeface="Segoe UI Light" panose="020B0502040204020203" pitchFamily="34" charset="0"/>
                <a:cs typeface="Segoe UI Light" panose="020B0502040204020203" pitchFamily="34" charset="0"/>
              </a:rPr>
            </a:br>
            <a:r>
              <a:rPr lang="ru-RU" sz="1600" b="0">
                <a:solidFill>
                  <a:schemeClr val="bg1"/>
                </a:solidFill>
                <a:latin typeface="Segoe UI Light" panose="020B0502040204020203" pitchFamily="34" charset="0"/>
                <a:cs typeface="Segoe UI Light" panose="020B0502040204020203" pitchFamily="34" charset="0"/>
              </a:rPr>
              <a:t>за успешный запуск проекта</a:t>
            </a:r>
          </a:p>
        </p:txBody>
      </p:sp>
      <p:sp>
        <p:nvSpPr>
          <p:cNvPr id="26" name="Текст 25">
            <a:extLst>
              <a:ext uri="{FF2B5EF4-FFF2-40B4-BE49-F238E27FC236}">
                <a16:creationId xmlns:a16="http://schemas.microsoft.com/office/drawing/2014/main" id="{ED0D5109-DE61-498D-BF59-19FDBB5F8892}"/>
              </a:ext>
            </a:extLst>
          </p:cNvPr>
          <p:cNvSpPr>
            <a:spLocks noGrp="1"/>
          </p:cNvSpPr>
          <p:nvPr>
            <p:ph type="body" sz="quarter" idx="12" hasCustomPrompt="1"/>
          </p:nvPr>
        </p:nvSpPr>
        <p:spPr>
          <a:xfrm>
            <a:off x="1057275" y="3397225"/>
            <a:ext cx="3600450" cy="814038"/>
          </a:xfrm>
          <a:prstGeom prst="rect">
            <a:avLst/>
          </a:prstGeom>
        </p:spPr>
        <p:txBody>
          <a:bodyPr/>
          <a:lstStyle>
            <a:lvl1pPr>
              <a:defRPr sz="2800">
                <a:solidFill>
                  <a:schemeClr val="bg1"/>
                </a:solidFill>
              </a:defRPr>
            </a:lvl1pPr>
          </a:lstStyle>
          <a:p>
            <a:pPr lvl="0"/>
            <a:r>
              <a:rPr lang="ru-RU"/>
              <a:t>КАПСУЛА </a:t>
            </a:r>
            <a:br>
              <a:rPr lang="en-US"/>
            </a:br>
            <a:r>
              <a:rPr lang="ru-RU"/>
              <a:t>ВРЕМЕНИ</a:t>
            </a:r>
          </a:p>
        </p:txBody>
      </p:sp>
    </p:spTree>
    <p:extLst>
      <p:ext uri="{BB962C8B-B14F-4D97-AF65-F5344CB8AC3E}">
        <p14:creationId xmlns:p14="http://schemas.microsoft.com/office/powerpoint/2010/main" val="355540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22008" y="486615"/>
            <a:ext cx="11166196" cy="458926"/>
          </a:xfrm>
        </p:spPr>
        <p:txBody>
          <a:bodyPr/>
          <a:lstStyle>
            <a:lvl1pPr>
              <a:defRPr>
                <a:latin typeface="+mj-lt"/>
                <a:ea typeface="Roboto" pitchFamily="2" charset="0"/>
              </a:defRPr>
            </a:lvl1pPr>
          </a:lstStyle>
          <a:p>
            <a:r>
              <a:rPr lang="ru-RU"/>
              <a:t>Образец заголовка</a:t>
            </a:r>
          </a:p>
        </p:txBody>
      </p:sp>
    </p:spTree>
    <p:extLst>
      <p:ext uri="{BB962C8B-B14F-4D97-AF65-F5344CB8AC3E}">
        <p14:creationId xmlns:p14="http://schemas.microsoft.com/office/powerpoint/2010/main" val="4768889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and Content">
    <p:bg>
      <p:bgPr>
        <a:solidFill>
          <a:schemeClr val="bg1"/>
        </a:solidFill>
        <a:effectLst/>
      </p:bgPr>
    </p:bg>
    <p:spTree>
      <p:nvGrpSpPr>
        <p:cNvPr id="1" name=""/>
        <p:cNvGrpSpPr/>
        <p:nvPr/>
      </p:nvGrpSpPr>
      <p:grpSpPr>
        <a:xfrm>
          <a:off x="0" y="0"/>
          <a:ext cx="0" cy="0"/>
          <a:chOff x="0" y="0"/>
          <a:chExt cx="0" cy="0"/>
        </a:xfrm>
      </p:grpSpPr>
      <p:sp>
        <p:nvSpPr>
          <p:cNvPr id="6" name="Параллелограмм 5">
            <a:extLst>
              <a:ext uri="{FF2B5EF4-FFF2-40B4-BE49-F238E27FC236}">
                <a16:creationId xmlns:a16="http://schemas.microsoft.com/office/drawing/2014/main" id="{E76E6560-223B-4C06-965A-9E5E37DB0569}"/>
              </a:ext>
            </a:extLst>
          </p:cNvPr>
          <p:cNvSpPr/>
          <p:nvPr userDrawn="1"/>
        </p:nvSpPr>
        <p:spPr>
          <a:xfrm>
            <a:off x="-669004" y="324072"/>
            <a:ext cx="6912077" cy="585727"/>
          </a:xfrm>
          <a:prstGeom prst="parallelogram">
            <a:avLst>
              <a:gd name="adj" fmla="val 92374"/>
            </a:avLst>
          </a:prstGeom>
          <a:gradFill>
            <a:gsLst>
              <a:gs pos="100000">
                <a:schemeClr val="accent1"/>
              </a:gs>
              <a:gs pos="0">
                <a:schemeClr val="tx2"/>
              </a:gs>
            </a:gsLst>
            <a:lin ang="33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834"/>
          </a:p>
        </p:txBody>
      </p:sp>
    </p:spTree>
    <p:extLst>
      <p:ext uri="{BB962C8B-B14F-4D97-AF65-F5344CB8AC3E}">
        <p14:creationId xmlns:p14="http://schemas.microsoft.com/office/powerpoint/2010/main" val="1920908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pic>
        <p:nvPicPr>
          <p:cNvPr id="12" name="Picture 2" descr="Futuristic networking technology remix with woman using virtual screen Free Photo">
            <a:extLst>
              <a:ext uri="{FF2B5EF4-FFF2-40B4-BE49-F238E27FC236}">
                <a16:creationId xmlns:a16="http://schemas.microsoft.com/office/drawing/2014/main" id="{41C171A3-B448-4837-ACE0-34A970769E55}"/>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32490"/>
          <a:stretch/>
        </p:blipFill>
        <p:spPr bwMode="auto">
          <a:xfrm>
            <a:off x="2" y="-24263"/>
            <a:ext cx="6999514" cy="690652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Futuristic networking technology remix with woman using virtual screen Free Photo">
            <a:extLst>
              <a:ext uri="{FF2B5EF4-FFF2-40B4-BE49-F238E27FC236}">
                <a16:creationId xmlns:a16="http://schemas.microsoft.com/office/drawing/2014/main" id="{8E75F285-D4D3-4D79-A5A0-231E3793F1D4}"/>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32490"/>
          <a:stretch/>
        </p:blipFill>
        <p:spPr bwMode="auto">
          <a:xfrm>
            <a:off x="5192486" y="-24263"/>
            <a:ext cx="6999514" cy="6906528"/>
          </a:xfrm>
          <a:prstGeom prst="rect">
            <a:avLst/>
          </a:prstGeom>
          <a:noFill/>
          <a:extLst>
            <a:ext uri="{909E8E84-426E-40DD-AFC4-6F175D3DCCD1}">
              <a14:hiddenFill xmlns:a14="http://schemas.microsoft.com/office/drawing/2010/main">
                <a:solidFill>
                  <a:srgbClr val="FFFFFF"/>
                </a:solidFill>
              </a14:hiddenFill>
            </a:ext>
          </a:extLst>
        </p:spPr>
      </p:pic>
      <p:sp>
        <p:nvSpPr>
          <p:cNvPr id="23" name="Прямоугольник 22">
            <a:extLst>
              <a:ext uri="{FF2B5EF4-FFF2-40B4-BE49-F238E27FC236}">
                <a16:creationId xmlns:a16="http://schemas.microsoft.com/office/drawing/2014/main" id="{398FE304-0242-440C-8642-8EED473252F7}"/>
              </a:ext>
            </a:extLst>
          </p:cNvPr>
          <p:cNvSpPr/>
          <p:nvPr userDrawn="1"/>
        </p:nvSpPr>
        <p:spPr>
          <a:xfrm rot="10800000" flipH="1">
            <a:off x="515938" y="-25861"/>
            <a:ext cx="4676548" cy="6883861"/>
          </a:xfrm>
          <a:prstGeom prst="rect">
            <a:avLst/>
          </a:prstGeom>
          <a:gradFill>
            <a:gsLst>
              <a:gs pos="100000">
                <a:schemeClr val="tx2"/>
              </a:gs>
              <a:gs pos="41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userDrawn="1"/>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userDrawn="1"/>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endParaRPr lang="ru-RU"/>
          </a:p>
        </p:txBody>
      </p:sp>
    </p:spTree>
    <p:extLst>
      <p:ext uri="{BB962C8B-B14F-4D97-AF65-F5344CB8AC3E}">
        <p14:creationId xmlns:p14="http://schemas.microsoft.com/office/powerpoint/2010/main" val="3040675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Мокап с монитором 2">
    <p:spTree>
      <p:nvGrpSpPr>
        <p:cNvPr id="1" name=""/>
        <p:cNvGrpSpPr/>
        <p:nvPr/>
      </p:nvGrpSpPr>
      <p:grpSpPr>
        <a:xfrm>
          <a:off x="0" y="0"/>
          <a:ext cx="0" cy="0"/>
          <a:chOff x="0" y="0"/>
          <a:chExt cx="0" cy="0"/>
        </a:xfrm>
      </p:grpSpPr>
      <p:grpSp>
        <p:nvGrpSpPr>
          <p:cNvPr id="19" name="Группа 18">
            <a:extLst>
              <a:ext uri="{FF2B5EF4-FFF2-40B4-BE49-F238E27FC236}">
                <a16:creationId xmlns:a16="http://schemas.microsoft.com/office/drawing/2014/main" id="{434D21B1-05B7-4FDD-ADBC-21967E2045F4}"/>
              </a:ext>
            </a:extLst>
          </p:cNvPr>
          <p:cNvGrpSpPr/>
          <p:nvPr/>
        </p:nvGrpSpPr>
        <p:grpSpPr>
          <a:xfrm flipH="1">
            <a:off x="7342285" y="-7389"/>
            <a:ext cx="4870944" cy="6883861"/>
            <a:chOff x="6245452" y="-25861"/>
            <a:chExt cx="4870944" cy="6883861"/>
          </a:xfrm>
        </p:grpSpPr>
        <p:sp>
          <p:nvSpPr>
            <p:cNvPr id="20" name="Прямоугольник 19">
              <a:extLst>
                <a:ext uri="{FF2B5EF4-FFF2-40B4-BE49-F238E27FC236}">
                  <a16:creationId xmlns:a16="http://schemas.microsoft.com/office/drawing/2014/main" id="{F3CF0D07-E394-4E3C-83B3-E9AC248BF3C0}"/>
                </a:ext>
              </a:extLst>
            </p:cNvPr>
            <p:cNvSpPr/>
            <p:nvPr/>
          </p:nvSpPr>
          <p:spPr>
            <a:xfrm rot="10800000" flipH="1">
              <a:off x="6245452"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3" name="Прямоугольник 22">
              <a:extLst>
                <a:ext uri="{FF2B5EF4-FFF2-40B4-BE49-F238E27FC236}">
                  <a16:creationId xmlns:a16="http://schemas.microsoft.com/office/drawing/2014/main" id="{E5FEA2C9-FB96-45B1-BC56-C92030548435}"/>
                </a:ext>
              </a:extLst>
            </p:cNvPr>
            <p:cNvSpPr/>
            <p:nvPr/>
          </p:nvSpPr>
          <p:spPr>
            <a:xfrm>
              <a:off x="107242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cxnSp>
        <p:nvCxnSpPr>
          <p:cNvPr id="21" name="Прямая соединительная линия 20">
            <a:extLst>
              <a:ext uri="{FF2B5EF4-FFF2-40B4-BE49-F238E27FC236}">
                <a16:creationId xmlns:a16="http://schemas.microsoft.com/office/drawing/2014/main" id="{5D331D7D-2A60-4762-B254-427C6BFACE3C}"/>
              </a:ext>
            </a:extLst>
          </p:cNvPr>
          <p:cNvCxnSpPr>
            <a:cxnSpLocks/>
          </p:cNvCxnSpPr>
          <p:nvPr/>
        </p:nvCxnSpPr>
        <p:spPr>
          <a:xfrm>
            <a:off x="8010134" y="0"/>
            <a:ext cx="0" cy="6858000"/>
          </a:xfrm>
          <a:prstGeom prst="line">
            <a:avLst/>
          </a:prstGeom>
          <a:ln w="9525">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6" name="Объект 5" hidden="1">
            <a:extLst>
              <a:ext uri="{FF2B5EF4-FFF2-40B4-BE49-F238E27FC236}">
                <a16:creationId xmlns:a16="http://schemas.microsoft.com/office/drawing/2014/main" id="{A61E0318-C093-45D0-BF9D-007BF93E292E}"/>
              </a:ext>
            </a:extLst>
          </p:cNvPr>
          <p:cNvGraphicFramePr>
            <a:graphicFrameLocks noChangeAspect="1"/>
          </p:cNvGraphicFramePr>
          <p:nvPr>
            <p:custDataLst>
              <p:tags r:id="rId2"/>
            </p:custDataLst>
            <p:extLst>
              <p:ext uri="{D42A27DB-BD31-4B8C-83A1-F6EECF244321}">
                <p14:modId xmlns:p14="http://schemas.microsoft.com/office/powerpoint/2010/main" val="160419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Слайд think-cell" r:id="rId4" imgW="473" imgH="476" progId="TCLayout.ActiveDocument.1">
                  <p:embed/>
                </p:oleObj>
              </mc:Choice>
              <mc:Fallback>
                <p:oleObj name="Слайд think-cell" r:id="rId4" imgW="473" imgH="476" progId="TCLayout.ActiveDocument.1">
                  <p:embed/>
                  <p:pic>
                    <p:nvPicPr>
                      <p:cNvPr id="6" name="Объект 5" hidden="1">
                        <a:extLst>
                          <a:ext uri="{FF2B5EF4-FFF2-40B4-BE49-F238E27FC236}">
                            <a16:creationId xmlns:a16="http://schemas.microsoft.com/office/drawing/2014/main" id="{A61E0318-C093-45D0-BF9D-007BF93E29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Прямоугольник 36">
            <a:extLst>
              <a:ext uri="{FF2B5EF4-FFF2-40B4-BE49-F238E27FC236}">
                <a16:creationId xmlns:a16="http://schemas.microsoft.com/office/drawing/2014/main" id="{08A814EB-EB11-4E60-8465-0405E9A069D2}"/>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bg1"/>
                </a:solidFill>
              </a:rPr>
              <a:pPr algn="r"/>
              <a:t>‹#›</a:t>
            </a:fld>
            <a:endParaRPr lang="ru-RU" sz="1200" b="0" i="0">
              <a:solidFill>
                <a:schemeClr val="bg1"/>
              </a:solidFill>
            </a:endParaRPr>
          </a:p>
        </p:txBody>
      </p:sp>
      <p:sp>
        <p:nvSpPr>
          <p:cNvPr id="42" name="Прямоугольник 41">
            <a:extLst>
              <a:ext uri="{FF2B5EF4-FFF2-40B4-BE49-F238E27FC236}">
                <a16:creationId xmlns:a16="http://schemas.microsoft.com/office/drawing/2014/main" id="{84F150E4-F727-4D42-9464-04E6A6687101}"/>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bg1"/>
                </a:solidFill>
                <a:latin typeface="+mj-lt"/>
                <a:ea typeface="Roboto Light" panose="02000000000000000000" pitchFamily="2" charset="0"/>
              </a:rPr>
              <a:t>BITOBE</a:t>
            </a:r>
            <a:endParaRPr lang="ru-RU" sz="1200" b="0" i="0">
              <a:solidFill>
                <a:schemeClr val="bg1"/>
              </a:solidFill>
            </a:endParaRPr>
          </a:p>
        </p:txBody>
      </p:sp>
      <p:cxnSp>
        <p:nvCxnSpPr>
          <p:cNvPr id="43" name="Прямая соединительная линия 42">
            <a:extLst>
              <a:ext uri="{FF2B5EF4-FFF2-40B4-BE49-F238E27FC236}">
                <a16:creationId xmlns:a16="http://schemas.microsoft.com/office/drawing/2014/main" id="{5A7B5AB8-20E5-4355-B14F-9236D81FA98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
        <p:nvSpPr>
          <p:cNvPr id="44" name="Текст 2">
            <a:extLst>
              <a:ext uri="{FF2B5EF4-FFF2-40B4-BE49-F238E27FC236}">
                <a16:creationId xmlns:a16="http://schemas.microsoft.com/office/drawing/2014/main" id="{5C29F3BE-50B7-4448-8E43-75D9E2D1B08F}"/>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2" name="Прямоугольник 1" hidden="1">
            <a:extLst>
              <a:ext uri="{FF2B5EF4-FFF2-40B4-BE49-F238E27FC236}">
                <a16:creationId xmlns:a16="http://schemas.microsoft.com/office/drawing/2014/main" id="{4E7CD687-B2DF-480A-9054-B602D5D985F2}"/>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ru-RU" sz="2200" b="0" i="0" u="none" cap="none" baseline="0">
              <a:latin typeface="Segoe UI Semibold" panose="020B0702040204020203" pitchFamily="34" charset="0"/>
              <a:ea typeface="Roboto" panose="02000000000000000000" pitchFamily="2" charset="0"/>
              <a:cs typeface="Segoe UI" panose="020B0502040204020203" pitchFamily="34" charset="0"/>
            </a:endParaRPr>
          </a:p>
        </p:txBody>
      </p:sp>
      <p:pic>
        <p:nvPicPr>
          <p:cNvPr id="7" name="Рисунок 6" descr="Изображение выглядит как монитор, сидит, компьютер&#10;&#10;Автоматически созданное описание">
            <a:extLst>
              <a:ext uri="{FF2B5EF4-FFF2-40B4-BE49-F238E27FC236}">
                <a16:creationId xmlns:a16="http://schemas.microsoft.com/office/drawing/2014/main" id="{8E7D3534-E3C3-4A45-8111-4341545556B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91001" y="747953"/>
            <a:ext cx="8000999" cy="5919548"/>
          </a:xfrm>
          <a:prstGeom prst="rect">
            <a:avLst/>
          </a:prstGeom>
        </p:spPr>
      </p:pic>
      <p:sp>
        <p:nvSpPr>
          <p:cNvPr id="4" name="Рисунок 3">
            <a:extLst>
              <a:ext uri="{FF2B5EF4-FFF2-40B4-BE49-F238E27FC236}">
                <a16:creationId xmlns:a16="http://schemas.microsoft.com/office/drawing/2014/main" id="{5466B4D2-9F89-4C4B-9319-2C5D3C948CBA}"/>
              </a:ext>
            </a:extLst>
          </p:cNvPr>
          <p:cNvSpPr>
            <a:spLocks noGrp="1"/>
          </p:cNvSpPr>
          <p:nvPr>
            <p:ph type="pic" sz="quarter" idx="15"/>
          </p:nvPr>
        </p:nvSpPr>
        <p:spPr>
          <a:xfrm>
            <a:off x="5929314" y="1738312"/>
            <a:ext cx="5243512" cy="2947987"/>
          </a:xfrm>
          <a:prstGeom prst="rect">
            <a:avLst/>
          </a:prstGeom>
        </p:spPr>
        <p:txBody>
          <a:bodyPr/>
          <a:lstStyle/>
          <a:p>
            <a:r>
              <a:rPr lang="ru-RU"/>
              <a:t>Вставка рисунка</a:t>
            </a:r>
          </a:p>
        </p:txBody>
      </p:sp>
      <p:grpSp>
        <p:nvGrpSpPr>
          <p:cNvPr id="38" name="Группа 37">
            <a:extLst>
              <a:ext uri="{FF2B5EF4-FFF2-40B4-BE49-F238E27FC236}">
                <a16:creationId xmlns:a16="http://schemas.microsoft.com/office/drawing/2014/main" id="{B27F3E1C-CDB3-4EE1-9BB3-AD9DEC5F61B3}"/>
              </a:ext>
            </a:extLst>
          </p:cNvPr>
          <p:cNvGrpSpPr/>
          <p:nvPr/>
        </p:nvGrpSpPr>
        <p:grpSpPr>
          <a:xfrm>
            <a:off x="10598745" y="6532558"/>
            <a:ext cx="110267" cy="112358"/>
            <a:chOff x="1304925" y="4310063"/>
            <a:chExt cx="585788" cy="596901"/>
          </a:xfrm>
          <a:solidFill>
            <a:schemeClr val="accent3"/>
          </a:solidFill>
        </p:grpSpPr>
        <p:sp>
          <p:nvSpPr>
            <p:cNvPr id="39" name="Rectangle 5">
              <a:extLst>
                <a:ext uri="{FF2B5EF4-FFF2-40B4-BE49-F238E27FC236}">
                  <a16:creationId xmlns:a16="http://schemas.microsoft.com/office/drawing/2014/main" id="{B5B891D1-06F9-4E75-96E8-B346B85EF2C7}"/>
                </a:ext>
              </a:extLst>
            </p:cNvPr>
            <p:cNvSpPr>
              <a:spLocks noChangeArrowheads="1"/>
            </p:cNvSpPr>
            <p:nvPr/>
          </p:nvSpPr>
          <p:spPr bwMode="auto">
            <a:xfrm>
              <a:off x="1304925" y="4746626"/>
              <a:ext cx="163513" cy="1603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40" name="Freeform 6">
              <a:extLst>
                <a:ext uri="{FF2B5EF4-FFF2-40B4-BE49-F238E27FC236}">
                  <a16:creationId xmlns:a16="http://schemas.microsoft.com/office/drawing/2014/main" id="{DDB7B7AA-536A-4754-93CE-61C837C14998}"/>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41" name="Freeform 7">
              <a:extLst>
                <a:ext uri="{FF2B5EF4-FFF2-40B4-BE49-F238E27FC236}">
                  <a16:creationId xmlns:a16="http://schemas.microsoft.com/office/drawing/2014/main" id="{031ECDC6-F994-4598-A86B-B6DA110AF1E8}"/>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22" name="Заголовок 1">
            <a:extLst>
              <a:ext uri="{FF2B5EF4-FFF2-40B4-BE49-F238E27FC236}">
                <a16:creationId xmlns:a16="http://schemas.microsoft.com/office/drawing/2014/main" id="{88F2F109-7DA9-4645-AD93-1C37568DBF67}"/>
              </a:ext>
            </a:extLst>
          </p:cNvPr>
          <p:cNvSpPr>
            <a:spLocks noGrp="1"/>
          </p:cNvSpPr>
          <p:nvPr>
            <p:ph type="title" hasCustomPrompt="1"/>
          </p:nvPr>
        </p:nvSpPr>
        <p:spPr>
          <a:xfrm>
            <a:off x="511847" y="341593"/>
            <a:ext cx="6424211" cy="869690"/>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a:t>
            </a:r>
            <a:br>
              <a:rPr lang="en-US"/>
            </a:br>
            <a:r>
              <a:rPr lang="ru-RU"/>
              <a:t>в </a:t>
            </a:r>
            <a:r>
              <a:rPr lang="en-US"/>
              <a:t>2</a:t>
            </a:r>
            <a:r>
              <a:rPr lang="ru-RU"/>
              <a:t> строку</a:t>
            </a:r>
          </a:p>
        </p:txBody>
      </p:sp>
    </p:spTree>
    <p:extLst>
      <p:ext uri="{BB962C8B-B14F-4D97-AF65-F5344CB8AC3E}">
        <p14:creationId xmlns:p14="http://schemas.microsoft.com/office/powerpoint/2010/main" val="37592282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Мокап со смартфоном">
    <p:spTree>
      <p:nvGrpSpPr>
        <p:cNvPr id="1" name=""/>
        <p:cNvGrpSpPr/>
        <p:nvPr/>
      </p:nvGrpSpPr>
      <p:grpSpPr>
        <a:xfrm>
          <a:off x="0" y="0"/>
          <a:ext cx="0" cy="0"/>
          <a:chOff x="0" y="0"/>
          <a:chExt cx="0" cy="0"/>
        </a:xfrm>
      </p:grpSpPr>
      <p:grpSp>
        <p:nvGrpSpPr>
          <p:cNvPr id="17" name="Группа 16">
            <a:extLst>
              <a:ext uri="{FF2B5EF4-FFF2-40B4-BE49-F238E27FC236}">
                <a16:creationId xmlns:a16="http://schemas.microsoft.com/office/drawing/2014/main" id="{CB9C5152-2B62-4C4F-A8E1-CFD5590DA89B}"/>
              </a:ext>
            </a:extLst>
          </p:cNvPr>
          <p:cNvGrpSpPr/>
          <p:nvPr/>
        </p:nvGrpSpPr>
        <p:grpSpPr>
          <a:xfrm flipH="1">
            <a:off x="7342285" y="-7389"/>
            <a:ext cx="4870944" cy="6883861"/>
            <a:chOff x="6245452" y="-25861"/>
            <a:chExt cx="4870944" cy="6883861"/>
          </a:xfrm>
        </p:grpSpPr>
        <p:sp>
          <p:nvSpPr>
            <p:cNvPr id="27" name="Прямоугольник 26">
              <a:extLst>
                <a:ext uri="{FF2B5EF4-FFF2-40B4-BE49-F238E27FC236}">
                  <a16:creationId xmlns:a16="http://schemas.microsoft.com/office/drawing/2014/main" id="{73684219-E7C0-4F09-9768-195F81E9125D}"/>
                </a:ext>
              </a:extLst>
            </p:cNvPr>
            <p:cNvSpPr/>
            <p:nvPr/>
          </p:nvSpPr>
          <p:spPr>
            <a:xfrm rot="10800000" flipH="1">
              <a:off x="6245452"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8" name="Прямоугольник 27">
              <a:extLst>
                <a:ext uri="{FF2B5EF4-FFF2-40B4-BE49-F238E27FC236}">
                  <a16:creationId xmlns:a16="http://schemas.microsoft.com/office/drawing/2014/main" id="{9053342F-6262-4FC0-83AA-C6195A057B79}"/>
                </a:ext>
              </a:extLst>
            </p:cNvPr>
            <p:cNvSpPr/>
            <p:nvPr/>
          </p:nvSpPr>
          <p:spPr>
            <a:xfrm>
              <a:off x="107242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cxnSp>
        <p:nvCxnSpPr>
          <p:cNvPr id="26" name="Прямая соединительная линия 25">
            <a:extLst>
              <a:ext uri="{FF2B5EF4-FFF2-40B4-BE49-F238E27FC236}">
                <a16:creationId xmlns:a16="http://schemas.microsoft.com/office/drawing/2014/main" id="{F748A1FD-CEDF-499D-9637-9FD787AA90B9}"/>
              </a:ext>
            </a:extLst>
          </p:cNvPr>
          <p:cNvCxnSpPr>
            <a:cxnSpLocks/>
          </p:cNvCxnSpPr>
          <p:nvPr/>
        </p:nvCxnSpPr>
        <p:spPr>
          <a:xfrm>
            <a:off x="8010134" y="0"/>
            <a:ext cx="0" cy="6858000"/>
          </a:xfrm>
          <a:prstGeom prst="line">
            <a:avLst/>
          </a:prstGeom>
          <a:ln w="9525">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5" name="Объект 4" hidden="1">
            <a:extLst>
              <a:ext uri="{FF2B5EF4-FFF2-40B4-BE49-F238E27FC236}">
                <a16:creationId xmlns:a16="http://schemas.microsoft.com/office/drawing/2014/main" id="{11A93979-4355-46BE-A695-CA21D6EAFFF7}"/>
              </a:ext>
            </a:extLst>
          </p:cNvPr>
          <p:cNvGraphicFramePr>
            <a:graphicFrameLocks noChangeAspect="1"/>
          </p:cNvGraphicFramePr>
          <p:nvPr>
            <p:custDataLst>
              <p:tags r:id="rId2"/>
            </p:custDataLst>
            <p:extLst>
              <p:ext uri="{D42A27DB-BD31-4B8C-83A1-F6EECF244321}">
                <p14:modId xmlns:p14="http://schemas.microsoft.com/office/powerpoint/2010/main" val="121148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Слайд think-cell" r:id="rId4" imgW="473" imgH="476" progId="TCLayout.ActiveDocument.1">
                  <p:embed/>
                </p:oleObj>
              </mc:Choice>
              <mc:Fallback>
                <p:oleObj name="Слайд think-cell" r:id="rId4" imgW="473" imgH="476" progId="TCLayout.ActiveDocument.1">
                  <p:embed/>
                  <p:pic>
                    <p:nvPicPr>
                      <p:cNvPr id="5" name="Объект 4" hidden="1">
                        <a:extLst>
                          <a:ext uri="{FF2B5EF4-FFF2-40B4-BE49-F238E27FC236}">
                            <a16:creationId xmlns:a16="http://schemas.microsoft.com/office/drawing/2014/main" id="{11A93979-4355-46BE-A695-CA21D6EAFF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Рисунок 6" descr="Изображение выглядит как монитор, сидит, мобильный телефон, телефон&#10;&#10;Автоматически созданное описание">
            <a:extLst>
              <a:ext uri="{FF2B5EF4-FFF2-40B4-BE49-F238E27FC236}">
                <a16:creationId xmlns:a16="http://schemas.microsoft.com/office/drawing/2014/main" id="{FCFBF544-ECE8-433C-A7FD-80BDF533FD7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76363" y="791433"/>
            <a:ext cx="8205021" cy="6153766"/>
          </a:xfrm>
          <a:prstGeom prst="rect">
            <a:avLst/>
          </a:prstGeom>
        </p:spPr>
      </p:pic>
      <p:sp>
        <p:nvSpPr>
          <p:cNvPr id="4" name="Рисунок 3">
            <a:extLst>
              <a:ext uri="{FF2B5EF4-FFF2-40B4-BE49-F238E27FC236}">
                <a16:creationId xmlns:a16="http://schemas.microsoft.com/office/drawing/2014/main" id="{98938B2D-CA51-42B2-AD66-42C9289B2849}"/>
              </a:ext>
            </a:extLst>
          </p:cNvPr>
          <p:cNvSpPr>
            <a:spLocks noGrp="1"/>
          </p:cNvSpPr>
          <p:nvPr>
            <p:ph type="pic" sz="quarter" idx="15"/>
          </p:nvPr>
        </p:nvSpPr>
        <p:spPr>
          <a:xfrm>
            <a:off x="6126715" y="2043113"/>
            <a:ext cx="2065338" cy="3676650"/>
          </a:xfrm>
          <a:prstGeom prst="rect">
            <a:avLst/>
          </a:prstGeom>
        </p:spPr>
        <p:txBody>
          <a:bodyPr/>
          <a:lstStyle/>
          <a:p>
            <a:r>
              <a:rPr lang="ru-RU"/>
              <a:t>Вставка рисунка</a:t>
            </a:r>
          </a:p>
        </p:txBody>
      </p:sp>
      <p:sp>
        <p:nvSpPr>
          <p:cNvPr id="30" name="Текст 2">
            <a:extLst>
              <a:ext uri="{FF2B5EF4-FFF2-40B4-BE49-F238E27FC236}">
                <a16:creationId xmlns:a16="http://schemas.microsoft.com/office/drawing/2014/main" id="{D10EB90E-BEB3-4D67-9A75-41DA8E620A66}"/>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8" name="Прямоугольник 17">
            <a:extLst>
              <a:ext uri="{FF2B5EF4-FFF2-40B4-BE49-F238E27FC236}">
                <a16:creationId xmlns:a16="http://schemas.microsoft.com/office/drawing/2014/main" id="{7303267A-7EF9-4BFE-8D8D-CF2551851FD6}"/>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bg1"/>
                </a:solidFill>
              </a:rPr>
              <a:pPr algn="r"/>
              <a:t>‹#›</a:t>
            </a:fld>
            <a:endParaRPr lang="ru-RU" sz="1200" b="0" i="0">
              <a:solidFill>
                <a:schemeClr val="bg1"/>
              </a:solidFill>
            </a:endParaRPr>
          </a:p>
        </p:txBody>
      </p:sp>
      <p:sp>
        <p:nvSpPr>
          <p:cNvPr id="19" name="Прямоугольник 18">
            <a:extLst>
              <a:ext uri="{FF2B5EF4-FFF2-40B4-BE49-F238E27FC236}">
                <a16:creationId xmlns:a16="http://schemas.microsoft.com/office/drawing/2014/main" id="{6C0CC0DE-4E29-45F9-BFDC-7C313BC29331}"/>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bg1"/>
                </a:solidFill>
                <a:latin typeface="+mj-lt"/>
                <a:ea typeface="Roboto Light" panose="02000000000000000000" pitchFamily="2" charset="0"/>
              </a:rPr>
              <a:t>BITOBE</a:t>
            </a:r>
            <a:endParaRPr lang="ru-RU" sz="1200" b="0" i="0">
              <a:solidFill>
                <a:schemeClr val="bg1"/>
              </a:solidFill>
            </a:endParaRPr>
          </a:p>
        </p:txBody>
      </p:sp>
      <p:cxnSp>
        <p:nvCxnSpPr>
          <p:cNvPr id="20" name="Прямая соединительная линия 19">
            <a:extLst>
              <a:ext uri="{FF2B5EF4-FFF2-40B4-BE49-F238E27FC236}">
                <a16:creationId xmlns:a16="http://schemas.microsoft.com/office/drawing/2014/main" id="{8DD1F855-B980-41BA-87C7-B072C80C9E2D}"/>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grpSp>
        <p:nvGrpSpPr>
          <p:cNvPr id="21" name="Группа 20">
            <a:extLst>
              <a:ext uri="{FF2B5EF4-FFF2-40B4-BE49-F238E27FC236}">
                <a16:creationId xmlns:a16="http://schemas.microsoft.com/office/drawing/2014/main" id="{6184F73C-7478-4F48-A3F9-8C0315272694}"/>
              </a:ext>
            </a:extLst>
          </p:cNvPr>
          <p:cNvGrpSpPr/>
          <p:nvPr/>
        </p:nvGrpSpPr>
        <p:grpSpPr>
          <a:xfrm>
            <a:off x="10598745" y="6532558"/>
            <a:ext cx="110267" cy="112358"/>
            <a:chOff x="1304925" y="4310063"/>
            <a:chExt cx="585788" cy="596901"/>
          </a:xfrm>
          <a:solidFill>
            <a:schemeClr val="accent3"/>
          </a:solidFill>
        </p:grpSpPr>
        <p:sp>
          <p:nvSpPr>
            <p:cNvPr id="22" name="Rectangle 5">
              <a:extLst>
                <a:ext uri="{FF2B5EF4-FFF2-40B4-BE49-F238E27FC236}">
                  <a16:creationId xmlns:a16="http://schemas.microsoft.com/office/drawing/2014/main" id="{9993791E-2FEB-4622-994E-B492247E5C95}"/>
                </a:ext>
              </a:extLst>
            </p:cNvPr>
            <p:cNvSpPr>
              <a:spLocks noChangeArrowheads="1"/>
            </p:cNvSpPr>
            <p:nvPr/>
          </p:nvSpPr>
          <p:spPr bwMode="auto">
            <a:xfrm>
              <a:off x="1304925" y="4746626"/>
              <a:ext cx="163513" cy="1603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31" name="Freeform 6">
              <a:extLst>
                <a:ext uri="{FF2B5EF4-FFF2-40B4-BE49-F238E27FC236}">
                  <a16:creationId xmlns:a16="http://schemas.microsoft.com/office/drawing/2014/main" id="{A02C9956-1D61-436D-873C-F3A2BBE0D9EC}"/>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32" name="Freeform 7">
              <a:extLst>
                <a:ext uri="{FF2B5EF4-FFF2-40B4-BE49-F238E27FC236}">
                  <a16:creationId xmlns:a16="http://schemas.microsoft.com/office/drawing/2014/main" id="{F158D7CA-730D-4579-9EA2-E8B2416BA928}"/>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24" name="Заголовок 1">
            <a:extLst>
              <a:ext uri="{FF2B5EF4-FFF2-40B4-BE49-F238E27FC236}">
                <a16:creationId xmlns:a16="http://schemas.microsoft.com/office/drawing/2014/main" id="{9B4D3CFE-CBCC-46B4-A735-3B1E0DF7407D}"/>
              </a:ext>
            </a:extLst>
          </p:cNvPr>
          <p:cNvSpPr>
            <a:spLocks noGrp="1"/>
          </p:cNvSpPr>
          <p:nvPr>
            <p:ph type="title" hasCustomPrompt="1"/>
          </p:nvPr>
        </p:nvSpPr>
        <p:spPr>
          <a:xfrm>
            <a:off x="511847" y="341593"/>
            <a:ext cx="6457665" cy="869690"/>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a:t>
            </a:r>
            <a:br>
              <a:rPr lang="en-US"/>
            </a:br>
            <a:r>
              <a:rPr lang="ru-RU"/>
              <a:t>в </a:t>
            </a:r>
            <a:r>
              <a:rPr lang="en-US"/>
              <a:t>2</a:t>
            </a:r>
            <a:r>
              <a:rPr lang="ru-RU"/>
              <a:t> строку</a:t>
            </a:r>
          </a:p>
        </p:txBody>
      </p:sp>
    </p:spTree>
    <p:extLst>
      <p:ext uri="{BB962C8B-B14F-4D97-AF65-F5344CB8AC3E}">
        <p14:creationId xmlns:p14="http://schemas.microsoft.com/office/powerpoint/2010/main" val="7783343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Мокап с ноутбуком">
    <p:spTree>
      <p:nvGrpSpPr>
        <p:cNvPr id="1" name=""/>
        <p:cNvGrpSpPr/>
        <p:nvPr/>
      </p:nvGrpSpPr>
      <p:grpSpPr>
        <a:xfrm>
          <a:off x="0" y="0"/>
          <a:ext cx="0" cy="0"/>
          <a:chOff x="0" y="0"/>
          <a:chExt cx="0" cy="0"/>
        </a:xfrm>
      </p:grpSpPr>
      <p:grpSp>
        <p:nvGrpSpPr>
          <p:cNvPr id="19" name="Группа 18">
            <a:extLst>
              <a:ext uri="{FF2B5EF4-FFF2-40B4-BE49-F238E27FC236}">
                <a16:creationId xmlns:a16="http://schemas.microsoft.com/office/drawing/2014/main" id="{3192187D-BFED-4A70-94B0-62706439569E}"/>
              </a:ext>
            </a:extLst>
          </p:cNvPr>
          <p:cNvGrpSpPr/>
          <p:nvPr/>
        </p:nvGrpSpPr>
        <p:grpSpPr>
          <a:xfrm flipH="1">
            <a:off x="7342285" y="-7389"/>
            <a:ext cx="4870944" cy="6883861"/>
            <a:chOff x="6245452" y="-25861"/>
            <a:chExt cx="4870944" cy="6883861"/>
          </a:xfrm>
        </p:grpSpPr>
        <p:sp>
          <p:nvSpPr>
            <p:cNvPr id="26" name="Прямоугольник 25">
              <a:extLst>
                <a:ext uri="{FF2B5EF4-FFF2-40B4-BE49-F238E27FC236}">
                  <a16:creationId xmlns:a16="http://schemas.microsoft.com/office/drawing/2014/main" id="{2F8B1034-B71E-4D37-A64D-6AD2DB2412E9}"/>
                </a:ext>
              </a:extLst>
            </p:cNvPr>
            <p:cNvSpPr/>
            <p:nvPr/>
          </p:nvSpPr>
          <p:spPr>
            <a:xfrm rot="10800000" flipH="1">
              <a:off x="6245452"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7" name="Прямоугольник 26">
              <a:extLst>
                <a:ext uri="{FF2B5EF4-FFF2-40B4-BE49-F238E27FC236}">
                  <a16:creationId xmlns:a16="http://schemas.microsoft.com/office/drawing/2014/main" id="{2D25FC6B-1FEF-4A71-BE94-91F1B6EEDD16}"/>
                </a:ext>
              </a:extLst>
            </p:cNvPr>
            <p:cNvSpPr/>
            <p:nvPr/>
          </p:nvSpPr>
          <p:spPr>
            <a:xfrm>
              <a:off x="107242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aphicFrame>
        <p:nvGraphicFramePr>
          <p:cNvPr id="3" name="Объект 2" hidden="1">
            <a:extLst>
              <a:ext uri="{FF2B5EF4-FFF2-40B4-BE49-F238E27FC236}">
                <a16:creationId xmlns:a16="http://schemas.microsoft.com/office/drawing/2014/main" id="{3A85BFDB-E5E1-43D6-A1BA-8E41A44C5A35}"/>
              </a:ext>
            </a:extLst>
          </p:cNvPr>
          <p:cNvGraphicFramePr>
            <a:graphicFrameLocks noChangeAspect="1"/>
          </p:cNvGraphicFramePr>
          <p:nvPr>
            <p:custDataLst>
              <p:tags r:id="rId2"/>
            </p:custDataLst>
            <p:extLst>
              <p:ext uri="{D42A27DB-BD31-4B8C-83A1-F6EECF244321}">
                <p14:modId xmlns:p14="http://schemas.microsoft.com/office/powerpoint/2010/main" val="3117115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Слайд think-cell" r:id="rId4" imgW="473" imgH="476" progId="TCLayout.ActiveDocument.1">
                  <p:embed/>
                </p:oleObj>
              </mc:Choice>
              <mc:Fallback>
                <p:oleObj name="Слайд think-cell" r:id="rId4" imgW="473" imgH="476" progId="TCLayout.ActiveDocument.1">
                  <p:embed/>
                  <p:pic>
                    <p:nvPicPr>
                      <p:cNvPr id="3" name="Объект 2" hidden="1">
                        <a:extLst>
                          <a:ext uri="{FF2B5EF4-FFF2-40B4-BE49-F238E27FC236}">
                            <a16:creationId xmlns:a16="http://schemas.microsoft.com/office/drawing/2014/main" id="{3A85BFDB-E5E1-43D6-A1BA-8E41A44C5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3" name="Прямая соединительная линия 22">
            <a:extLst>
              <a:ext uri="{FF2B5EF4-FFF2-40B4-BE49-F238E27FC236}">
                <a16:creationId xmlns:a16="http://schemas.microsoft.com/office/drawing/2014/main" id="{CA573B00-0E92-47FF-BD8C-353D93C3F2FE}"/>
              </a:ext>
            </a:extLst>
          </p:cNvPr>
          <p:cNvCxnSpPr>
            <a:cxnSpLocks/>
          </p:cNvCxnSpPr>
          <p:nvPr/>
        </p:nvCxnSpPr>
        <p:spPr>
          <a:xfrm>
            <a:off x="8004028" y="0"/>
            <a:ext cx="0" cy="6858000"/>
          </a:xfrm>
          <a:prstGeom prst="line">
            <a:avLst/>
          </a:prstGeom>
          <a:ln w="9525">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7" name="Picture 16" descr="A screenshot of a flat screen television&#10;&#10;Description automatically generated">
            <a:extLst>
              <a:ext uri="{FF2B5EF4-FFF2-40B4-BE49-F238E27FC236}">
                <a16:creationId xmlns:a16="http://schemas.microsoft.com/office/drawing/2014/main" id="{C157FCA2-2703-40A5-8239-6516CD5E8F6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16015" y="1294946"/>
            <a:ext cx="9696188" cy="5855548"/>
          </a:xfrm>
          <a:prstGeom prst="rect">
            <a:avLst/>
          </a:prstGeom>
        </p:spPr>
      </p:pic>
      <p:sp>
        <p:nvSpPr>
          <p:cNvPr id="18" name="Рисунок 3">
            <a:extLst>
              <a:ext uri="{FF2B5EF4-FFF2-40B4-BE49-F238E27FC236}">
                <a16:creationId xmlns:a16="http://schemas.microsoft.com/office/drawing/2014/main" id="{BE4A7A07-9BEA-4BC8-AB77-A01CFAAB552F}"/>
              </a:ext>
            </a:extLst>
          </p:cNvPr>
          <p:cNvSpPr>
            <a:spLocks noGrp="1"/>
          </p:cNvSpPr>
          <p:nvPr>
            <p:ph type="pic" sz="quarter" idx="15" hasCustomPrompt="1"/>
          </p:nvPr>
        </p:nvSpPr>
        <p:spPr>
          <a:xfrm>
            <a:off x="4455420" y="1657032"/>
            <a:ext cx="6341110" cy="3956367"/>
          </a:xfrm>
          <a:prstGeom prst="rect">
            <a:avLst/>
          </a:prstGeom>
        </p:spPr>
        <p:txBody>
          <a:bodyPr anchor="ctr"/>
          <a:lstStyle>
            <a:lvl1pPr marL="0" indent="0" algn="ctr">
              <a:buNone/>
              <a:defRPr sz="2000"/>
            </a:lvl1pPr>
          </a:lstStyle>
          <a:p>
            <a:r>
              <a:rPr lang="ru-RU"/>
              <a:t>Скриншот / изображение</a:t>
            </a:r>
          </a:p>
        </p:txBody>
      </p:sp>
      <p:sp>
        <p:nvSpPr>
          <p:cNvPr id="30" name="Текст 2">
            <a:extLst>
              <a:ext uri="{FF2B5EF4-FFF2-40B4-BE49-F238E27FC236}">
                <a16:creationId xmlns:a16="http://schemas.microsoft.com/office/drawing/2014/main" id="{606974F9-20D6-41E5-AD3A-D7A5F6D93499}"/>
              </a:ext>
            </a:extLst>
          </p:cNvPr>
          <p:cNvSpPr>
            <a:spLocks noGrp="1"/>
          </p:cNvSpPr>
          <p:nvPr>
            <p:ph type="body" sz="quarter" idx="17"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20" name="Прямоугольник 19">
            <a:extLst>
              <a:ext uri="{FF2B5EF4-FFF2-40B4-BE49-F238E27FC236}">
                <a16:creationId xmlns:a16="http://schemas.microsoft.com/office/drawing/2014/main" id="{C06BF2D9-47AE-4B4D-91D9-F37598E7120C}"/>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bg1"/>
                </a:solidFill>
              </a:rPr>
              <a:pPr algn="r"/>
              <a:t>‹#›</a:t>
            </a:fld>
            <a:endParaRPr lang="ru-RU" sz="1200" b="0" i="0">
              <a:solidFill>
                <a:schemeClr val="bg1"/>
              </a:solidFill>
            </a:endParaRPr>
          </a:p>
        </p:txBody>
      </p:sp>
      <p:sp>
        <p:nvSpPr>
          <p:cNvPr id="21" name="Прямоугольник 20">
            <a:extLst>
              <a:ext uri="{FF2B5EF4-FFF2-40B4-BE49-F238E27FC236}">
                <a16:creationId xmlns:a16="http://schemas.microsoft.com/office/drawing/2014/main" id="{DA47A111-9812-42A7-9D61-353A8B404D81}"/>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bg1"/>
                </a:solidFill>
                <a:latin typeface="+mj-lt"/>
                <a:ea typeface="Roboto Light" panose="02000000000000000000" pitchFamily="2" charset="0"/>
              </a:rPr>
              <a:t>BITOBE</a:t>
            </a:r>
            <a:endParaRPr lang="ru-RU" sz="1200" b="0" i="0">
              <a:solidFill>
                <a:schemeClr val="bg1"/>
              </a:solidFill>
            </a:endParaRPr>
          </a:p>
        </p:txBody>
      </p:sp>
      <p:cxnSp>
        <p:nvCxnSpPr>
          <p:cNvPr id="25" name="Прямая соединительная линия 24">
            <a:extLst>
              <a:ext uri="{FF2B5EF4-FFF2-40B4-BE49-F238E27FC236}">
                <a16:creationId xmlns:a16="http://schemas.microsoft.com/office/drawing/2014/main" id="{A077A222-C8CE-4B77-81F1-10091F2AB7A7}"/>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grpSp>
        <p:nvGrpSpPr>
          <p:cNvPr id="31" name="Группа 30">
            <a:extLst>
              <a:ext uri="{FF2B5EF4-FFF2-40B4-BE49-F238E27FC236}">
                <a16:creationId xmlns:a16="http://schemas.microsoft.com/office/drawing/2014/main" id="{B82DDB89-441D-4BDC-B1CB-A82AA02DACA3}"/>
              </a:ext>
            </a:extLst>
          </p:cNvPr>
          <p:cNvGrpSpPr/>
          <p:nvPr/>
        </p:nvGrpSpPr>
        <p:grpSpPr>
          <a:xfrm>
            <a:off x="10598745" y="6532558"/>
            <a:ext cx="110267" cy="112358"/>
            <a:chOff x="1304925" y="4310063"/>
            <a:chExt cx="585788" cy="596901"/>
          </a:xfrm>
          <a:solidFill>
            <a:schemeClr val="accent3"/>
          </a:solidFill>
        </p:grpSpPr>
        <p:sp>
          <p:nvSpPr>
            <p:cNvPr id="32" name="Rectangle 5">
              <a:extLst>
                <a:ext uri="{FF2B5EF4-FFF2-40B4-BE49-F238E27FC236}">
                  <a16:creationId xmlns:a16="http://schemas.microsoft.com/office/drawing/2014/main" id="{E3F8B667-6C33-43F4-8D05-AF1A9C6D3A80}"/>
                </a:ext>
              </a:extLst>
            </p:cNvPr>
            <p:cNvSpPr>
              <a:spLocks noChangeArrowheads="1"/>
            </p:cNvSpPr>
            <p:nvPr/>
          </p:nvSpPr>
          <p:spPr bwMode="auto">
            <a:xfrm>
              <a:off x="1304925" y="4746626"/>
              <a:ext cx="163513" cy="1603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33" name="Freeform 6">
              <a:extLst>
                <a:ext uri="{FF2B5EF4-FFF2-40B4-BE49-F238E27FC236}">
                  <a16:creationId xmlns:a16="http://schemas.microsoft.com/office/drawing/2014/main" id="{DBFDB29D-29F1-43BD-8370-B2B917688C28}"/>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34" name="Freeform 7">
              <a:extLst>
                <a:ext uri="{FF2B5EF4-FFF2-40B4-BE49-F238E27FC236}">
                  <a16:creationId xmlns:a16="http://schemas.microsoft.com/office/drawing/2014/main" id="{959E9E5D-5AC2-4112-BFBA-8549804A9FBF}"/>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24" name="Заголовок 1">
            <a:extLst>
              <a:ext uri="{FF2B5EF4-FFF2-40B4-BE49-F238E27FC236}">
                <a16:creationId xmlns:a16="http://schemas.microsoft.com/office/drawing/2014/main" id="{FED20A98-4B59-41B1-882B-9F33D9352EF6}"/>
              </a:ext>
            </a:extLst>
          </p:cNvPr>
          <p:cNvSpPr>
            <a:spLocks noGrp="1"/>
          </p:cNvSpPr>
          <p:nvPr>
            <p:ph type="title" hasCustomPrompt="1"/>
          </p:nvPr>
        </p:nvSpPr>
        <p:spPr>
          <a:xfrm>
            <a:off x="511847" y="341593"/>
            <a:ext cx="4260875" cy="869690"/>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a:t>
            </a:r>
            <a:br>
              <a:rPr lang="en-US"/>
            </a:br>
            <a:r>
              <a:rPr lang="ru-RU"/>
              <a:t>в </a:t>
            </a:r>
            <a:r>
              <a:rPr lang="en-US"/>
              <a:t>2</a:t>
            </a:r>
            <a:r>
              <a:rPr lang="ru-RU"/>
              <a:t> строку</a:t>
            </a:r>
          </a:p>
        </p:txBody>
      </p:sp>
    </p:spTree>
    <p:extLst>
      <p:ext uri="{BB962C8B-B14F-4D97-AF65-F5344CB8AC3E}">
        <p14:creationId xmlns:p14="http://schemas.microsoft.com/office/powerpoint/2010/main" val="37311098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3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379706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Рисунок 6" descr="Изображение выглядит как внутренний&#10;&#10;Автоматически созданное описание">
            <a:extLst>
              <a:ext uri="{FF2B5EF4-FFF2-40B4-BE49-F238E27FC236}">
                <a16:creationId xmlns:a16="http://schemas.microsoft.com/office/drawing/2014/main" id="{851ED289-FD84-4F2D-86F6-32ACD725F6E7}"/>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9" name="Рисунок 47">
            <a:extLst>
              <a:ext uri="{FF2B5EF4-FFF2-40B4-BE49-F238E27FC236}">
                <a16:creationId xmlns:a16="http://schemas.microsoft.com/office/drawing/2014/main" id="{95C054F8-339E-4867-9CD4-B611F0DBFD67}"/>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8" name="Прямоугольник 27">
            <a:extLst>
              <a:ext uri="{FF2B5EF4-FFF2-40B4-BE49-F238E27FC236}">
                <a16:creationId xmlns:a16="http://schemas.microsoft.com/office/drawing/2014/main" id="{9F1C540E-1D83-4FF3-87F2-E02AF4B38DB6}"/>
              </a:ext>
            </a:extLst>
          </p:cNvPr>
          <p:cNvSpPr/>
          <p:nvPr/>
        </p:nvSpPr>
        <p:spPr>
          <a:xfrm flipV="1">
            <a:off x="681037" y="-25861"/>
            <a:ext cx="4564079" cy="6883861"/>
          </a:xfrm>
          <a:prstGeom prst="rect">
            <a:avLst/>
          </a:prstGeom>
          <a:gradFill>
            <a:gsLst>
              <a:gs pos="22000">
                <a:schemeClr val="bg1"/>
              </a:gs>
              <a:gs pos="100000">
                <a:schemeClr val="bg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latin typeface="Segoe UI Light"/>
            </a:endParaRPr>
          </a:p>
        </p:txBody>
      </p:sp>
      <p:cxnSp>
        <p:nvCxnSpPr>
          <p:cNvPr id="20" name="Прямая соединительная линия 19">
            <a:extLst>
              <a:ext uri="{FF2B5EF4-FFF2-40B4-BE49-F238E27FC236}">
                <a16:creationId xmlns:a16="http://schemas.microsoft.com/office/drawing/2014/main" id="{72B230D6-F02D-441F-85D2-90332F4A77C8}"/>
              </a:ext>
            </a:extLst>
          </p:cNvPr>
          <p:cNvCxnSpPr>
            <a:cxnSpLocks/>
          </p:cNvCxnSpPr>
          <p:nvPr/>
        </p:nvCxnSpPr>
        <p:spPr>
          <a:xfrm flipV="1">
            <a:off x="1040053" y="-25859"/>
            <a:ext cx="0" cy="3825662"/>
          </a:xfrm>
          <a:prstGeom prst="line">
            <a:avLst/>
          </a:prstGeom>
          <a:gradFill>
            <a:gsLst>
              <a:gs pos="41000">
                <a:schemeClr val="tx2"/>
              </a:gs>
              <a:gs pos="100000">
                <a:schemeClr val="accent1"/>
              </a:gs>
            </a:gsLst>
            <a:lin ang="4800000" scaled="0"/>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2" name="Текст 25">
            <a:extLst>
              <a:ext uri="{FF2B5EF4-FFF2-40B4-BE49-F238E27FC236}">
                <a16:creationId xmlns:a16="http://schemas.microsoft.com/office/drawing/2014/main" id="{B95318F8-EC3D-4FE8-980D-4C08C5A1B9CF}"/>
              </a:ext>
            </a:extLst>
          </p:cNvPr>
          <p:cNvSpPr>
            <a:spLocks noGrp="1"/>
          </p:cNvSpPr>
          <p:nvPr>
            <p:ph type="body" sz="quarter" idx="12" hasCustomPrompt="1"/>
          </p:nvPr>
        </p:nvSpPr>
        <p:spPr>
          <a:xfrm>
            <a:off x="1259810" y="3074185"/>
            <a:ext cx="3600450" cy="794675"/>
          </a:xfrm>
          <a:prstGeom prst="rect">
            <a:avLst/>
          </a:prstGeom>
        </p:spPr>
        <p:txBody>
          <a:bodyPr/>
          <a:lstStyle>
            <a:lvl1pPr>
              <a:lnSpc>
                <a:spcPct val="100000"/>
              </a:lnSpc>
              <a:defRPr sz="2400">
                <a:solidFill>
                  <a:schemeClr val="tx2"/>
                </a:solidFill>
              </a:defRPr>
            </a:lvl1pPr>
          </a:lstStyle>
          <a:p>
            <a:pPr lvl="0"/>
            <a:r>
              <a:rPr lang="ru-RU"/>
              <a:t>Образец заголовка </a:t>
            </a:r>
            <a:br>
              <a:rPr lang="ru-RU"/>
            </a:br>
            <a:r>
              <a:rPr lang="ru-RU"/>
              <a:t>в две строки</a:t>
            </a:r>
          </a:p>
        </p:txBody>
      </p:sp>
      <p:sp>
        <p:nvSpPr>
          <p:cNvPr id="21" name="Прямоугольник 20">
            <a:extLst>
              <a:ext uri="{FF2B5EF4-FFF2-40B4-BE49-F238E27FC236}">
                <a16:creationId xmlns:a16="http://schemas.microsoft.com/office/drawing/2014/main" id="{0296573A-DB52-4EDF-A8BF-A23BF75CD2DB}"/>
              </a:ext>
            </a:extLst>
          </p:cNvPr>
          <p:cNvSpPr/>
          <p:nvPr/>
        </p:nvSpPr>
        <p:spPr>
          <a:xfrm>
            <a:off x="983776" y="3116054"/>
            <a:ext cx="112554" cy="740916"/>
          </a:xfrm>
          <a:prstGeom prst="rect">
            <a:avLst/>
          </a:prstGeom>
          <a:gradFill>
            <a:gsLst>
              <a:gs pos="41000">
                <a:schemeClr val="tx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latin typeface="Segoe UI Light"/>
            </a:endParaRPr>
          </a:p>
        </p:txBody>
      </p:sp>
      <p:sp>
        <p:nvSpPr>
          <p:cNvPr id="11" name="Прямоугольник 10">
            <a:extLst>
              <a:ext uri="{FF2B5EF4-FFF2-40B4-BE49-F238E27FC236}">
                <a16:creationId xmlns:a16="http://schemas.microsoft.com/office/drawing/2014/main" id="{BE15B235-9E96-4BB7-8290-0E0BB4B22A78}"/>
              </a:ext>
            </a:extLst>
          </p:cNvPr>
          <p:cNvSpPr/>
          <p:nvPr/>
        </p:nvSpPr>
        <p:spPr>
          <a:xfrm>
            <a:off x="4946680" y="-29560"/>
            <a:ext cx="588475"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173549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4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639798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Рисунок 6" descr="Изображение выглядит как внутренний&#10;&#10;Автоматически созданное описание">
            <a:extLst>
              <a:ext uri="{FF2B5EF4-FFF2-40B4-BE49-F238E27FC236}">
                <a16:creationId xmlns:a16="http://schemas.microsoft.com/office/drawing/2014/main" id="{851ED289-FD84-4F2D-86F6-32ACD725F6E7}"/>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9" name="Рисунок 47">
            <a:extLst>
              <a:ext uri="{FF2B5EF4-FFF2-40B4-BE49-F238E27FC236}">
                <a16:creationId xmlns:a16="http://schemas.microsoft.com/office/drawing/2014/main" id="{95C054F8-339E-4867-9CD4-B611F0DBFD67}"/>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8" name="Прямоугольник 27">
            <a:extLst>
              <a:ext uri="{FF2B5EF4-FFF2-40B4-BE49-F238E27FC236}">
                <a16:creationId xmlns:a16="http://schemas.microsoft.com/office/drawing/2014/main" id="{9F1C540E-1D83-4FF3-87F2-E02AF4B38DB6}"/>
              </a:ext>
            </a:extLst>
          </p:cNvPr>
          <p:cNvSpPr/>
          <p:nvPr/>
        </p:nvSpPr>
        <p:spPr>
          <a:xfrm flipV="1">
            <a:off x="0" y="-25863"/>
            <a:ext cx="5245116" cy="6883861"/>
          </a:xfrm>
          <a:prstGeom prst="rect">
            <a:avLst/>
          </a:prstGeom>
          <a:gradFill>
            <a:gsLst>
              <a:gs pos="22000">
                <a:schemeClr val="bg1"/>
              </a:gs>
              <a:gs pos="100000">
                <a:schemeClr val="bg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latin typeface="Segoe UI Light"/>
            </a:endParaRPr>
          </a:p>
        </p:txBody>
      </p:sp>
      <p:cxnSp>
        <p:nvCxnSpPr>
          <p:cNvPr id="20" name="Прямая соединительная линия 19">
            <a:extLst>
              <a:ext uri="{FF2B5EF4-FFF2-40B4-BE49-F238E27FC236}">
                <a16:creationId xmlns:a16="http://schemas.microsoft.com/office/drawing/2014/main" id="{72B230D6-F02D-441F-85D2-90332F4A77C8}"/>
              </a:ext>
            </a:extLst>
          </p:cNvPr>
          <p:cNvCxnSpPr>
            <a:cxnSpLocks/>
          </p:cNvCxnSpPr>
          <p:nvPr/>
        </p:nvCxnSpPr>
        <p:spPr>
          <a:xfrm flipV="1">
            <a:off x="515938" y="-25859"/>
            <a:ext cx="0" cy="3825662"/>
          </a:xfrm>
          <a:prstGeom prst="line">
            <a:avLst/>
          </a:prstGeom>
          <a:gradFill>
            <a:gsLst>
              <a:gs pos="41000">
                <a:schemeClr val="tx2"/>
              </a:gs>
              <a:gs pos="100000">
                <a:schemeClr val="accent1"/>
              </a:gs>
            </a:gsLst>
            <a:lin ang="4800000" scaled="0"/>
          </a:gra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22" name="Текст 25">
            <a:extLst>
              <a:ext uri="{FF2B5EF4-FFF2-40B4-BE49-F238E27FC236}">
                <a16:creationId xmlns:a16="http://schemas.microsoft.com/office/drawing/2014/main" id="{B95318F8-EC3D-4FE8-980D-4C08C5A1B9CF}"/>
              </a:ext>
            </a:extLst>
          </p:cNvPr>
          <p:cNvSpPr>
            <a:spLocks noGrp="1"/>
          </p:cNvSpPr>
          <p:nvPr>
            <p:ph type="body" sz="quarter" idx="12" hasCustomPrompt="1"/>
          </p:nvPr>
        </p:nvSpPr>
        <p:spPr>
          <a:xfrm>
            <a:off x="673115" y="3074185"/>
            <a:ext cx="3600450" cy="794675"/>
          </a:xfrm>
          <a:prstGeom prst="rect">
            <a:avLst/>
          </a:prstGeom>
        </p:spPr>
        <p:txBody>
          <a:bodyPr/>
          <a:lstStyle>
            <a:lvl1pPr>
              <a:lnSpc>
                <a:spcPct val="100000"/>
              </a:lnSpc>
              <a:defRPr sz="2400">
                <a:solidFill>
                  <a:schemeClr val="tx2"/>
                </a:solidFill>
              </a:defRPr>
            </a:lvl1pPr>
          </a:lstStyle>
          <a:p>
            <a:pPr lvl="0"/>
            <a:r>
              <a:rPr lang="ru-RU"/>
              <a:t>Образец заголовка </a:t>
            </a:r>
            <a:br>
              <a:rPr lang="ru-RU"/>
            </a:br>
            <a:r>
              <a:rPr lang="ru-RU"/>
              <a:t>в две строки</a:t>
            </a:r>
          </a:p>
        </p:txBody>
      </p:sp>
      <p:sp>
        <p:nvSpPr>
          <p:cNvPr id="21" name="Прямоугольник 20">
            <a:extLst>
              <a:ext uri="{FF2B5EF4-FFF2-40B4-BE49-F238E27FC236}">
                <a16:creationId xmlns:a16="http://schemas.microsoft.com/office/drawing/2014/main" id="{0296573A-DB52-4EDF-A8BF-A23BF75CD2DB}"/>
              </a:ext>
            </a:extLst>
          </p:cNvPr>
          <p:cNvSpPr/>
          <p:nvPr/>
        </p:nvSpPr>
        <p:spPr>
          <a:xfrm>
            <a:off x="459661" y="3116054"/>
            <a:ext cx="112554" cy="740916"/>
          </a:xfrm>
          <a:prstGeom prst="rect">
            <a:avLst/>
          </a:prstGeom>
          <a:gradFill>
            <a:gsLst>
              <a:gs pos="41000">
                <a:schemeClr val="tx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latin typeface="Segoe UI Light"/>
            </a:endParaRPr>
          </a:p>
        </p:txBody>
      </p:sp>
      <p:sp>
        <p:nvSpPr>
          <p:cNvPr id="11" name="Прямоугольник 10">
            <a:extLst>
              <a:ext uri="{FF2B5EF4-FFF2-40B4-BE49-F238E27FC236}">
                <a16:creationId xmlns:a16="http://schemas.microsoft.com/office/drawing/2014/main" id="{BE15B235-9E96-4BB7-8290-0E0BB4B22A78}"/>
              </a:ext>
            </a:extLst>
          </p:cNvPr>
          <p:cNvSpPr/>
          <p:nvPr/>
        </p:nvSpPr>
        <p:spPr>
          <a:xfrm>
            <a:off x="4946680" y="-29560"/>
            <a:ext cx="588475"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58283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Заголовок в 2 строки">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417524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6" name="Текст 2">
            <a:extLst>
              <a:ext uri="{FF2B5EF4-FFF2-40B4-BE49-F238E27FC236}">
                <a16:creationId xmlns:a16="http://schemas.microsoft.com/office/drawing/2014/main" id="{0A384496-76C1-412F-A8E2-3614FD633A06}"/>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7" name="Заголовок 1">
            <a:extLst>
              <a:ext uri="{FF2B5EF4-FFF2-40B4-BE49-F238E27FC236}">
                <a16:creationId xmlns:a16="http://schemas.microsoft.com/office/drawing/2014/main" id="{F122F1DB-E87A-4DEB-9AA6-F52DF98F2A56}"/>
              </a:ext>
            </a:extLst>
          </p:cNvPr>
          <p:cNvSpPr>
            <a:spLocks noGrp="1"/>
          </p:cNvSpPr>
          <p:nvPr>
            <p:ph type="title" hasCustomPrompt="1"/>
          </p:nvPr>
        </p:nvSpPr>
        <p:spPr>
          <a:xfrm>
            <a:off x="511847" y="341593"/>
            <a:ext cx="11164215" cy="869690"/>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a:t>
            </a:r>
            <a:br>
              <a:rPr lang="en-US"/>
            </a:br>
            <a:r>
              <a:rPr lang="ru-RU"/>
              <a:t>в </a:t>
            </a:r>
            <a:r>
              <a:rPr lang="en-US"/>
              <a:t>2</a:t>
            </a:r>
            <a:r>
              <a:rPr lang="ru-RU"/>
              <a:t> строку</a:t>
            </a:r>
          </a:p>
        </p:txBody>
      </p:sp>
    </p:spTree>
    <p:extLst>
      <p:ext uri="{BB962C8B-B14F-4D97-AF65-F5344CB8AC3E}">
        <p14:creationId xmlns:p14="http://schemas.microsoft.com/office/powerpoint/2010/main" val="908878081"/>
      </p:ext>
    </p:extLst>
  </p:cSld>
  <p:clrMapOvr>
    <a:masterClrMapping/>
  </p:clrMapOvr>
  <p:extLst>
    <p:ext uri="{DCECCB84-F9BA-43D5-87BE-67443E8EF086}">
      <p15:sldGuideLst xmlns:p15="http://schemas.microsoft.com/office/powerpoint/2012/main">
        <p15:guide id="1" orient="horz" pos="66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5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231121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Рисунок 6" descr="Изображение выглядит как внутренний&#10;&#10;Автоматически созданное описание">
            <a:extLst>
              <a:ext uri="{FF2B5EF4-FFF2-40B4-BE49-F238E27FC236}">
                <a16:creationId xmlns:a16="http://schemas.microsoft.com/office/drawing/2014/main" id="{851ED289-FD84-4F2D-86F6-32ACD725F6E7}"/>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9" name="Рисунок 47">
            <a:extLst>
              <a:ext uri="{FF2B5EF4-FFF2-40B4-BE49-F238E27FC236}">
                <a16:creationId xmlns:a16="http://schemas.microsoft.com/office/drawing/2014/main" id="{95C054F8-339E-4867-9CD4-B611F0DBFD67}"/>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8" name="Прямоугольник 27">
            <a:extLst>
              <a:ext uri="{FF2B5EF4-FFF2-40B4-BE49-F238E27FC236}">
                <a16:creationId xmlns:a16="http://schemas.microsoft.com/office/drawing/2014/main" id="{9F1C540E-1D83-4FF3-87F2-E02AF4B38DB6}"/>
              </a:ext>
            </a:extLst>
          </p:cNvPr>
          <p:cNvSpPr/>
          <p:nvPr/>
        </p:nvSpPr>
        <p:spPr>
          <a:xfrm flipV="1">
            <a:off x="681037" y="-25861"/>
            <a:ext cx="4564079"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a:ln>
                <a:noFill/>
              </a:ln>
              <a:solidFill>
                <a:srgbClr val="FFFFFF"/>
              </a:solidFill>
              <a:effectLst/>
              <a:uLnTx/>
              <a:uFillTx/>
              <a:latin typeface="Segoe UI Light"/>
            </a:endParaRPr>
          </a:p>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a:ln>
                <a:noFill/>
              </a:ln>
              <a:solidFill>
                <a:srgbClr val="FFFFFF"/>
              </a:solidFill>
              <a:effectLst/>
              <a:uLnTx/>
              <a:uFillTx/>
              <a:latin typeface="Segoe UI Light"/>
            </a:endParaRPr>
          </a:p>
        </p:txBody>
      </p:sp>
      <p:sp>
        <p:nvSpPr>
          <p:cNvPr id="11" name="Прямоугольник 10">
            <a:extLst>
              <a:ext uri="{FF2B5EF4-FFF2-40B4-BE49-F238E27FC236}">
                <a16:creationId xmlns:a16="http://schemas.microsoft.com/office/drawing/2014/main" id="{BE15B235-9E96-4BB7-8290-0E0BB4B22A78}"/>
              </a:ext>
            </a:extLst>
          </p:cNvPr>
          <p:cNvSpPr/>
          <p:nvPr/>
        </p:nvSpPr>
        <p:spPr>
          <a:xfrm>
            <a:off x="4946680" y="-29560"/>
            <a:ext cx="588475"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2" name="Текст 25">
            <a:extLst>
              <a:ext uri="{FF2B5EF4-FFF2-40B4-BE49-F238E27FC236}">
                <a16:creationId xmlns:a16="http://schemas.microsoft.com/office/drawing/2014/main" id="{B95318F8-EC3D-4FE8-980D-4C08C5A1B9CF}"/>
              </a:ext>
            </a:extLst>
          </p:cNvPr>
          <p:cNvSpPr>
            <a:spLocks noGrp="1"/>
          </p:cNvSpPr>
          <p:nvPr>
            <p:ph type="body" sz="quarter" idx="12" hasCustomPrompt="1"/>
          </p:nvPr>
        </p:nvSpPr>
        <p:spPr>
          <a:xfrm>
            <a:off x="1259810" y="3074185"/>
            <a:ext cx="3600450" cy="782785"/>
          </a:xfrm>
          <a:prstGeom prst="rect">
            <a:avLst/>
          </a:prstGeom>
        </p:spPr>
        <p:txBody>
          <a:bodyPr/>
          <a:lstStyle>
            <a:lvl1pPr>
              <a:lnSpc>
                <a:spcPct val="100000"/>
              </a:lnSpc>
              <a:defRPr sz="2800">
                <a:solidFill>
                  <a:schemeClr val="tx2"/>
                </a:solidFill>
                <a:latin typeface="Segoe UI Light" panose="020B0502040204020203" pitchFamily="34" charset="0"/>
                <a:cs typeface="Segoe UI Light" panose="020B0502040204020203" pitchFamily="34" charset="0"/>
              </a:defRPr>
            </a:lvl1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ru-RU" sz="2400">
                <a:solidFill>
                  <a:schemeClr val="bg1"/>
                </a:solidFill>
                <a:latin typeface="Segoe UI Semibold" panose="020B0702040204020203" pitchFamily="34" charset="0"/>
                <a:cs typeface="Segoe UI Semibold" panose="020B0702040204020203" pitchFamily="34" charset="0"/>
              </a:rPr>
              <a:t>ИНТЕЛЛЕКТУАЛЬНАЯ </a:t>
            </a:r>
            <a:br>
              <a:rPr lang="ru-RU" sz="2400">
                <a:solidFill>
                  <a:schemeClr val="bg1"/>
                </a:solidFill>
                <a:latin typeface="Segoe UI Semibold" panose="020B0702040204020203" pitchFamily="34" charset="0"/>
                <a:cs typeface="Segoe UI Semibold" panose="020B0702040204020203" pitchFamily="34" charset="0"/>
              </a:rPr>
            </a:br>
            <a:r>
              <a:rPr lang="ru-RU" sz="2400">
                <a:solidFill>
                  <a:schemeClr val="bg1"/>
                </a:solidFill>
                <a:latin typeface="Segoe UI Semibold" panose="020B0702040204020203" pitchFamily="34" charset="0"/>
                <a:cs typeface="Segoe UI Semibold" panose="020B0702040204020203" pitchFamily="34" charset="0"/>
              </a:rPr>
              <a:t>РАЗМИНКА</a:t>
            </a:r>
            <a:br>
              <a:rPr lang="en-US" sz="2400">
                <a:solidFill>
                  <a:schemeClr val="bg1"/>
                </a:solidFill>
                <a:latin typeface="Segoe UI Semibold" panose="020B0702040204020203" pitchFamily="34" charset="0"/>
                <a:cs typeface="Segoe UI Semibold" panose="020B0702040204020203" pitchFamily="34" charset="0"/>
              </a:rPr>
            </a:br>
            <a:endParaRPr lang="ru-RU" sz="2400">
              <a:solidFill>
                <a:schemeClr val="bg1"/>
              </a:solidFill>
              <a:latin typeface="Segoe UI Semibold" panose="020B0702040204020203" pitchFamily="34" charset="0"/>
              <a:cs typeface="Segoe UI Semibold" panose="020B0702040204020203" pitchFamily="34" charset="0"/>
            </a:endParaRPr>
          </a:p>
        </p:txBody>
      </p:sp>
      <p:sp>
        <p:nvSpPr>
          <p:cNvPr id="3" name="Текст 2">
            <a:extLst>
              <a:ext uri="{FF2B5EF4-FFF2-40B4-BE49-F238E27FC236}">
                <a16:creationId xmlns:a16="http://schemas.microsoft.com/office/drawing/2014/main" id="{A7A9E373-1CEE-4F5B-A2FD-739548C8B4D7}"/>
              </a:ext>
            </a:extLst>
          </p:cNvPr>
          <p:cNvSpPr>
            <a:spLocks noGrp="1"/>
          </p:cNvSpPr>
          <p:nvPr>
            <p:ph type="body" sz="quarter" idx="13" hasCustomPrompt="1"/>
          </p:nvPr>
        </p:nvSpPr>
        <p:spPr>
          <a:xfrm>
            <a:off x="1260475" y="4051300"/>
            <a:ext cx="3600450" cy="596900"/>
          </a:xfrm>
          <a:prstGeom prst="rect">
            <a:avLst/>
          </a:prstGeom>
        </p:spPr>
        <p:txBody>
          <a:bodyPr/>
          <a:lstStyle>
            <a:lvl1pPr>
              <a:defRPr sz="2000">
                <a:solidFill>
                  <a:schemeClr val="bg1"/>
                </a:solidFill>
                <a:latin typeface="Segoe UI" panose="020B0502040204020203" pitchFamily="34" charset="0"/>
                <a:cs typeface="Segoe UI" panose="020B0502040204020203" pitchFamily="34" charset="0"/>
              </a:defRPr>
            </a:lvl1pPr>
          </a:lstStyle>
          <a:p>
            <a:pPr lvl="0"/>
            <a:r>
              <a:rPr lang="ru-RU"/>
              <a:t>«Отгадайте фразу»</a:t>
            </a:r>
          </a:p>
        </p:txBody>
      </p:sp>
      <p:grpSp>
        <p:nvGrpSpPr>
          <p:cNvPr id="13" name="Группа 12">
            <a:extLst>
              <a:ext uri="{FF2B5EF4-FFF2-40B4-BE49-F238E27FC236}">
                <a16:creationId xmlns:a16="http://schemas.microsoft.com/office/drawing/2014/main" id="{F8809568-7A78-4A6D-A68C-074BAA47453C}"/>
              </a:ext>
            </a:extLst>
          </p:cNvPr>
          <p:cNvGrpSpPr/>
          <p:nvPr/>
        </p:nvGrpSpPr>
        <p:grpSpPr>
          <a:xfrm>
            <a:off x="969771" y="-29560"/>
            <a:ext cx="67699" cy="3886530"/>
            <a:chOff x="809986" y="1747045"/>
            <a:chExt cx="67699" cy="3886530"/>
          </a:xfrm>
        </p:grpSpPr>
        <p:sp>
          <p:nvSpPr>
            <p:cNvPr id="14" name="Прямоугольник 13">
              <a:extLst>
                <a:ext uri="{FF2B5EF4-FFF2-40B4-BE49-F238E27FC236}">
                  <a16:creationId xmlns:a16="http://schemas.microsoft.com/office/drawing/2014/main" id="{3EB74C57-CBD3-42D3-85E3-D39BA8896DB9}"/>
                </a:ext>
              </a:extLst>
            </p:cNvPr>
            <p:cNvSpPr/>
            <p:nvPr/>
          </p:nvSpPr>
          <p:spPr>
            <a:xfrm>
              <a:off x="809986" y="4850790"/>
              <a:ext cx="67699" cy="782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5" name="Прямая соединительная линия 14">
              <a:extLst>
                <a:ext uri="{FF2B5EF4-FFF2-40B4-BE49-F238E27FC236}">
                  <a16:creationId xmlns:a16="http://schemas.microsoft.com/office/drawing/2014/main" id="{3DABB36F-C6E5-4DBF-A282-B19D2711E4C0}"/>
                </a:ext>
              </a:extLst>
            </p:cNvPr>
            <p:cNvCxnSpPr>
              <a:cxnSpLocks/>
            </p:cNvCxnSpPr>
            <p:nvPr/>
          </p:nvCxnSpPr>
          <p:spPr>
            <a:xfrm flipV="1">
              <a:off x="843835" y="1747045"/>
              <a:ext cx="0" cy="310374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6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8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1711645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6" name="Рисунок 35" descr="Изображение выглядит как внутренний&#10;&#10;Автоматически созданное описание">
            <a:extLst>
              <a:ext uri="{FF2B5EF4-FFF2-40B4-BE49-F238E27FC236}">
                <a16:creationId xmlns:a16="http://schemas.microsoft.com/office/drawing/2014/main" id="{B75CA406-9BE2-49D1-94A8-BAAC6EBB5FF6}"/>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37" name="Рисунок 47">
            <a:extLst>
              <a:ext uri="{FF2B5EF4-FFF2-40B4-BE49-F238E27FC236}">
                <a16:creationId xmlns:a16="http://schemas.microsoft.com/office/drawing/2014/main" id="{0D02ED66-485F-4BA0-BCA1-A06456D2BD20}"/>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6" name="Прямоугольник 25">
            <a:extLst>
              <a:ext uri="{FF2B5EF4-FFF2-40B4-BE49-F238E27FC236}">
                <a16:creationId xmlns:a16="http://schemas.microsoft.com/office/drawing/2014/main" id="{FF112DBE-6683-4CF2-96D3-7F7C8C293C15}"/>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рямоугольник 27">
            <a:extLst>
              <a:ext uri="{FF2B5EF4-FFF2-40B4-BE49-F238E27FC236}">
                <a16:creationId xmlns:a16="http://schemas.microsoft.com/office/drawing/2014/main" id="{6A645C0F-60F2-4DE5-B517-AA17B776E250}"/>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9" name="Рисунок 28">
            <a:extLst>
              <a:ext uri="{FF2B5EF4-FFF2-40B4-BE49-F238E27FC236}">
                <a16:creationId xmlns:a16="http://schemas.microsoft.com/office/drawing/2014/main" id="{17EF5889-8B95-436D-A171-0E285703ADB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30" name="Заголовок 17">
            <a:extLst>
              <a:ext uri="{FF2B5EF4-FFF2-40B4-BE49-F238E27FC236}">
                <a16:creationId xmlns:a16="http://schemas.microsoft.com/office/drawing/2014/main" id="{FE30084B-064C-4249-8B60-99A8B365E14A}"/>
              </a:ext>
            </a:extLst>
          </p:cNvPr>
          <p:cNvSpPr txBox="1">
            <a:spLocks/>
          </p:cNvSpPr>
          <p:nvPr/>
        </p:nvSpPr>
        <p:spPr>
          <a:xfrm>
            <a:off x="13166399" y="2327088"/>
            <a:ext cx="2898991" cy="889072"/>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endParaRPr lang="ru-RU" sz="2000">
              <a:solidFill>
                <a:schemeClr val="bg1"/>
              </a:solidFill>
              <a:latin typeface="+mj-lt"/>
            </a:endParaRPr>
          </a:p>
        </p:txBody>
      </p:sp>
      <p:sp>
        <p:nvSpPr>
          <p:cNvPr id="31" name="TextBox 30">
            <a:extLst>
              <a:ext uri="{FF2B5EF4-FFF2-40B4-BE49-F238E27FC236}">
                <a16:creationId xmlns:a16="http://schemas.microsoft.com/office/drawing/2014/main" id="{2D2391A7-985F-4DF6-A761-59E9843256E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9" name="Текст 8">
            <a:extLst>
              <a:ext uri="{FF2B5EF4-FFF2-40B4-BE49-F238E27FC236}">
                <a16:creationId xmlns:a16="http://schemas.microsoft.com/office/drawing/2014/main" id="{2C851541-3346-492B-AE69-3A00155B47E8}"/>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323754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531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953044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2" name="Рисунок 41" descr="Изображение выглядит как внутренний&#10;&#10;Автоматически созданное описание">
            <a:extLst>
              <a:ext uri="{FF2B5EF4-FFF2-40B4-BE49-F238E27FC236}">
                <a16:creationId xmlns:a16="http://schemas.microsoft.com/office/drawing/2014/main" id="{564D71C5-388A-46B1-A022-A98CC30150A0}"/>
              </a:ext>
            </a:extLst>
          </p:cNvPr>
          <p:cNvPicPr>
            <a:picLocks noChangeAspect="1"/>
          </p:cNvPicPr>
          <p:nvPr/>
        </p:nvPicPr>
        <p:blipFill rotWithShape="1">
          <a:blip r:embed="rId6" cstate="screen">
            <a:alphaModFix/>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43" name="Рисунок 47">
            <a:extLst>
              <a:ext uri="{FF2B5EF4-FFF2-40B4-BE49-F238E27FC236}">
                <a16:creationId xmlns:a16="http://schemas.microsoft.com/office/drawing/2014/main" id="{2C566835-9A48-4FF6-9F86-45AB35588A31}"/>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9" name="Прямоугольник 28">
            <a:extLst>
              <a:ext uri="{FF2B5EF4-FFF2-40B4-BE49-F238E27FC236}">
                <a16:creationId xmlns:a16="http://schemas.microsoft.com/office/drawing/2014/main" id="{27CF5475-829A-4E61-86FB-7F653CB276DA}"/>
              </a:ext>
            </a:extLst>
          </p:cNvPr>
          <p:cNvSpPr/>
          <p:nvPr/>
        </p:nvSpPr>
        <p:spPr>
          <a:xfrm flipV="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30" name="Заголовок 6">
            <a:extLst>
              <a:ext uri="{FF2B5EF4-FFF2-40B4-BE49-F238E27FC236}">
                <a16:creationId xmlns:a16="http://schemas.microsoft.com/office/drawing/2014/main" id="{381ECBF8-9B52-4F96-A8FE-FF945594FAD1}"/>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Прямоугольник 30">
            <a:extLst>
              <a:ext uri="{FF2B5EF4-FFF2-40B4-BE49-F238E27FC236}">
                <a16:creationId xmlns:a16="http://schemas.microsoft.com/office/drawing/2014/main" id="{D3B9AF05-4789-460A-B166-CA0F06909144}"/>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34" name="Рисунок 33">
            <a:extLst>
              <a:ext uri="{FF2B5EF4-FFF2-40B4-BE49-F238E27FC236}">
                <a16:creationId xmlns:a16="http://schemas.microsoft.com/office/drawing/2014/main" id="{A389EBDA-0356-4F15-A10E-B2CDCC03B74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36" name="Заголовок 17">
            <a:extLst>
              <a:ext uri="{FF2B5EF4-FFF2-40B4-BE49-F238E27FC236}">
                <a16:creationId xmlns:a16="http://schemas.microsoft.com/office/drawing/2014/main" id="{1C16FF04-52E6-46E4-A1FE-B4CD3CBED97F}"/>
              </a:ext>
            </a:extLst>
          </p:cNvPr>
          <p:cNvSpPr>
            <a:spLocks noGrp="1"/>
          </p:cNvSpPr>
          <p:nvPr>
            <p:ph type="title" hasCustomPrompt="1"/>
          </p:nvPr>
        </p:nvSpPr>
        <p:spPr>
          <a:xfrm>
            <a:off x="1057024" y="3909857"/>
            <a:ext cx="4260041" cy="889072"/>
          </a:xfrm>
          <a:prstGeom prst="rect">
            <a:avLst/>
          </a:prstGeom>
        </p:spPr>
        <p:txBody>
          <a:bodyPr vert="horz" lIns="0" tIns="0" rIns="0" bIns="0"/>
          <a:lstStyle>
            <a:lvl1pPr>
              <a:defRPr sz="2800">
                <a:solidFill>
                  <a:schemeClr val="accent1"/>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СЕССИЯ ДЛЯ УПРАВЛЕНЧЕСКОЙ </a:t>
            </a:r>
            <a:b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br>
            <a:r>
              <a:rPr kumimoji="0" lang="ru-RU" sz="2800"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КОМАНДЫ МНГ</a:t>
            </a:r>
          </a:p>
        </p:txBody>
      </p:sp>
      <p:sp>
        <p:nvSpPr>
          <p:cNvPr id="37" name="Заголовок 17">
            <a:extLst>
              <a:ext uri="{FF2B5EF4-FFF2-40B4-BE49-F238E27FC236}">
                <a16:creationId xmlns:a16="http://schemas.microsoft.com/office/drawing/2014/main" id="{F6A027C8-3B7F-4126-9989-0A658653E326}"/>
              </a:ext>
            </a:extLst>
          </p:cNvPr>
          <p:cNvSpPr txBox="1">
            <a:spLocks/>
          </p:cNvSpPr>
          <p:nvPr/>
        </p:nvSpPr>
        <p:spPr>
          <a:xfrm>
            <a:off x="1057025" y="5471382"/>
            <a:ext cx="1472300" cy="288287"/>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pPr>
              <a:defRPr/>
            </a:pPr>
            <a:r>
              <a:rPr lang="ru-RU" sz="1600" b="0">
                <a:solidFill>
                  <a:srgbClr val="FFFFFF"/>
                </a:solidFill>
                <a:latin typeface="Segoe UI Light" panose="020B0502040204020203" pitchFamily="34" charset="0"/>
                <a:cs typeface="Segoe UI Light" panose="020B0502040204020203" pitchFamily="34" charset="0"/>
              </a:rPr>
              <a:t>Подзаголовок</a:t>
            </a:r>
          </a:p>
        </p:txBody>
      </p:sp>
      <p:sp>
        <p:nvSpPr>
          <p:cNvPr id="38" name="Заголовок 17">
            <a:extLst>
              <a:ext uri="{FF2B5EF4-FFF2-40B4-BE49-F238E27FC236}">
                <a16:creationId xmlns:a16="http://schemas.microsoft.com/office/drawing/2014/main" id="{25241869-D157-43D6-9DFF-9FD1BA737E1B}"/>
              </a:ext>
            </a:extLst>
          </p:cNvPr>
          <p:cNvSpPr txBox="1">
            <a:spLocks/>
          </p:cNvSpPr>
          <p:nvPr/>
        </p:nvSpPr>
        <p:spPr>
          <a:xfrm>
            <a:off x="1057025" y="5875478"/>
            <a:ext cx="1472300" cy="288287"/>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pPr>
              <a:defRPr/>
            </a:pPr>
            <a:r>
              <a:rPr lang="ru-RU" sz="1600" b="0">
                <a:solidFill>
                  <a:srgbClr val="FFFFFF"/>
                </a:solidFill>
                <a:latin typeface="Segoe UI Light" panose="020B0502040204020203" pitchFamily="34" charset="0"/>
                <a:cs typeface="Segoe UI Light" panose="020B0502040204020203" pitchFamily="34" charset="0"/>
              </a:rPr>
              <a:t>Дата</a:t>
            </a:r>
          </a:p>
        </p:txBody>
      </p:sp>
    </p:spTree>
    <p:extLst>
      <p:ext uri="{BB962C8B-B14F-4D97-AF65-F5344CB8AC3E}">
        <p14:creationId xmlns:p14="http://schemas.microsoft.com/office/powerpoint/2010/main" val="303760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3695403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3" name="Рисунок 42">
            <a:extLst>
              <a:ext uri="{FF2B5EF4-FFF2-40B4-BE49-F238E27FC236}">
                <a16:creationId xmlns:a16="http://schemas.microsoft.com/office/drawing/2014/main" id="{F0823FB3-D590-4C37-A689-9586C1885A5F}"/>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29" name="Прямоугольник 28">
            <a:extLst>
              <a:ext uri="{FF2B5EF4-FFF2-40B4-BE49-F238E27FC236}">
                <a16:creationId xmlns:a16="http://schemas.microsoft.com/office/drawing/2014/main" id="{27CF5475-829A-4E61-86FB-7F653CB276DA}"/>
              </a:ext>
            </a:extLst>
          </p:cNvPr>
          <p:cNvSpPr/>
          <p:nvPr/>
        </p:nvSpPr>
        <p:spPr>
          <a:xfrm>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0" name="Заголовок 6">
            <a:extLst>
              <a:ext uri="{FF2B5EF4-FFF2-40B4-BE49-F238E27FC236}">
                <a16:creationId xmlns:a16="http://schemas.microsoft.com/office/drawing/2014/main" id="{381ECBF8-9B52-4F96-A8FE-FF945594FAD1}"/>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Прямоугольник 30">
            <a:extLst>
              <a:ext uri="{FF2B5EF4-FFF2-40B4-BE49-F238E27FC236}">
                <a16:creationId xmlns:a16="http://schemas.microsoft.com/office/drawing/2014/main" id="{D3B9AF05-4789-460A-B166-CA0F06909144}"/>
              </a:ext>
            </a:extLst>
          </p:cNvPr>
          <p:cNvSpPr/>
          <p:nvPr/>
        </p:nvSpPr>
        <p:spPr>
          <a:xfrm>
            <a:off x="499639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7" name="Заголовок 17">
            <a:extLst>
              <a:ext uri="{FF2B5EF4-FFF2-40B4-BE49-F238E27FC236}">
                <a16:creationId xmlns:a16="http://schemas.microsoft.com/office/drawing/2014/main" id="{F6A027C8-3B7F-4126-9989-0A658653E326}"/>
              </a:ext>
            </a:extLst>
          </p:cNvPr>
          <p:cNvSpPr txBox="1">
            <a:spLocks/>
          </p:cNvSpPr>
          <p:nvPr/>
        </p:nvSpPr>
        <p:spPr>
          <a:xfrm>
            <a:off x="1193800" y="7124466"/>
            <a:ext cx="3498641" cy="889000"/>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endParaRPr lang="ru-RU" sz="1600" b="0">
              <a:solidFill>
                <a:schemeClr val="bg1"/>
              </a:solidFill>
              <a:latin typeface="Segoe UI Light" panose="020B0502040204020203" pitchFamily="34" charset="0"/>
              <a:cs typeface="Segoe UI Light" panose="020B0502040204020203" pitchFamily="34" charset="0"/>
            </a:endParaRPr>
          </a:p>
        </p:txBody>
      </p:sp>
      <p:grpSp>
        <p:nvGrpSpPr>
          <p:cNvPr id="48" name="Группа 47">
            <a:extLst>
              <a:ext uri="{FF2B5EF4-FFF2-40B4-BE49-F238E27FC236}">
                <a16:creationId xmlns:a16="http://schemas.microsoft.com/office/drawing/2014/main" id="{23BF7E3B-53E7-42E7-978D-CBFF84A4E05E}"/>
              </a:ext>
            </a:extLst>
          </p:cNvPr>
          <p:cNvGrpSpPr/>
          <p:nvPr/>
        </p:nvGrpSpPr>
        <p:grpSpPr>
          <a:xfrm>
            <a:off x="823594" y="-25861"/>
            <a:ext cx="75181" cy="4239814"/>
            <a:chOff x="823594" y="-25861"/>
            <a:chExt cx="75181" cy="4239814"/>
          </a:xfrm>
        </p:grpSpPr>
        <p:sp>
          <p:nvSpPr>
            <p:cNvPr id="14" name="Прямоугольник 13">
              <a:extLst>
                <a:ext uri="{FF2B5EF4-FFF2-40B4-BE49-F238E27FC236}">
                  <a16:creationId xmlns:a16="http://schemas.microsoft.com/office/drawing/2014/main" id="{ED7735A9-5325-4877-8EAC-9A9EBA89646E}"/>
                </a:ext>
              </a:extLst>
            </p:cNvPr>
            <p:cNvSpPr/>
            <p:nvPr/>
          </p:nvSpPr>
          <p:spPr>
            <a:xfrm>
              <a:off x="823594" y="3399915"/>
              <a:ext cx="75181" cy="814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15" name="Прямая соединительная линия 14">
              <a:extLst>
                <a:ext uri="{FF2B5EF4-FFF2-40B4-BE49-F238E27FC236}">
                  <a16:creationId xmlns:a16="http://schemas.microsoft.com/office/drawing/2014/main" id="{C74674DD-D042-4CCF-ACE3-908F4967ADED}"/>
                </a:ext>
              </a:extLst>
            </p:cNvPr>
            <p:cNvCxnSpPr>
              <a:cxnSpLocks/>
            </p:cNvCxnSpPr>
            <p:nvPr/>
          </p:nvCxnSpPr>
          <p:spPr>
            <a:xfrm flipV="1">
              <a:off x="861184" y="-25861"/>
              <a:ext cx="0" cy="3425777"/>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7" name="Рисунок 47">
            <a:extLst>
              <a:ext uri="{FF2B5EF4-FFF2-40B4-BE49-F238E27FC236}">
                <a16:creationId xmlns:a16="http://schemas.microsoft.com/office/drawing/2014/main" id="{5BA51A45-7239-4F2F-81D9-392F94571DC1}"/>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35" name="Текст 34">
            <a:extLst>
              <a:ext uri="{FF2B5EF4-FFF2-40B4-BE49-F238E27FC236}">
                <a16:creationId xmlns:a16="http://schemas.microsoft.com/office/drawing/2014/main" id="{22180D23-8F56-44D0-82CC-E18324A24E01}"/>
              </a:ext>
            </a:extLst>
          </p:cNvPr>
          <p:cNvSpPr>
            <a:spLocks noGrp="1"/>
          </p:cNvSpPr>
          <p:nvPr>
            <p:ph type="body" sz="quarter" idx="13" hasCustomPrompt="1"/>
          </p:nvPr>
        </p:nvSpPr>
        <p:spPr>
          <a:xfrm>
            <a:off x="1057276" y="4398021"/>
            <a:ext cx="3600450" cy="800100"/>
          </a:xfrm>
          <a:prstGeom prst="rect">
            <a:avLst/>
          </a:prstGeom>
        </p:spPr>
        <p:txBody>
          <a:bodyPr/>
          <a:lstStyle>
            <a:lvl1pPr>
              <a:defRPr sz="1400"/>
            </a:lvl1pPr>
          </a:lstStyle>
          <a:p>
            <a:r>
              <a:rPr lang="ru-RU" sz="1600" b="0">
                <a:solidFill>
                  <a:schemeClr val="bg1"/>
                </a:solidFill>
                <a:latin typeface="Segoe UI Light" panose="020B0502040204020203" pitchFamily="34" charset="0"/>
                <a:cs typeface="Segoe UI Light" panose="020B0502040204020203" pitchFamily="34" charset="0"/>
              </a:rPr>
              <a:t>Отправьте себе «письмо </a:t>
            </a:r>
            <a:br>
              <a:rPr lang="ru-RU" sz="1600" b="0">
                <a:solidFill>
                  <a:schemeClr val="bg1"/>
                </a:solidFill>
                <a:latin typeface="Segoe UI Light" panose="020B0502040204020203" pitchFamily="34" charset="0"/>
                <a:cs typeface="Segoe UI Light" panose="020B0502040204020203" pitchFamily="34" charset="0"/>
              </a:rPr>
            </a:br>
            <a:r>
              <a:rPr lang="ru-RU" sz="1600" b="0">
                <a:solidFill>
                  <a:schemeClr val="bg1"/>
                </a:solidFill>
                <a:latin typeface="Segoe UI Light" panose="020B0502040204020203" pitchFamily="34" charset="0"/>
                <a:cs typeface="Segoe UI Light" panose="020B0502040204020203" pitchFamily="34" charset="0"/>
              </a:rPr>
              <a:t>в будущее» с благодарностью </a:t>
            </a:r>
            <a:br>
              <a:rPr lang="ru-RU" sz="1600" b="0">
                <a:solidFill>
                  <a:schemeClr val="bg1"/>
                </a:solidFill>
                <a:latin typeface="Segoe UI Light" panose="020B0502040204020203" pitchFamily="34" charset="0"/>
                <a:cs typeface="Segoe UI Light" panose="020B0502040204020203" pitchFamily="34" charset="0"/>
              </a:rPr>
            </a:br>
            <a:r>
              <a:rPr lang="ru-RU" sz="1600" b="0">
                <a:solidFill>
                  <a:schemeClr val="bg1"/>
                </a:solidFill>
                <a:latin typeface="Segoe UI Light" panose="020B0502040204020203" pitchFamily="34" charset="0"/>
                <a:cs typeface="Segoe UI Light" panose="020B0502040204020203" pitchFamily="34" charset="0"/>
              </a:rPr>
              <a:t>за успешный запуск проекта</a:t>
            </a:r>
          </a:p>
        </p:txBody>
      </p:sp>
      <p:sp>
        <p:nvSpPr>
          <p:cNvPr id="26" name="Текст 25">
            <a:extLst>
              <a:ext uri="{FF2B5EF4-FFF2-40B4-BE49-F238E27FC236}">
                <a16:creationId xmlns:a16="http://schemas.microsoft.com/office/drawing/2014/main" id="{ED0D5109-DE61-498D-BF59-19FDBB5F8892}"/>
              </a:ext>
            </a:extLst>
          </p:cNvPr>
          <p:cNvSpPr>
            <a:spLocks noGrp="1"/>
          </p:cNvSpPr>
          <p:nvPr>
            <p:ph type="body" sz="quarter" idx="12" hasCustomPrompt="1"/>
          </p:nvPr>
        </p:nvSpPr>
        <p:spPr>
          <a:xfrm>
            <a:off x="1057275" y="3397225"/>
            <a:ext cx="3600450" cy="814038"/>
          </a:xfrm>
          <a:prstGeom prst="rect">
            <a:avLst/>
          </a:prstGeom>
        </p:spPr>
        <p:txBody>
          <a:bodyPr/>
          <a:lstStyle>
            <a:lvl1pPr>
              <a:defRPr sz="2800">
                <a:solidFill>
                  <a:schemeClr val="bg1"/>
                </a:solidFill>
              </a:defRPr>
            </a:lvl1pPr>
          </a:lstStyle>
          <a:p>
            <a:pPr lvl="0"/>
            <a:r>
              <a:rPr lang="ru-RU"/>
              <a:t>КАПСУЛА </a:t>
            </a:r>
            <a:br>
              <a:rPr lang="en-US"/>
            </a:br>
            <a:r>
              <a:rPr lang="ru-RU"/>
              <a:t>ВРЕМЕНИ</a:t>
            </a:r>
          </a:p>
        </p:txBody>
      </p:sp>
    </p:spTree>
    <p:extLst>
      <p:ext uri="{BB962C8B-B14F-4D97-AF65-F5344CB8AC3E}">
        <p14:creationId xmlns:p14="http://schemas.microsoft.com/office/powerpoint/2010/main" val="4135507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Пустой">
    <p:spTree>
      <p:nvGrpSpPr>
        <p:cNvPr id="1" name=""/>
        <p:cNvGrpSpPr/>
        <p:nvPr/>
      </p:nvGrpSpPr>
      <p:grpSpPr>
        <a:xfrm>
          <a:off x="0" y="0"/>
          <a:ext cx="0" cy="0"/>
          <a:chOff x="0" y="0"/>
          <a:chExt cx="0" cy="0"/>
        </a:xfrm>
      </p:grpSpPr>
      <p:graphicFrame>
        <p:nvGraphicFramePr>
          <p:cNvPr id="27" name="Объект 26" hidden="1">
            <a:extLst>
              <a:ext uri="{FF2B5EF4-FFF2-40B4-BE49-F238E27FC236}">
                <a16:creationId xmlns:a16="http://schemas.microsoft.com/office/drawing/2014/main" id="{B6DF3C2F-6431-44B7-9E0F-AA8B634E28AD}"/>
              </a:ext>
            </a:extLst>
          </p:cNvPr>
          <p:cNvGraphicFramePr>
            <a:graphicFrameLocks noChangeAspect="1"/>
          </p:cNvGraphicFramePr>
          <p:nvPr>
            <p:custDataLst>
              <p:tags r:id="rId2"/>
            </p:custDataLst>
            <p:extLst>
              <p:ext uri="{D42A27DB-BD31-4B8C-83A1-F6EECF244321}">
                <p14:modId xmlns:p14="http://schemas.microsoft.com/office/powerpoint/2010/main" val="348865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Слайд think-cell" r:id="rId4" imgW="473" imgH="476" progId="TCLayout.ActiveDocument.1">
                  <p:embed/>
                </p:oleObj>
              </mc:Choice>
              <mc:Fallback>
                <p:oleObj name="Слайд think-cell" r:id="rId4" imgW="473" imgH="476" progId="TCLayout.ActiveDocument.1">
                  <p:embed/>
                  <p:pic>
                    <p:nvPicPr>
                      <p:cNvPr id="27" name="Объект 26" hidden="1">
                        <a:extLst>
                          <a:ext uri="{FF2B5EF4-FFF2-40B4-BE49-F238E27FC236}">
                            <a16:creationId xmlns:a16="http://schemas.microsoft.com/office/drawing/2014/main" id="{B6DF3C2F-6431-44B7-9E0F-AA8B634E28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Рисунок 15">
            <a:extLst>
              <a:ext uri="{FF2B5EF4-FFF2-40B4-BE49-F238E27FC236}">
                <a16:creationId xmlns:a16="http://schemas.microsoft.com/office/drawing/2014/main" id="{3EBEA15A-1013-4172-9CE7-07247D88779A}"/>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7" name="Рисунок 47">
            <a:extLst>
              <a:ext uri="{FF2B5EF4-FFF2-40B4-BE49-F238E27FC236}">
                <a16:creationId xmlns:a16="http://schemas.microsoft.com/office/drawing/2014/main" id="{3C952C66-94FB-4E80-96B8-86E183844566}"/>
              </a:ext>
            </a:extLst>
          </p:cNvPr>
          <p:cNvSpPr>
            <a:spLocks noGrp="1"/>
          </p:cNvSpPr>
          <p:nvPr>
            <p:ph type="pic" sz="quarter" idx="10" hasCustomPrompt="1"/>
          </p:nvPr>
        </p:nvSpPr>
        <p:spPr>
          <a:xfrm>
            <a:off x="0" y="0"/>
            <a:ext cx="12192000" cy="6858000"/>
          </a:xfrm>
          <a:prstGeom prst="rect">
            <a:avLst/>
          </a:prstGeom>
          <a:noFill/>
        </p:spPr>
        <p:txBody>
          <a:bodyPr/>
          <a:lstStyle>
            <a:lvl1pPr>
              <a:defRPr/>
            </a:lvl1pPr>
          </a:lstStyle>
          <a:p>
            <a:r>
              <a:rPr lang="ru-RU"/>
              <a:t>   </a:t>
            </a:r>
          </a:p>
        </p:txBody>
      </p:sp>
      <p:sp>
        <p:nvSpPr>
          <p:cNvPr id="29" name="Прямоугольник 28">
            <a:extLst>
              <a:ext uri="{FF2B5EF4-FFF2-40B4-BE49-F238E27FC236}">
                <a16:creationId xmlns:a16="http://schemas.microsoft.com/office/drawing/2014/main" id="{27CF5475-829A-4E61-86FB-7F653CB276DA}"/>
              </a:ext>
            </a:extLst>
          </p:cNvPr>
          <p:cNvSpPr/>
          <p:nvPr/>
        </p:nvSpPr>
        <p:spPr>
          <a:xfrm flipV="1">
            <a:off x="515938" y="0"/>
            <a:ext cx="4676548" cy="6858000"/>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30" name="Заголовок 6">
            <a:extLst>
              <a:ext uri="{FF2B5EF4-FFF2-40B4-BE49-F238E27FC236}">
                <a16:creationId xmlns:a16="http://schemas.microsoft.com/office/drawing/2014/main" id="{381ECBF8-9B52-4F96-A8FE-FF945594FAD1}"/>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Прямоугольник 30">
            <a:extLst>
              <a:ext uri="{FF2B5EF4-FFF2-40B4-BE49-F238E27FC236}">
                <a16:creationId xmlns:a16="http://schemas.microsoft.com/office/drawing/2014/main" id="{D3B9AF05-4789-460A-B166-CA0F06909144}"/>
              </a:ext>
            </a:extLst>
          </p:cNvPr>
          <p:cNvSpPr/>
          <p:nvPr/>
        </p:nvSpPr>
        <p:spPr>
          <a:xfrm>
            <a:off x="499639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7" name="Заголовок 17">
            <a:extLst>
              <a:ext uri="{FF2B5EF4-FFF2-40B4-BE49-F238E27FC236}">
                <a16:creationId xmlns:a16="http://schemas.microsoft.com/office/drawing/2014/main" id="{F6A027C8-3B7F-4126-9989-0A658653E326}"/>
              </a:ext>
            </a:extLst>
          </p:cNvPr>
          <p:cNvSpPr txBox="1">
            <a:spLocks/>
          </p:cNvSpPr>
          <p:nvPr/>
        </p:nvSpPr>
        <p:spPr>
          <a:xfrm>
            <a:off x="1193800" y="7124466"/>
            <a:ext cx="3498641" cy="889000"/>
          </a:xfrm>
          <a:prstGeom prst="rect">
            <a:avLst/>
          </a:prstGeom>
        </p:spPr>
        <p:txBody>
          <a:bodyPr vert="horz" lIns="0" tIns="0" rIns="0" bIns="0"/>
          <a:lstStyle>
            <a:lvl1pPr algn="l" defTabSz="914400" rtl="0" eaLnBrk="1" latinLnBrk="0" hangingPunct="1">
              <a:lnSpc>
                <a:spcPct val="100000"/>
              </a:lnSpc>
              <a:spcBef>
                <a:spcPct val="0"/>
              </a:spcBef>
              <a:buNone/>
              <a:defRPr sz="2800" b="1" kern="1200">
                <a:solidFill>
                  <a:schemeClr val="accent1"/>
                </a:solidFill>
                <a:latin typeface="Segoe UI" panose="020B0502040204020203" pitchFamily="34" charset="0"/>
                <a:ea typeface="Roboto" pitchFamily="2" charset="0"/>
                <a:cs typeface="Segoe UI" panose="020B0502040204020203" pitchFamily="34" charset="0"/>
              </a:defRPr>
            </a:lvl1pPr>
          </a:lstStyle>
          <a:p>
            <a:endParaRPr lang="ru-RU" sz="1600" b="0">
              <a:solidFill>
                <a:schemeClr val="bg1"/>
              </a:solidFill>
              <a:latin typeface="Segoe UI Light" panose="020B0502040204020203" pitchFamily="34" charset="0"/>
              <a:cs typeface="Segoe UI Light" panose="020B0502040204020203" pitchFamily="34" charset="0"/>
            </a:endParaRPr>
          </a:p>
        </p:txBody>
      </p:sp>
      <p:sp>
        <p:nvSpPr>
          <p:cNvPr id="26" name="Текст 25">
            <a:extLst>
              <a:ext uri="{FF2B5EF4-FFF2-40B4-BE49-F238E27FC236}">
                <a16:creationId xmlns:a16="http://schemas.microsoft.com/office/drawing/2014/main" id="{ED0D5109-DE61-498D-BF59-19FDBB5F8892}"/>
              </a:ext>
            </a:extLst>
          </p:cNvPr>
          <p:cNvSpPr>
            <a:spLocks noGrp="1"/>
          </p:cNvSpPr>
          <p:nvPr>
            <p:ph type="body" sz="quarter" idx="12" hasCustomPrompt="1"/>
          </p:nvPr>
        </p:nvSpPr>
        <p:spPr>
          <a:xfrm>
            <a:off x="1057275" y="5328859"/>
            <a:ext cx="3600450" cy="889000"/>
          </a:xfrm>
          <a:prstGeom prst="rect">
            <a:avLst/>
          </a:prstGeom>
        </p:spPr>
        <p:txBody>
          <a:bodyPr/>
          <a:lstStyle>
            <a:lvl1pPr>
              <a:defRPr sz="2800">
                <a:solidFill>
                  <a:schemeClr val="bg1"/>
                </a:solidFill>
              </a:defRPr>
            </a:lvl1pPr>
          </a:lstStyle>
          <a:p>
            <a:pPr lvl="0"/>
            <a:r>
              <a:rPr lang="ru-RU"/>
              <a:t>КАПСУЛА </a:t>
            </a:r>
            <a:br>
              <a:rPr lang="en-US"/>
            </a:br>
            <a:r>
              <a:rPr lang="ru-RU"/>
              <a:t>ВРЕМЕНИ</a:t>
            </a:r>
          </a:p>
        </p:txBody>
      </p:sp>
      <p:grpSp>
        <p:nvGrpSpPr>
          <p:cNvPr id="18" name="Группа 17">
            <a:extLst>
              <a:ext uri="{FF2B5EF4-FFF2-40B4-BE49-F238E27FC236}">
                <a16:creationId xmlns:a16="http://schemas.microsoft.com/office/drawing/2014/main" id="{4F581CAD-CBC2-4E7D-8DCB-7803AEEC188A}"/>
              </a:ext>
            </a:extLst>
          </p:cNvPr>
          <p:cNvGrpSpPr/>
          <p:nvPr/>
        </p:nvGrpSpPr>
        <p:grpSpPr>
          <a:xfrm>
            <a:off x="823594" y="-25861"/>
            <a:ext cx="75181" cy="6171434"/>
            <a:chOff x="823594" y="-1957481"/>
            <a:chExt cx="75181" cy="6171434"/>
          </a:xfrm>
        </p:grpSpPr>
        <p:sp>
          <p:nvSpPr>
            <p:cNvPr id="19" name="Прямоугольник 18">
              <a:extLst>
                <a:ext uri="{FF2B5EF4-FFF2-40B4-BE49-F238E27FC236}">
                  <a16:creationId xmlns:a16="http://schemas.microsoft.com/office/drawing/2014/main" id="{D2CCA843-0F93-4870-9874-D5B8376C1484}"/>
                </a:ext>
              </a:extLst>
            </p:cNvPr>
            <p:cNvSpPr/>
            <p:nvPr/>
          </p:nvSpPr>
          <p:spPr>
            <a:xfrm>
              <a:off x="823594" y="3399915"/>
              <a:ext cx="75181" cy="814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cxnSp>
          <p:nvCxnSpPr>
            <p:cNvPr id="20" name="Прямая соединительная линия 19">
              <a:extLst>
                <a:ext uri="{FF2B5EF4-FFF2-40B4-BE49-F238E27FC236}">
                  <a16:creationId xmlns:a16="http://schemas.microsoft.com/office/drawing/2014/main" id="{942EE2F1-F94C-4F88-B38B-FC68E965392A}"/>
                </a:ext>
              </a:extLst>
            </p:cNvPr>
            <p:cNvCxnSpPr>
              <a:cxnSpLocks/>
            </p:cNvCxnSpPr>
            <p:nvPr/>
          </p:nvCxnSpPr>
          <p:spPr>
            <a:xfrm flipV="1">
              <a:off x="861184" y="-1957481"/>
              <a:ext cx="0" cy="5357399"/>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3173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pic>
        <p:nvPicPr>
          <p:cNvPr id="21" name="Рисунок 20" descr="Изображение выглядит как внутренний&#10;&#10;Автоматически созданное описание">
            <a:extLst>
              <a:ext uri="{FF2B5EF4-FFF2-40B4-BE49-F238E27FC236}">
                <a16:creationId xmlns:a16="http://schemas.microsoft.com/office/drawing/2014/main" id="{B6FD1E12-CFBA-41B1-B78C-9A51F1705841}"/>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41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1201726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Пользовательский макет">
    <p:spTree>
      <p:nvGrpSpPr>
        <p:cNvPr id="1" name=""/>
        <p:cNvGrpSpPr/>
        <p:nvPr/>
      </p:nvGrpSpPr>
      <p:grpSpPr>
        <a:xfrm>
          <a:off x="0" y="0"/>
          <a:ext cx="0" cy="0"/>
          <a:chOff x="0" y="0"/>
          <a:chExt cx="0" cy="0"/>
        </a:xfrm>
      </p:grpSpPr>
      <p:pic>
        <p:nvPicPr>
          <p:cNvPr id="13" name="Рисунок 12" descr="Изображение выглядит как человек, внутренний, люди, группа&#10;&#10;Автоматически созданное описание">
            <a:extLst>
              <a:ext uri="{FF2B5EF4-FFF2-40B4-BE49-F238E27FC236}">
                <a16:creationId xmlns:a16="http://schemas.microsoft.com/office/drawing/2014/main" id="{CCF7037E-4589-420C-ACC6-854149D92F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0687665"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1"/>
            <a:ext cx="4676548" cy="6893625"/>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15892698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Пользовательский макет">
    <p:spTree>
      <p:nvGrpSpPr>
        <p:cNvPr id="1" name=""/>
        <p:cNvGrpSpPr/>
        <p:nvPr/>
      </p:nvGrpSpPr>
      <p:grpSpPr>
        <a:xfrm>
          <a:off x="0" y="0"/>
          <a:ext cx="0" cy="0"/>
          <a:chOff x="0" y="0"/>
          <a:chExt cx="0" cy="0"/>
        </a:xfrm>
      </p:grpSpPr>
      <p:pic>
        <p:nvPicPr>
          <p:cNvPr id="14" name="Рисунок 13" descr="Изображение выглядит как текст, внутренний&#10;&#10;Автоматически созданное описание">
            <a:extLst>
              <a:ext uri="{FF2B5EF4-FFF2-40B4-BE49-F238E27FC236}">
                <a16:creationId xmlns:a16="http://schemas.microsoft.com/office/drawing/2014/main" id="{D616E835-77B4-49F9-AC86-0806C1B65668}"/>
              </a:ext>
            </a:extLst>
          </p:cNvPr>
          <p:cNvPicPr>
            <a:picLocks noChangeAspect="1"/>
          </p:cNvPicPr>
          <p:nvPr/>
        </p:nvPicPr>
        <p:blipFill rotWithShape="1">
          <a:blip r:embed="rId2">
            <a:extLst>
              <a:ext uri="{28A0092B-C50C-407E-A947-70E740481C1C}">
                <a14:useLocalDpi xmlns:a14="http://schemas.microsoft.com/office/drawing/2010/main" val="0"/>
              </a:ext>
            </a:extLst>
          </a:blip>
          <a:srcRect l="-30" r="22136"/>
          <a:stretch/>
        </p:blipFill>
        <p:spPr>
          <a:xfrm>
            <a:off x="-27708" y="21111"/>
            <a:ext cx="8005133" cy="6858000"/>
          </a:xfrm>
          <a:custGeom>
            <a:avLst/>
            <a:gdLst>
              <a:gd name="connsiteX0" fmla="*/ 0 w 4780955"/>
              <a:gd name="connsiteY0" fmla="*/ 0 h 5773019"/>
              <a:gd name="connsiteX1" fmla="*/ 4780955 w 4780955"/>
              <a:gd name="connsiteY1" fmla="*/ 0 h 5773019"/>
              <a:gd name="connsiteX2" fmla="*/ 4780955 w 4780955"/>
              <a:gd name="connsiteY2" fmla="*/ 5773019 h 5773019"/>
              <a:gd name="connsiteX3" fmla="*/ 630376 w 4780955"/>
              <a:gd name="connsiteY3" fmla="*/ 5773019 h 5773019"/>
              <a:gd name="connsiteX0" fmla="*/ 0 w 4780955"/>
              <a:gd name="connsiteY0" fmla="*/ 0 h 5786343"/>
              <a:gd name="connsiteX1" fmla="*/ 4780955 w 4780955"/>
              <a:gd name="connsiteY1" fmla="*/ 0 h 5786343"/>
              <a:gd name="connsiteX2" fmla="*/ 4780955 w 4780955"/>
              <a:gd name="connsiteY2" fmla="*/ 5773019 h 5786343"/>
              <a:gd name="connsiteX3" fmla="*/ 1096154 w 4780955"/>
              <a:gd name="connsiteY3" fmla="*/ 5786343 h 5786343"/>
              <a:gd name="connsiteX4" fmla="*/ 630376 w 4780955"/>
              <a:gd name="connsiteY4" fmla="*/ 5773019 h 5786343"/>
              <a:gd name="connsiteX5" fmla="*/ 0 w 4780955"/>
              <a:gd name="connsiteY5" fmla="*/ 0 h 5786343"/>
              <a:gd name="connsiteX0" fmla="*/ 1363266 w 6144221"/>
              <a:gd name="connsiteY0" fmla="*/ 0 h 5795147"/>
              <a:gd name="connsiteX1" fmla="*/ 6144221 w 6144221"/>
              <a:gd name="connsiteY1" fmla="*/ 0 h 5795147"/>
              <a:gd name="connsiteX2" fmla="*/ 6144221 w 6144221"/>
              <a:gd name="connsiteY2" fmla="*/ 5773019 h 5795147"/>
              <a:gd name="connsiteX3" fmla="*/ 2459420 w 6144221"/>
              <a:gd name="connsiteY3" fmla="*/ 5786343 h 5795147"/>
              <a:gd name="connsiteX4" fmla="*/ 0 w 6144221"/>
              <a:gd name="connsiteY4" fmla="*/ 5795147 h 5795147"/>
              <a:gd name="connsiteX5" fmla="*/ 1363266 w 6144221"/>
              <a:gd name="connsiteY5" fmla="*/ 0 h 5795147"/>
              <a:gd name="connsiteX0" fmla="*/ 1363266 w 6144221"/>
              <a:gd name="connsiteY0" fmla="*/ 0 h 5795147"/>
              <a:gd name="connsiteX1" fmla="*/ 6144221 w 6144221"/>
              <a:gd name="connsiteY1" fmla="*/ 0 h 5795147"/>
              <a:gd name="connsiteX2" fmla="*/ 6144221 w 6144221"/>
              <a:gd name="connsiteY2" fmla="*/ 5773019 h 5795147"/>
              <a:gd name="connsiteX3" fmla="*/ 0 w 6144221"/>
              <a:gd name="connsiteY3" fmla="*/ 5795147 h 5795147"/>
              <a:gd name="connsiteX4" fmla="*/ 1363266 w 6144221"/>
              <a:gd name="connsiteY4" fmla="*/ 0 h 5795147"/>
              <a:gd name="connsiteX0" fmla="*/ 1074532 w 5855487"/>
              <a:gd name="connsiteY0" fmla="*/ 0 h 5773019"/>
              <a:gd name="connsiteX1" fmla="*/ 5855487 w 5855487"/>
              <a:gd name="connsiteY1" fmla="*/ 0 h 5773019"/>
              <a:gd name="connsiteX2" fmla="*/ 5855487 w 5855487"/>
              <a:gd name="connsiteY2" fmla="*/ 5773019 h 5773019"/>
              <a:gd name="connsiteX3" fmla="*/ 0 w 5855487"/>
              <a:gd name="connsiteY3" fmla="*/ 5750892 h 5773019"/>
              <a:gd name="connsiteX4" fmla="*/ 1074532 w 5855487"/>
              <a:gd name="connsiteY4" fmla="*/ 0 h 5773019"/>
              <a:gd name="connsiteX0" fmla="*/ 1047034 w 5827989"/>
              <a:gd name="connsiteY0" fmla="*/ 0 h 5784084"/>
              <a:gd name="connsiteX1" fmla="*/ 5827989 w 5827989"/>
              <a:gd name="connsiteY1" fmla="*/ 0 h 5784084"/>
              <a:gd name="connsiteX2" fmla="*/ 5827989 w 5827989"/>
              <a:gd name="connsiteY2" fmla="*/ 5773019 h 5784084"/>
              <a:gd name="connsiteX3" fmla="*/ 0 w 5827989"/>
              <a:gd name="connsiteY3" fmla="*/ 5784084 h 5784084"/>
              <a:gd name="connsiteX4" fmla="*/ 1047034 w 5827989"/>
              <a:gd name="connsiteY4" fmla="*/ 0 h 5784084"/>
              <a:gd name="connsiteX0" fmla="*/ 1033285 w 5814240"/>
              <a:gd name="connsiteY0" fmla="*/ 0 h 5773021"/>
              <a:gd name="connsiteX1" fmla="*/ 5814240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814240"/>
              <a:gd name="connsiteY0" fmla="*/ 12829 h 5785850"/>
              <a:gd name="connsiteX1" fmla="*/ 5202760 w 5814240"/>
              <a:gd name="connsiteY1" fmla="*/ 0 h 5785850"/>
              <a:gd name="connsiteX2" fmla="*/ 5814240 w 5814240"/>
              <a:gd name="connsiteY2" fmla="*/ 5785848 h 5785850"/>
              <a:gd name="connsiteX3" fmla="*/ 0 w 5814240"/>
              <a:gd name="connsiteY3" fmla="*/ 5785850 h 5785850"/>
              <a:gd name="connsiteX4" fmla="*/ 1033285 w 5814240"/>
              <a:gd name="connsiteY4" fmla="*/ 12829 h 5785850"/>
              <a:gd name="connsiteX0" fmla="*/ 1033285 w 5814240"/>
              <a:gd name="connsiteY0" fmla="*/ 0 h 5773021"/>
              <a:gd name="connsiteX1" fmla="*/ 5352746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352746"/>
              <a:gd name="connsiteY0" fmla="*/ 0 h 5773021"/>
              <a:gd name="connsiteX1" fmla="*/ 5352746 w 5352746"/>
              <a:gd name="connsiteY1" fmla="*/ 0 h 5773021"/>
              <a:gd name="connsiteX2" fmla="*/ 4879713 w 5352746"/>
              <a:gd name="connsiteY2" fmla="*/ 5567756 h 5773021"/>
              <a:gd name="connsiteX3" fmla="*/ 0 w 5352746"/>
              <a:gd name="connsiteY3" fmla="*/ 5773021 h 5773021"/>
              <a:gd name="connsiteX4" fmla="*/ 1033285 w 5352746"/>
              <a:gd name="connsiteY4" fmla="*/ 0 h 5773021"/>
              <a:gd name="connsiteX0" fmla="*/ 1033285 w 5352746"/>
              <a:gd name="connsiteY0" fmla="*/ 0 h 5773021"/>
              <a:gd name="connsiteX1" fmla="*/ 5352746 w 5352746"/>
              <a:gd name="connsiteY1" fmla="*/ 0 h 5773021"/>
              <a:gd name="connsiteX2" fmla="*/ 5341208 w 5352746"/>
              <a:gd name="connsiteY2" fmla="*/ 5773019 h 5773021"/>
              <a:gd name="connsiteX3" fmla="*/ 0 w 5352746"/>
              <a:gd name="connsiteY3" fmla="*/ 5773021 h 5773021"/>
              <a:gd name="connsiteX4" fmla="*/ 1033285 w 5352746"/>
              <a:gd name="connsiteY4" fmla="*/ 0 h 5773021"/>
              <a:gd name="connsiteX0" fmla="*/ 1033285 w 5341208"/>
              <a:gd name="connsiteY0" fmla="*/ 0 h 5773021"/>
              <a:gd name="connsiteX1" fmla="*/ 5288137 w 5341208"/>
              <a:gd name="connsiteY1" fmla="*/ 107763 h 5773021"/>
              <a:gd name="connsiteX2" fmla="*/ 5341208 w 5341208"/>
              <a:gd name="connsiteY2" fmla="*/ 5773019 h 5773021"/>
              <a:gd name="connsiteX3" fmla="*/ 0 w 5341208"/>
              <a:gd name="connsiteY3" fmla="*/ 5773021 h 5773021"/>
              <a:gd name="connsiteX4" fmla="*/ 1033285 w 5341208"/>
              <a:gd name="connsiteY4" fmla="*/ 0 h 5773021"/>
              <a:gd name="connsiteX0" fmla="*/ 1033285 w 5343516"/>
              <a:gd name="connsiteY0" fmla="*/ 0 h 5773021"/>
              <a:gd name="connsiteX1" fmla="*/ 5343516 w 5343516"/>
              <a:gd name="connsiteY1" fmla="*/ 0 h 5773021"/>
              <a:gd name="connsiteX2" fmla="*/ 5341208 w 5343516"/>
              <a:gd name="connsiteY2" fmla="*/ 5773019 h 5773021"/>
              <a:gd name="connsiteX3" fmla="*/ 0 w 5343516"/>
              <a:gd name="connsiteY3" fmla="*/ 5773021 h 5773021"/>
              <a:gd name="connsiteX4" fmla="*/ 1033285 w 5343516"/>
              <a:gd name="connsiteY4" fmla="*/ 0 h 5773021"/>
              <a:gd name="connsiteX0" fmla="*/ 1033285 w 5343516"/>
              <a:gd name="connsiteY0" fmla="*/ 0 h 5773021"/>
              <a:gd name="connsiteX1" fmla="*/ 5343516 w 5343516"/>
              <a:gd name="connsiteY1" fmla="*/ 0 h 5773021"/>
              <a:gd name="connsiteX2" fmla="*/ 5290444 w 5343516"/>
              <a:gd name="connsiteY2" fmla="*/ 5701177 h 5773021"/>
              <a:gd name="connsiteX3" fmla="*/ 0 w 5343516"/>
              <a:gd name="connsiteY3" fmla="*/ 5773021 h 5773021"/>
              <a:gd name="connsiteX4" fmla="*/ 1033285 w 5343516"/>
              <a:gd name="connsiteY4" fmla="*/ 0 h 5773021"/>
              <a:gd name="connsiteX0" fmla="*/ 1033285 w 5345925"/>
              <a:gd name="connsiteY0" fmla="*/ 0 h 5778151"/>
              <a:gd name="connsiteX1" fmla="*/ 5343516 w 5345925"/>
              <a:gd name="connsiteY1" fmla="*/ 0 h 5778151"/>
              <a:gd name="connsiteX2" fmla="*/ 5345823 w 5345925"/>
              <a:gd name="connsiteY2" fmla="*/ 5778151 h 5778151"/>
              <a:gd name="connsiteX3" fmla="*/ 0 w 5345925"/>
              <a:gd name="connsiteY3" fmla="*/ 5773021 h 5778151"/>
              <a:gd name="connsiteX4" fmla="*/ 1033285 w 5345925"/>
              <a:gd name="connsiteY4" fmla="*/ 0 h 5778151"/>
              <a:gd name="connsiteX0" fmla="*/ 26970 w 4339610"/>
              <a:gd name="connsiteY0" fmla="*/ 0 h 5778151"/>
              <a:gd name="connsiteX1" fmla="*/ 4337201 w 4339610"/>
              <a:gd name="connsiteY1" fmla="*/ 0 h 5778151"/>
              <a:gd name="connsiteX2" fmla="*/ 4339508 w 4339610"/>
              <a:gd name="connsiteY2" fmla="*/ 5778151 h 5778151"/>
              <a:gd name="connsiteX3" fmla="*/ 0 w 4339610"/>
              <a:gd name="connsiteY3" fmla="*/ 5758767 h 5778151"/>
              <a:gd name="connsiteX4" fmla="*/ 26970 w 4339610"/>
              <a:gd name="connsiteY4" fmla="*/ 0 h 577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610" h="5778151">
                <a:moveTo>
                  <a:pt x="26970" y="0"/>
                </a:moveTo>
                <a:lnTo>
                  <a:pt x="4337201" y="0"/>
                </a:lnTo>
                <a:cubicBezTo>
                  <a:pt x="4336432" y="1924340"/>
                  <a:pt x="4340277" y="3853811"/>
                  <a:pt x="4339508" y="5778151"/>
                </a:cubicBezTo>
                <a:lnTo>
                  <a:pt x="0" y="5758767"/>
                </a:lnTo>
                <a:lnTo>
                  <a:pt x="26970" y="0"/>
                </a:lnTo>
                <a:close/>
              </a:path>
            </a:pathLst>
          </a:custGeom>
        </p:spPr>
      </p:pic>
      <p:pic>
        <p:nvPicPr>
          <p:cNvPr id="13" name="Рисунок 12" descr="Изображение выглядит как текст, внутренний&#10;&#10;Автоматически созданное описание">
            <a:extLst>
              <a:ext uri="{FF2B5EF4-FFF2-40B4-BE49-F238E27FC236}">
                <a16:creationId xmlns:a16="http://schemas.microsoft.com/office/drawing/2014/main" id="{46CD34BB-7195-4014-A089-523133FC19B7}"/>
              </a:ext>
            </a:extLst>
          </p:cNvPr>
          <p:cNvPicPr>
            <a:picLocks noChangeAspect="1"/>
          </p:cNvPicPr>
          <p:nvPr/>
        </p:nvPicPr>
        <p:blipFill rotWithShape="1">
          <a:blip r:embed="rId2">
            <a:extLst>
              <a:ext uri="{28A0092B-C50C-407E-A947-70E740481C1C}">
                <a14:useLocalDpi xmlns:a14="http://schemas.microsoft.com/office/drawing/2010/main" val="0"/>
              </a:ext>
            </a:extLst>
          </a:blip>
          <a:srcRect l="1000" r="22136"/>
          <a:stretch/>
        </p:blipFill>
        <p:spPr>
          <a:xfrm>
            <a:off x="4286993" y="14761"/>
            <a:ext cx="7906596" cy="6864350"/>
          </a:xfrm>
          <a:custGeom>
            <a:avLst/>
            <a:gdLst>
              <a:gd name="connsiteX0" fmla="*/ 0 w 4780955"/>
              <a:gd name="connsiteY0" fmla="*/ 0 h 5773019"/>
              <a:gd name="connsiteX1" fmla="*/ 4780955 w 4780955"/>
              <a:gd name="connsiteY1" fmla="*/ 0 h 5773019"/>
              <a:gd name="connsiteX2" fmla="*/ 4780955 w 4780955"/>
              <a:gd name="connsiteY2" fmla="*/ 5773019 h 5773019"/>
              <a:gd name="connsiteX3" fmla="*/ 630376 w 4780955"/>
              <a:gd name="connsiteY3" fmla="*/ 5773019 h 5773019"/>
              <a:gd name="connsiteX0" fmla="*/ 0 w 4780955"/>
              <a:gd name="connsiteY0" fmla="*/ 0 h 5786343"/>
              <a:gd name="connsiteX1" fmla="*/ 4780955 w 4780955"/>
              <a:gd name="connsiteY1" fmla="*/ 0 h 5786343"/>
              <a:gd name="connsiteX2" fmla="*/ 4780955 w 4780955"/>
              <a:gd name="connsiteY2" fmla="*/ 5773019 h 5786343"/>
              <a:gd name="connsiteX3" fmla="*/ 1096154 w 4780955"/>
              <a:gd name="connsiteY3" fmla="*/ 5786343 h 5786343"/>
              <a:gd name="connsiteX4" fmla="*/ 630376 w 4780955"/>
              <a:gd name="connsiteY4" fmla="*/ 5773019 h 5786343"/>
              <a:gd name="connsiteX5" fmla="*/ 0 w 4780955"/>
              <a:gd name="connsiteY5" fmla="*/ 0 h 5786343"/>
              <a:gd name="connsiteX0" fmla="*/ 1363266 w 6144221"/>
              <a:gd name="connsiteY0" fmla="*/ 0 h 5795147"/>
              <a:gd name="connsiteX1" fmla="*/ 6144221 w 6144221"/>
              <a:gd name="connsiteY1" fmla="*/ 0 h 5795147"/>
              <a:gd name="connsiteX2" fmla="*/ 6144221 w 6144221"/>
              <a:gd name="connsiteY2" fmla="*/ 5773019 h 5795147"/>
              <a:gd name="connsiteX3" fmla="*/ 2459420 w 6144221"/>
              <a:gd name="connsiteY3" fmla="*/ 5786343 h 5795147"/>
              <a:gd name="connsiteX4" fmla="*/ 0 w 6144221"/>
              <a:gd name="connsiteY4" fmla="*/ 5795147 h 5795147"/>
              <a:gd name="connsiteX5" fmla="*/ 1363266 w 6144221"/>
              <a:gd name="connsiteY5" fmla="*/ 0 h 5795147"/>
              <a:gd name="connsiteX0" fmla="*/ 1363266 w 6144221"/>
              <a:gd name="connsiteY0" fmla="*/ 0 h 5795147"/>
              <a:gd name="connsiteX1" fmla="*/ 6144221 w 6144221"/>
              <a:gd name="connsiteY1" fmla="*/ 0 h 5795147"/>
              <a:gd name="connsiteX2" fmla="*/ 6144221 w 6144221"/>
              <a:gd name="connsiteY2" fmla="*/ 5773019 h 5795147"/>
              <a:gd name="connsiteX3" fmla="*/ 0 w 6144221"/>
              <a:gd name="connsiteY3" fmla="*/ 5795147 h 5795147"/>
              <a:gd name="connsiteX4" fmla="*/ 1363266 w 6144221"/>
              <a:gd name="connsiteY4" fmla="*/ 0 h 5795147"/>
              <a:gd name="connsiteX0" fmla="*/ 1074532 w 5855487"/>
              <a:gd name="connsiteY0" fmla="*/ 0 h 5773019"/>
              <a:gd name="connsiteX1" fmla="*/ 5855487 w 5855487"/>
              <a:gd name="connsiteY1" fmla="*/ 0 h 5773019"/>
              <a:gd name="connsiteX2" fmla="*/ 5855487 w 5855487"/>
              <a:gd name="connsiteY2" fmla="*/ 5773019 h 5773019"/>
              <a:gd name="connsiteX3" fmla="*/ 0 w 5855487"/>
              <a:gd name="connsiteY3" fmla="*/ 5750892 h 5773019"/>
              <a:gd name="connsiteX4" fmla="*/ 1074532 w 5855487"/>
              <a:gd name="connsiteY4" fmla="*/ 0 h 5773019"/>
              <a:gd name="connsiteX0" fmla="*/ 1047034 w 5827989"/>
              <a:gd name="connsiteY0" fmla="*/ 0 h 5784084"/>
              <a:gd name="connsiteX1" fmla="*/ 5827989 w 5827989"/>
              <a:gd name="connsiteY1" fmla="*/ 0 h 5784084"/>
              <a:gd name="connsiteX2" fmla="*/ 5827989 w 5827989"/>
              <a:gd name="connsiteY2" fmla="*/ 5773019 h 5784084"/>
              <a:gd name="connsiteX3" fmla="*/ 0 w 5827989"/>
              <a:gd name="connsiteY3" fmla="*/ 5784084 h 5784084"/>
              <a:gd name="connsiteX4" fmla="*/ 1047034 w 5827989"/>
              <a:gd name="connsiteY4" fmla="*/ 0 h 5784084"/>
              <a:gd name="connsiteX0" fmla="*/ 1033285 w 5814240"/>
              <a:gd name="connsiteY0" fmla="*/ 0 h 5773021"/>
              <a:gd name="connsiteX1" fmla="*/ 5814240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814240"/>
              <a:gd name="connsiteY0" fmla="*/ 12829 h 5785850"/>
              <a:gd name="connsiteX1" fmla="*/ 5202760 w 5814240"/>
              <a:gd name="connsiteY1" fmla="*/ 0 h 5785850"/>
              <a:gd name="connsiteX2" fmla="*/ 5814240 w 5814240"/>
              <a:gd name="connsiteY2" fmla="*/ 5785848 h 5785850"/>
              <a:gd name="connsiteX3" fmla="*/ 0 w 5814240"/>
              <a:gd name="connsiteY3" fmla="*/ 5785850 h 5785850"/>
              <a:gd name="connsiteX4" fmla="*/ 1033285 w 5814240"/>
              <a:gd name="connsiteY4" fmla="*/ 12829 h 5785850"/>
              <a:gd name="connsiteX0" fmla="*/ 1033285 w 5814240"/>
              <a:gd name="connsiteY0" fmla="*/ 0 h 5773021"/>
              <a:gd name="connsiteX1" fmla="*/ 5352746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352746"/>
              <a:gd name="connsiteY0" fmla="*/ 0 h 5773021"/>
              <a:gd name="connsiteX1" fmla="*/ 5352746 w 5352746"/>
              <a:gd name="connsiteY1" fmla="*/ 0 h 5773021"/>
              <a:gd name="connsiteX2" fmla="*/ 4879713 w 5352746"/>
              <a:gd name="connsiteY2" fmla="*/ 5567756 h 5773021"/>
              <a:gd name="connsiteX3" fmla="*/ 0 w 5352746"/>
              <a:gd name="connsiteY3" fmla="*/ 5773021 h 5773021"/>
              <a:gd name="connsiteX4" fmla="*/ 1033285 w 5352746"/>
              <a:gd name="connsiteY4" fmla="*/ 0 h 5773021"/>
              <a:gd name="connsiteX0" fmla="*/ 1033285 w 5352746"/>
              <a:gd name="connsiteY0" fmla="*/ 0 h 5773021"/>
              <a:gd name="connsiteX1" fmla="*/ 5352746 w 5352746"/>
              <a:gd name="connsiteY1" fmla="*/ 0 h 5773021"/>
              <a:gd name="connsiteX2" fmla="*/ 5341208 w 5352746"/>
              <a:gd name="connsiteY2" fmla="*/ 5773019 h 5773021"/>
              <a:gd name="connsiteX3" fmla="*/ 0 w 5352746"/>
              <a:gd name="connsiteY3" fmla="*/ 5773021 h 5773021"/>
              <a:gd name="connsiteX4" fmla="*/ 1033285 w 5352746"/>
              <a:gd name="connsiteY4" fmla="*/ 0 h 5773021"/>
              <a:gd name="connsiteX0" fmla="*/ 1033285 w 5341208"/>
              <a:gd name="connsiteY0" fmla="*/ 0 h 5773021"/>
              <a:gd name="connsiteX1" fmla="*/ 5288137 w 5341208"/>
              <a:gd name="connsiteY1" fmla="*/ 107763 h 5773021"/>
              <a:gd name="connsiteX2" fmla="*/ 5341208 w 5341208"/>
              <a:gd name="connsiteY2" fmla="*/ 5773019 h 5773021"/>
              <a:gd name="connsiteX3" fmla="*/ 0 w 5341208"/>
              <a:gd name="connsiteY3" fmla="*/ 5773021 h 5773021"/>
              <a:gd name="connsiteX4" fmla="*/ 1033285 w 5341208"/>
              <a:gd name="connsiteY4" fmla="*/ 0 h 5773021"/>
              <a:gd name="connsiteX0" fmla="*/ 1033285 w 5343516"/>
              <a:gd name="connsiteY0" fmla="*/ 0 h 5773021"/>
              <a:gd name="connsiteX1" fmla="*/ 5343516 w 5343516"/>
              <a:gd name="connsiteY1" fmla="*/ 0 h 5773021"/>
              <a:gd name="connsiteX2" fmla="*/ 5341208 w 5343516"/>
              <a:gd name="connsiteY2" fmla="*/ 5773019 h 5773021"/>
              <a:gd name="connsiteX3" fmla="*/ 0 w 5343516"/>
              <a:gd name="connsiteY3" fmla="*/ 5773021 h 5773021"/>
              <a:gd name="connsiteX4" fmla="*/ 1033285 w 5343516"/>
              <a:gd name="connsiteY4" fmla="*/ 0 h 5773021"/>
              <a:gd name="connsiteX0" fmla="*/ 1033285 w 5343516"/>
              <a:gd name="connsiteY0" fmla="*/ 0 h 5773021"/>
              <a:gd name="connsiteX1" fmla="*/ 5343516 w 5343516"/>
              <a:gd name="connsiteY1" fmla="*/ 0 h 5773021"/>
              <a:gd name="connsiteX2" fmla="*/ 5290444 w 5343516"/>
              <a:gd name="connsiteY2" fmla="*/ 5701177 h 5773021"/>
              <a:gd name="connsiteX3" fmla="*/ 0 w 5343516"/>
              <a:gd name="connsiteY3" fmla="*/ 5773021 h 5773021"/>
              <a:gd name="connsiteX4" fmla="*/ 1033285 w 5343516"/>
              <a:gd name="connsiteY4" fmla="*/ 0 h 5773021"/>
              <a:gd name="connsiteX0" fmla="*/ 1033285 w 5345925"/>
              <a:gd name="connsiteY0" fmla="*/ 0 h 5778151"/>
              <a:gd name="connsiteX1" fmla="*/ 5343516 w 5345925"/>
              <a:gd name="connsiteY1" fmla="*/ 0 h 5778151"/>
              <a:gd name="connsiteX2" fmla="*/ 5345823 w 5345925"/>
              <a:gd name="connsiteY2" fmla="*/ 5778151 h 5778151"/>
              <a:gd name="connsiteX3" fmla="*/ 0 w 5345925"/>
              <a:gd name="connsiteY3" fmla="*/ 5773021 h 5778151"/>
              <a:gd name="connsiteX4" fmla="*/ 1033285 w 5345925"/>
              <a:gd name="connsiteY4" fmla="*/ 0 h 5778151"/>
              <a:gd name="connsiteX0" fmla="*/ 26970 w 4339610"/>
              <a:gd name="connsiteY0" fmla="*/ 0 h 5778151"/>
              <a:gd name="connsiteX1" fmla="*/ 4337201 w 4339610"/>
              <a:gd name="connsiteY1" fmla="*/ 0 h 5778151"/>
              <a:gd name="connsiteX2" fmla="*/ 4339508 w 4339610"/>
              <a:gd name="connsiteY2" fmla="*/ 5778151 h 5778151"/>
              <a:gd name="connsiteX3" fmla="*/ 0 w 4339610"/>
              <a:gd name="connsiteY3" fmla="*/ 5758767 h 5778151"/>
              <a:gd name="connsiteX4" fmla="*/ 26970 w 4339610"/>
              <a:gd name="connsiteY4" fmla="*/ 0 h 577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610" h="5778151">
                <a:moveTo>
                  <a:pt x="26970" y="0"/>
                </a:moveTo>
                <a:lnTo>
                  <a:pt x="4337201" y="0"/>
                </a:lnTo>
                <a:cubicBezTo>
                  <a:pt x="4336432" y="1924340"/>
                  <a:pt x="4340277" y="3853811"/>
                  <a:pt x="4339508" y="5778151"/>
                </a:cubicBezTo>
                <a:lnTo>
                  <a:pt x="0" y="5758767"/>
                </a:lnTo>
                <a:lnTo>
                  <a:pt x="26970" y="0"/>
                </a:lnTo>
                <a:close/>
              </a:path>
            </a:pathLst>
          </a:cu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0"/>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515491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Пользовательский макет">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93991CBF-1DFE-4D81-B09A-FB26C7C3A651}"/>
              </a:ext>
            </a:extLst>
          </p:cNvPr>
          <p:cNvPicPr>
            <a:picLocks noChangeAspect="1"/>
          </p:cNvPicPr>
          <p:nvPr/>
        </p:nvPicPr>
        <p:blipFill rotWithShape="1">
          <a:blip r:embed="rId2">
            <a:extLst>
              <a:ext uri="{28A0092B-C50C-407E-A947-70E740481C1C}">
                <a14:useLocalDpi xmlns:a14="http://schemas.microsoft.com/office/drawing/2010/main" val="0"/>
              </a:ext>
            </a:extLst>
          </a:blip>
          <a:srcRect b="15626"/>
          <a:stretch/>
        </p:blipFill>
        <p:spPr>
          <a:xfrm>
            <a:off x="0" y="1"/>
            <a:ext cx="12192000" cy="6858000"/>
          </a:xfrm>
          <a:prstGeom prst="rect">
            <a:avLst/>
          </a:prstGeom>
        </p:spPr>
      </p:pic>
      <p:sp>
        <p:nvSpPr>
          <p:cNvPr id="15" name="Прямоугольник 14">
            <a:extLst>
              <a:ext uri="{FF2B5EF4-FFF2-40B4-BE49-F238E27FC236}">
                <a16:creationId xmlns:a16="http://schemas.microsoft.com/office/drawing/2014/main" id="{AD637069-BEA2-433D-B840-F056C48B72E9}"/>
              </a:ext>
            </a:extLst>
          </p:cNvPr>
          <p:cNvSpPr/>
          <p:nvPr/>
        </p:nvSpPr>
        <p:spPr>
          <a:xfrm>
            <a:off x="0" y="-10633"/>
            <a:ext cx="12192000" cy="686481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22496370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2_Пользовательский макет">
    <p:spTree>
      <p:nvGrpSpPr>
        <p:cNvPr id="1" name=""/>
        <p:cNvGrpSpPr/>
        <p:nvPr/>
      </p:nvGrpSpPr>
      <p:grpSpPr>
        <a:xfrm>
          <a:off x="0" y="0"/>
          <a:ext cx="0" cy="0"/>
          <a:chOff x="0" y="0"/>
          <a:chExt cx="0" cy="0"/>
        </a:xfrm>
      </p:grpSpPr>
      <p:pic>
        <p:nvPicPr>
          <p:cNvPr id="39" name="Picture 2">
            <a:extLst>
              <a:ext uri="{FF2B5EF4-FFF2-40B4-BE49-F238E27FC236}">
                <a16:creationId xmlns:a16="http://schemas.microsoft.com/office/drawing/2014/main" id="{63D11F50-4A1A-4826-8ED6-CF130892805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050" t="6558" b="22610"/>
          <a:stretch/>
        </p:blipFill>
        <p:spPr bwMode="auto">
          <a:xfrm flipH="1">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id="{AD637069-BEA2-433D-B840-F056C48B72E9}"/>
              </a:ext>
            </a:extLst>
          </p:cNvPr>
          <p:cNvSpPr/>
          <p:nvPr/>
        </p:nvSpPr>
        <p:spPr>
          <a:xfrm>
            <a:off x="0" y="-10633"/>
            <a:ext cx="12192000" cy="6864811"/>
          </a:xfrm>
          <a:prstGeom prst="rect">
            <a:avLst/>
          </a:prstGeom>
          <a:gradFill>
            <a:gsLst>
              <a:gs pos="0">
                <a:schemeClr val="accent1">
                  <a:alpha val="33000"/>
                </a:schemeClr>
              </a:gs>
              <a:gs pos="45000">
                <a:srgbClr val="24458E">
                  <a:alpha val="42000"/>
                </a:srgbClr>
              </a:gs>
              <a:gs pos="100000">
                <a:schemeClr val="tx2">
                  <a:alpha val="3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1"/>
            <a:ext cx="4676548" cy="6858000"/>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9559"/>
            <a:ext cx="392180" cy="6887560"/>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Подзаголовок 2">
            <a:extLst>
              <a:ext uri="{FF2B5EF4-FFF2-40B4-BE49-F238E27FC236}">
                <a16:creationId xmlns:a16="http://schemas.microsoft.com/office/drawing/2014/main" id="{85699E88-3C3F-43DB-9B3A-C4D60B3F112E}"/>
              </a:ext>
            </a:extLst>
          </p:cNvPr>
          <p:cNvSpPr>
            <a:spLocks noGrp="1"/>
          </p:cNvSpPr>
          <p:nvPr>
            <p:ph type="subTitle" idx="1" hasCustomPrompt="1"/>
          </p:nvPr>
        </p:nvSpPr>
        <p:spPr>
          <a:xfrm>
            <a:off x="1525671" y="4448900"/>
            <a:ext cx="3395675" cy="332978"/>
          </a:xfrm>
          <a:prstGeom prst="rect">
            <a:avLst/>
          </a:prstGeom>
        </p:spPr>
        <p:txBody>
          <a:bodyPr>
            <a:noAutofit/>
          </a:bodyPr>
          <a:lstStyle>
            <a:lvl1pPr marL="0" indent="0" algn="l">
              <a:buNone/>
              <a:defRPr sz="1800" baseline="0">
                <a:solidFill>
                  <a:schemeClr val="tx2"/>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13" name="Заголовок 1">
            <a:extLst>
              <a:ext uri="{FF2B5EF4-FFF2-40B4-BE49-F238E27FC236}">
                <a16:creationId xmlns:a16="http://schemas.microsoft.com/office/drawing/2014/main" id="{CF5BD6FC-9E62-4BDD-931E-AB0B90386A3B}"/>
              </a:ext>
            </a:extLst>
          </p:cNvPr>
          <p:cNvSpPr>
            <a:spLocks noGrp="1"/>
          </p:cNvSpPr>
          <p:nvPr>
            <p:ph type="ctrTitle"/>
          </p:nvPr>
        </p:nvSpPr>
        <p:spPr>
          <a:xfrm>
            <a:off x="944037" y="3643944"/>
            <a:ext cx="3977309" cy="596666"/>
          </a:xfrm>
          <a:prstGeom prst="rect">
            <a:avLst/>
          </a:prstGeom>
        </p:spPr>
        <p:txBody>
          <a:bodyPr anchor="ctr"/>
          <a:lstStyle>
            <a:lvl1pPr>
              <a:defRPr sz="2000" b="0">
                <a:solidFill>
                  <a:schemeClr val="tx2"/>
                </a:solidFill>
                <a:latin typeface="+mj-lt"/>
              </a:defRPr>
            </a:lvl1pPr>
          </a:lstStyle>
          <a:p>
            <a:r>
              <a:rPr lang="ru-RU"/>
              <a:t>Образец заголовка</a:t>
            </a:r>
          </a:p>
        </p:txBody>
      </p:sp>
      <p:pic>
        <p:nvPicPr>
          <p:cNvPr id="14" name="Рисунок 13">
            <a:extLst>
              <a:ext uri="{FF2B5EF4-FFF2-40B4-BE49-F238E27FC236}">
                <a16:creationId xmlns:a16="http://schemas.microsoft.com/office/drawing/2014/main" id="{7F39556C-2C27-459B-ABAA-DBFB3DD487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p:spPr>
      </p:pic>
      <p:cxnSp>
        <p:nvCxnSpPr>
          <p:cNvPr id="17" name="Прямая соединительная линия 16">
            <a:extLst>
              <a:ext uri="{FF2B5EF4-FFF2-40B4-BE49-F238E27FC236}">
                <a16:creationId xmlns:a16="http://schemas.microsoft.com/office/drawing/2014/main" id="{F9D8CC43-4F11-4BFC-81E3-2891E107F666}"/>
              </a:ext>
            </a:extLst>
          </p:cNvPr>
          <p:cNvCxnSpPr>
            <a:cxnSpLocks/>
          </p:cNvCxnSpPr>
          <p:nvPr/>
        </p:nvCxnSpPr>
        <p:spPr>
          <a:xfrm flipV="1">
            <a:off x="767829" y="-2956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a:extLst>
              <a:ext uri="{FF2B5EF4-FFF2-40B4-BE49-F238E27FC236}">
                <a16:creationId xmlns:a16="http://schemas.microsoft.com/office/drawing/2014/main" id="{C558BFFD-B28B-401C-B449-46C2370634CB}"/>
              </a:ext>
            </a:extLst>
          </p:cNvPr>
          <p:cNvSpPr/>
          <p:nvPr/>
        </p:nvSpPr>
        <p:spPr>
          <a:xfrm>
            <a:off x="729774" y="370632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 name="AutoShape 3">
            <a:extLst>
              <a:ext uri="{FF2B5EF4-FFF2-40B4-BE49-F238E27FC236}">
                <a16:creationId xmlns:a16="http://schemas.microsoft.com/office/drawing/2014/main" id="{0E45A034-0F6F-4F28-8DD0-634A25DC7501}"/>
              </a:ext>
            </a:extLst>
          </p:cNvPr>
          <p:cNvSpPr>
            <a:spLocks noChangeAspect="1" noChangeArrowheads="1" noTextEdit="1"/>
          </p:cNvSpPr>
          <p:nvPr/>
        </p:nvSpPr>
        <p:spPr bwMode="auto">
          <a:xfrm>
            <a:off x="1085850" y="476250"/>
            <a:ext cx="1236663"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 name="Freeform 5">
            <a:extLst>
              <a:ext uri="{FF2B5EF4-FFF2-40B4-BE49-F238E27FC236}">
                <a16:creationId xmlns:a16="http://schemas.microsoft.com/office/drawing/2014/main" id="{EBFED226-64D0-47F7-8BD1-32F3BD92524A}"/>
              </a:ext>
            </a:extLst>
          </p:cNvPr>
          <p:cNvSpPr>
            <a:spLocks/>
          </p:cNvSpPr>
          <p:nvPr/>
        </p:nvSpPr>
        <p:spPr bwMode="auto">
          <a:xfrm>
            <a:off x="1406525" y="481013"/>
            <a:ext cx="207963" cy="239713"/>
          </a:xfrm>
          <a:custGeom>
            <a:avLst/>
            <a:gdLst>
              <a:gd name="T0" fmla="*/ 0 w 131"/>
              <a:gd name="T1" fmla="*/ 27 h 151"/>
              <a:gd name="T2" fmla="*/ 52 w 131"/>
              <a:gd name="T3" fmla="*/ 27 h 151"/>
              <a:gd name="T4" fmla="*/ 52 w 131"/>
              <a:gd name="T5" fmla="*/ 151 h 151"/>
              <a:gd name="T6" fmla="*/ 79 w 131"/>
              <a:gd name="T7" fmla="*/ 151 h 151"/>
              <a:gd name="T8" fmla="*/ 79 w 131"/>
              <a:gd name="T9" fmla="*/ 27 h 151"/>
              <a:gd name="T10" fmla="*/ 131 w 131"/>
              <a:gd name="T11" fmla="*/ 27 h 151"/>
              <a:gd name="T12" fmla="*/ 131 w 131"/>
              <a:gd name="T13" fmla="*/ 0 h 151"/>
              <a:gd name="T14" fmla="*/ 0 w 131"/>
              <a:gd name="T15" fmla="*/ 0 h 151"/>
              <a:gd name="T16" fmla="*/ 0 w 131"/>
              <a:gd name="T17" fmla="*/ 2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151">
                <a:moveTo>
                  <a:pt x="0" y="27"/>
                </a:moveTo>
                <a:lnTo>
                  <a:pt x="52" y="27"/>
                </a:lnTo>
                <a:lnTo>
                  <a:pt x="52" y="151"/>
                </a:lnTo>
                <a:lnTo>
                  <a:pt x="79" y="151"/>
                </a:lnTo>
                <a:lnTo>
                  <a:pt x="79" y="27"/>
                </a:lnTo>
                <a:lnTo>
                  <a:pt x="131" y="27"/>
                </a:lnTo>
                <a:lnTo>
                  <a:pt x="131" y="0"/>
                </a:lnTo>
                <a:lnTo>
                  <a:pt x="0" y="0"/>
                </a:lnTo>
                <a:lnTo>
                  <a:pt x="0" y="27"/>
                </a:lnTo>
                <a:close/>
              </a:path>
            </a:pathLst>
          </a:custGeom>
          <a:solidFill>
            <a:srgbClr val="7E8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 name="Freeform 6">
            <a:extLst>
              <a:ext uri="{FF2B5EF4-FFF2-40B4-BE49-F238E27FC236}">
                <a16:creationId xmlns:a16="http://schemas.microsoft.com/office/drawing/2014/main" id="{E1E10F16-9A7A-4CBB-9E94-6839BA2B19AF}"/>
              </a:ext>
            </a:extLst>
          </p:cNvPr>
          <p:cNvSpPr>
            <a:spLocks noEditPoints="1"/>
          </p:cNvSpPr>
          <p:nvPr/>
        </p:nvSpPr>
        <p:spPr bwMode="auto">
          <a:xfrm>
            <a:off x="1614488" y="474662"/>
            <a:ext cx="247650" cy="252413"/>
          </a:xfrm>
          <a:custGeom>
            <a:avLst/>
            <a:gdLst>
              <a:gd name="T0" fmla="*/ 121 w 242"/>
              <a:gd name="T1" fmla="*/ 0 h 245"/>
              <a:gd name="T2" fmla="*/ 0 w 242"/>
              <a:gd name="T3" fmla="*/ 122 h 245"/>
              <a:gd name="T4" fmla="*/ 121 w 242"/>
              <a:gd name="T5" fmla="*/ 245 h 245"/>
              <a:gd name="T6" fmla="*/ 242 w 242"/>
              <a:gd name="T7" fmla="*/ 122 h 245"/>
              <a:gd name="T8" fmla="*/ 121 w 242"/>
              <a:gd name="T9" fmla="*/ 0 h 245"/>
              <a:gd name="T10" fmla="*/ 121 w 242"/>
              <a:gd name="T11" fmla="*/ 203 h 245"/>
              <a:gd name="T12" fmla="*/ 43 w 242"/>
              <a:gd name="T13" fmla="*/ 122 h 245"/>
              <a:gd name="T14" fmla="*/ 121 w 242"/>
              <a:gd name="T15" fmla="*/ 42 h 245"/>
              <a:gd name="T16" fmla="*/ 199 w 242"/>
              <a:gd name="T17" fmla="*/ 122 h 245"/>
              <a:gd name="T18" fmla="*/ 121 w 242"/>
              <a:gd name="T19" fmla="*/ 20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5">
                <a:moveTo>
                  <a:pt x="121" y="0"/>
                </a:moveTo>
                <a:cubicBezTo>
                  <a:pt x="47" y="0"/>
                  <a:pt x="0" y="47"/>
                  <a:pt x="0" y="122"/>
                </a:cubicBezTo>
                <a:cubicBezTo>
                  <a:pt x="0" y="197"/>
                  <a:pt x="48" y="245"/>
                  <a:pt x="121" y="245"/>
                </a:cubicBezTo>
                <a:cubicBezTo>
                  <a:pt x="195" y="245"/>
                  <a:pt x="242" y="198"/>
                  <a:pt x="242" y="122"/>
                </a:cubicBezTo>
                <a:cubicBezTo>
                  <a:pt x="242" y="47"/>
                  <a:pt x="196" y="0"/>
                  <a:pt x="121" y="0"/>
                </a:cubicBezTo>
                <a:close/>
                <a:moveTo>
                  <a:pt x="121" y="203"/>
                </a:moveTo>
                <a:cubicBezTo>
                  <a:pt x="71" y="203"/>
                  <a:pt x="43" y="174"/>
                  <a:pt x="43" y="122"/>
                </a:cubicBezTo>
                <a:cubicBezTo>
                  <a:pt x="43" y="71"/>
                  <a:pt x="71" y="42"/>
                  <a:pt x="121" y="42"/>
                </a:cubicBezTo>
                <a:cubicBezTo>
                  <a:pt x="170" y="42"/>
                  <a:pt x="199" y="71"/>
                  <a:pt x="199" y="122"/>
                </a:cubicBezTo>
                <a:cubicBezTo>
                  <a:pt x="199" y="174"/>
                  <a:pt x="171" y="203"/>
                  <a:pt x="121" y="203"/>
                </a:cubicBezTo>
                <a:close/>
              </a:path>
            </a:pathLst>
          </a:custGeom>
          <a:solidFill>
            <a:srgbClr val="7E8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 name="Freeform 7">
            <a:extLst>
              <a:ext uri="{FF2B5EF4-FFF2-40B4-BE49-F238E27FC236}">
                <a16:creationId xmlns:a16="http://schemas.microsoft.com/office/drawing/2014/main" id="{515E9F5F-616F-4649-B73E-4A5E30E699F2}"/>
              </a:ext>
            </a:extLst>
          </p:cNvPr>
          <p:cNvSpPr>
            <a:spLocks noEditPoints="1"/>
          </p:cNvSpPr>
          <p:nvPr/>
        </p:nvSpPr>
        <p:spPr bwMode="auto">
          <a:xfrm>
            <a:off x="1085850" y="481013"/>
            <a:ext cx="1235075" cy="239713"/>
          </a:xfrm>
          <a:custGeom>
            <a:avLst/>
            <a:gdLst>
              <a:gd name="T0" fmla="*/ 169 w 1205"/>
              <a:gd name="T1" fmla="*/ 109 h 233"/>
              <a:gd name="T2" fmla="*/ 193 w 1205"/>
              <a:gd name="T3" fmla="*/ 62 h 233"/>
              <a:gd name="T4" fmla="*/ 123 w 1205"/>
              <a:gd name="T5" fmla="*/ 0 h 233"/>
              <a:gd name="T6" fmla="*/ 0 w 1205"/>
              <a:gd name="T7" fmla="*/ 0 h 233"/>
              <a:gd name="T8" fmla="*/ 0 w 1205"/>
              <a:gd name="T9" fmla="*/ 233 h 233"/>
              <a:gd name="T10" fmla="*/ 120 w 1205"/>
              <a:gd name="T11" fmla="*/ 233 h 233"/>
              <a:gd name="T12" fmla="*/ 200 w 1205"/>
              <a:gd name="T13" fmla="*/ 162 h 233"/>
              <a:gd name="T14" fmla="*/ 169 w 1205"/>
              <a:gd name="T15" fmla="*/ 109 h 233"/>
              <a:gd name="T16" fmla="*/ 42 w 1205"/>
              <a:gd name="T17" fmla="*/ 134 h 233"/>
              <a:gd name="T18" fmla="*/ 117 w 1205"/>
              <a:gd name="T19" fmla="*/ 134 h 233"/>
              <a:gd name="T20" fmla="*/ 157 w 1205"/>
              <a:gd name="T21" fmla="*/ 165 h 233"/>
              <a:gd name="T22" fmla="*/ 113 w 1205"/>
              <a:gd name="T23" fmla="*/ 192 h 233"/>
              <a:gd name="T24" fmla="*/ 42 w 1205"/>
              <a:gd name="T25" fmla="*/ 192 h 233"/>
              <a:gd name="T26" fmla="*/ 42 w 1205"/>
              <a:gd name="T27" fmla="*/ 134 h 233"/>
              <a:gd name="T28" fmla="*/ 110 w 1205"/>
              <a:gd name="T29" fmla="*/ 93 h 233"/>
              <a:gd name="T30" fmla="*/ 42 w 1205"/>
              <a:gd name="T31" fmla="*/ 93 h 233"/>
              <a:gd name="T32" fmla="*/ 42 w 1205"/>
              <a:gd name="T33" fmla="*/ 41 h 233"/>
              <a:gd name="T34" fmla="*/ 117 w 1205"/>
              <a:gd name="T35" fmla="*/ 41 h 233"/>
              <a:gd name="T36" fmla="*/ 151 w 1205"/>
              <a:gd name="T37" fmla="*/ 67 h 233"/>
              <a:gd name="T38" fmla="*/ 110 w 1205"/>
              <a:gd name="T39" fmla="*/ 93 h 233"/>
              <a:gd name="T40" fmla="*/ 236 w 1205"/>
              <a:gd name="T41" fmla="*/ 0 h 233"/>
              <a:gd name="T42" fmla="*/ 277 w 1205"/>
              <a:gd name="T43" fmla="*/ 0 h 233"/>
              <a:gd name="T44" fmla="*/ 277 w 1205"/>
              <a:gd name="T45" fmla="*/ 233 h 233"/>
              <a:gd name="T46" fmla="*/ 236 w 1205"/>
              <a:gd name="T47" fmla="*/ 233 h 233"/>
              <a:gd name="T48" fmla="*/ 236 w 1205"/>
              <a:gd name="T49" fmla="*/ 0 h 233"/>
              <a:gd name="T50" fmla="*/ 959 w 1205"/>
              <a:gd name="T51" fmla="*/ 109 h 233"/>
              <a:gd name="T52" fmla="*/ 983 w 1205"/>
              <a:gd name="T53" fmla="*/ 62 h 233"/>
              <a:gd name="T54" fmla="*/ 914 w 1205"/>
              <a:gd name="T55" fmla="*/ 0 h 233"/>
              <a:gd name="T56" fmla="*/ 791 w 1205"/>
              <a:gd name="T57" fmla="*/ 0 h 233"/>
              <a:gd name="T58" fmla="*/ 791 w 1205"/>
              <a:gd name="T59" fmla="*/ 233 h 233"/>
              <a:gd name="T60" fmla="*/ 911 w 1205"/>
              <a:gd name="T61" fmla="*/ 233 h 233"/>
              <a:gd name="T62" fmla="*/ 990 w 1205"/>
              <a:gd name="T63" fmla="*/ 162 h 233"/>
              <a:gd name="T64" fmla="*/ 959 w 1205"/>
              <a:gd name="T65" fmla="*/ 109 h 233"/>
              <a:gd name="T66" fmla="*/ 832 w 1205"/>
              <a:gd name="T67" fmla="*/ 134 h 233"/>
              <a:gd name="T68" fmla="*/ 908 w 1205"/>
              <a:gd name="T69" fmla="*/ 134 h 233"/>
              <a:gd name="T70" fmla="*/ 948 w 1205"/>
              <a:gd name="T71" fmla="*/ 165 h 233"/>
              <a:gd name="T72" fmla="*/ 904 w 1205"/>
              <a:gd name="T73" fmla="*/ 192 h 233"/>
              <a:gd name="T74" fmla="*/ 832 w 1205"/>
              <a:gd name="T75" fmla="*/ 192 h 233"/>
              <a:gd name="T76" fmla="*/ 832 w 1205"/>
              <a:gd name="T77" fmla="*/ 134 h 233"/>
              <a:gd name="T78" fmla="*/ 901 w 1205"/>
              <a:gd name="T79" fmla="*/ 93 h 233"/>
              <a:gd name="T80" fmla="*/ 832 w 1205"/>
              <a:gd name="T81" fmla="*/ 93 h 233"/>
              <a:gd name="T82" fmla="*/ 832 w 1205"/>
              <a:gd name="T83" fmla="*/ 41 h 233"/>
              <a:gd name="T84" fmla="*/ 907 w 1205"/>
              <a:gd name="T85" fmla="*/ 41 h 233"/>
              <a:gd name="T86" fmla="*/ 942 w 1205"/>
              <a:gd name="T87" fmla="*/ 67 h 233"/>
              <a:gd name="T88" fmla="*/ 901 w 1205"/>
              <a:gd name="T89" fmla="*/ 93 h 233"/>
              <a:gd name="T90" fmla="*/ 1205 w 1205"/>
              <a:gd name="T91" fmla="*/ 192 h 233"/>
              <a:gd name="T92" fmla="*/ 1205 w 1205"/>
              <a:gd name="T93" fmla="*/ 233 h 233"/>
              <a:gd name="T94" fmla="*/ 1025 w 1205"/>
              <a:gd name="T95" fmla="*/ 233 h 233"/>
              <a:gd name="T96" fmla="*/ 1025 w 1205"/>
              <a:gd name="T97" fmla="*/ 0 h 233"/>
              <a:gd name="T98" fmla="*/ 1203 w 1205"/>
              <a:gd name="T99" fmla="*/ 0 h 233"/>
              <a:gd name="T100" fmla="*/ 1203 w 1205"/>
              <a:gd name="T101" fmla="*/ 41 h 233"/>
              <a:gd name="T102" fmla="*/ 1066 w 1205"/>
              <a:gd name="T103" fmla="*/ 41 h 233"/>
              <a:gd name="T104" fmla="*/ 1066 w 1205"/>
              <a:gd name="T105" fmla="*/ 93 h 233"/>
              <a:gd name="T106" fmla="*/ 1195 w 1205"/>
              <a:gd name="T107" fmla="*/ 93 h 233"/>
              <a:gd name="T108" fmla="*/ 1195 w 1205"/>
              <a:gd name="T109" fmla="*/ 134 h 233"/>
              <a:gd name="T110" fmla="*/ 1066 w 1205"/>
              <a:gd name="T111" fmla="*/ 134 h 233"/>
              <a:gd name="T112" fmla="*/ 1066 w 1205"/>
              <a:gd name="T113" fmla="*/ 192 h 233"/>
              <a:gd name="T114" fmla="*/ 1205 w 1205"/>
              <a:gd name="T115" fmla="*/ 19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5" h="233">
                <a:moveTo>
                  <a:pt x="169" y="109"/>
                </a:moveTo>
                <a:cubicBezTo>
                  <a:pt x="185" y="98"/>
                  <a:pt x="193" y="82"/>
                  <a:pt x="193" y="62"/>
                </a:cubicBezTo>
                <a:cubicBezTo>
                  <a:pt x="193" y="23"/>
                  <a:pt x="167" y="0"/>
                  <a:pt x="123" y="0"/>
                </a:cubicBezTo>
                <a:cubicBezTo>
                  <a:pt x="0" y="0"/>
                  <a:pt x="0" y="0"/>
                  <a:pt x="0" y="0"/>
                </a:cubicBezTo>
                <a:cubicBezTo>
                  <a:pt x="0" y="233"/>
                  <a:pt x="0" y="233"/>
                  <a:pt x="0" y="233"/>
                </a:cubicBezTo>
                <a:cubicBezTo>
                  <a:pt x="120" y="233"/>
                  <a:pt x="120" y="233"/>
                  <a:pt x="120" y="233"/>
                </a:cubicBezTo>
                <a:cubicBezTo>
                  <a:pt x="174" y="233"/>
                  <a:pt x="200" y="210"/>
                  <a:pt x="200" y="162"/>
                </a:cubicBezTo>
                <a:cubicBezTo>
                  <a:pt x="200" y="136"/>
                  <a:pt x="189" y="118"/>
                  <a:pt x="169" y="109"/>
                </a:cubicBezTo>
                <a:close/>
                <a:moveTo>
                  <a:pt x="42" y="134"/>
                </a:moveTo>
                <a:cubicBezTo>
                  <a:pt x="117" y="134"/>
                  <a:pt x="117" y="134"/>
                  <a:pt x="117" y="134"/>
                </a:cubicBezTo>
                <a:cubicBezTo>
                  <a:pt x="146" y="134"/>
                  <a:pt x="157" y="142"/>
                  <a:pt x="157" y="165"/>
                </a:cubicBezTo>
                <a:cubicBezTo>
                  <a:pt x="157" y="184"/>
                  <a:pt x="145" y="192"/>
                  <a:pt x="113" y="192"/>
                </a:cubicBezTo>
                <a:cubicBezTo>
                  <a:pt x="42" y="192"/>
                  <a:pt x="42" y="192"/>
                  <a:pt x="42" y="192"/>
                </a:cubicBezTo>
                <a:lnTo>
                  <a:pt x="42" y="134"/>
                </a:lnTo>
                <a:close/>
                <a:moveTo>
                  <a:pt x="110" y="93"/>
                </a:moveTo>
                <a:cubicBezTo>
                  <a:pt x="42" y="93"/>
                  <a:pt x="42" y="93"/>
                  <a:pt x="42" y="93"/>
                </a:cubicBezTo>
                <a:cubicBezTo>
                  <a:pt x="42" y="41"/>
                  <a:pt x="42" y="41"/>
                  <a:pt x="42" y="41"/>
                </a:cubicBezTo>
                <a:cubicBezTo>
                  <a:pt x="117" y="41"/>
                  <a:pt x="117" y="41"/>
                  <a:pt x="117" y="41"/>
                </a:cubicBezTo>
                <a:cubicBezTo>
                  <a:pt x="142" y="41"/>
                  <a:pt x="151" y="48"/>
                  <a:pt x="151" y="67"/>
                </a:cubicBezTo>
                <a:cubicBezTo>
                  <a:pt x="151" y="86"/>
                  <a:pt x="141" y="93"/>
                  <a:pt x="110" y="93"/>
                </a:cubicBezTo>
                <a:close/>
                <a:moveTo>
                  <a:pt x="236" y="0"/>
                </a:moveTo>
                <a:cubicBezTo>
                  <a:pt x="277" y="0"/>
                  <a:pt x="277" y="0"/>
                  <a:pt x="277" y="0"/>
                </a:cubicBezTo>
                <a:cubicBezTo>
                  <a:pt x="277" y="233"/>
                  <a:pt x="277" y="233"/>
                  <a:pt x="277" y="233"/>
                </a:cubicBezTo>
                <a:cubicBezTo>
                  <a:pt x="236" y="233"/>
                  <a:pt x="236" y="233"/>
                  <a:pt x="236" y="233"/>
                </a:cubicBezTo>
                <a:lnTo>
                  <a:pt x="236" y="0"/>
                </a:lnTo>
                <a:close/>
                <a:moveTo>
                  <a:pt x="959" y="109"/>
                </a:moveTo>
                <a:cubicBezTo>
                  <a:pt x="975" y="98"/>
                  <a:pt x="983" y="82"/>
                  <a:pt x="983" y="62"/>
                </a:cubicBezTo>
                <a:cubicBezTo>
                  <a:pt x="983" y="23"/>
                  <a:pt x="958" y="0"/>
                  <a:pt x="914" y="0"/>
                </a:cubicBezTo>
                <a:cubicBezTo>
                  <a:pt x="791" y="0"/>
                  <a:pt x="791" y="0"/>
                  <a:pt x="791" y="0"/>
                </a:cubicBezTo>
                <a:cubicBezTo>
                  <a:pt x="791" y="233"/>
                  <a:pt x="791" y="233"/>
                  <a:pt x="791" y="233"/>
                </a:cubicBezTo>
                <a:cubicBezTo>
                  <a:pt x="911" y="233"/>
                  <a:pt x="911" y="233"/>
                  <a:pt x="911" y="233"/>
                </a:cubicBezTo>
                <a:cubicBezTo>
                  <a:pt x="964" y="233"/>
                  <a:pt x="990" y="210"/>
                  <a:pt x="990" y="162"/>
                </a:cubicBezTo>
                <a:cubicBezTo>
                  <a:pt x="990" y="136"/>
                  <a:pt x="980" y="118"/>
                  <a:pt x="959" y="109"/>
                </a:cubicBezTo>
                <a:close/>
                <a:moveTo>
                  <a:pt x="832" y="134"/>
                </a:moveTo>
                <a:cubicBezTo>
                  <a:pt x="908" y="134"/>
                  <a:pt x="908" y="134"/>
                  <a:pt x="908" y="134"/>
                </a:cubicBezTo>
                <a:cubicBezTo>
                  <a:pt x="937" y="134"/>
                  <a:pt x="948" y="142"/>
                  <a:pt x="948" y="165"/>
                </a:cubicBezTo>
                <a:cubicBezTo>
                  <a:pt x="948" y="184"/>
                  <a:pt x="935" y="192"/>
                  <a:pt x="904" y="192"/>
                </a:cubicBezTo>
                <a:cubicBezTo>
                  <a:pt x="832" y="192"/>
                  <a:pt x="832" y="192"/>
                  <a:pt x="832" y="192"/>
                </a:cubicBezTo>
                <a:lnTo>
                  <a:pt x="832" y="134"/>
                </a:lnTo>
                <a:close/>
                <a:moveTo>
                  <a:pt x="901" y="93"/>
                </a:moveTo>
                <a:cubicBezTo>
                  <a:pt x="832" y="93"/>
                  <a:pt x="832" y="93"/>
                  <a:pt x="832" y="93"/>
                </a:cubicBezTo>
                <a:cubicBezTo>
                  <a:pt x="832" y="41"/>
                  <a:pt x="832" y="41"/>
                  <a:pt x="832" y="41"/>
                </a:cubicBezTo>
                <a:cubicBezTo>
                  <a:pt x="907" y="41"/>
                  <a:pt x="907" y="41"/>
                  <a:pt x="907" y="41"/>
                </a:cubicBezTo>
                <a:cubicBezTo>
                  <a:pt x="932" y="41"/>
                  <a:pt x="942" y="48"/>
                  <a:pt x="942" y="67"/>
                </a:cubicBezTo>
                <a:cubicBezTo>
                  <a:pt x="942" y="86"/>
                  <a:pt x="932" y="93"/>
                  <a:pt x="901" y="93"/>
                </a:cubicBezTo>
                <a:close/>
                <a:moveTo>
                  <a:pt x="1205" y="192"/>
                </a:moveTo>
                <a:cubicBezTo>
                  <a:pt x="1205" y="233"/>
                  <a:pt x="1205" y="233"/>
                  <a:pt x="1205" y="233"/>
                </a:cubicBezTo>
                <a:cubicBezTo>
                  <a:pt x="1025" y="233"/>
                  <a:pt x="1025" y="233"/>
                  <a:pt x="1025" y="233"/>
                </a:cubicBezTo>
                <a:cubicBezTo>
                  <a:pt x="1025" y="0"/>
                  <a:pt x="1025" y="0"/>
                  <a:pt x="1025" y="0"/>
                </a:cubicBezTo>
                <a:cubicBezTo>
                  <a:pt x="1203" y="0"/>
                  <a:pt x="1203" y="0"/>
                  <a:pt x="1203" y="0"/>
                </a:cubicBezTo>
                <a:cubicBezTo>
                  <a:pt x="1203" y="41"/>
                  <a:pt x="1203" y="41"/>
                  <a:pt x="1203" y="41"/>
                </a:cubicBezTo>
                <a:cubicBezTo>
                  <a:pt x="1066" y="41"/>
                  <a:pt x="1066" y="41"/>
                  <a:pt x="1066" y="41"/>
                </a:cubicBezTo>
                <a:cubicBezTo>
                  <a:pt x="1066" y="93"/>
                  <a:pt x="1066" y="93"/>
                  <a:pt x="1066" y="93"/>
                </a:cubicBezTo>
                <a:cubicBezTo>
                  <a:pt x="1195" y="93"/>
                  <a:pt x="1195" y="93"/>
                  <a:pt x="1195" y="93"/>
                </a:cubicBezTo>
                <a:cubicBezTo>
                  <a:pt x="1195" y="134"/>
                  <a:pt x="1195" y="134"/>
                  <a:pt x="1195" y="134"/>
                </a:cubicBezTo>
                <a:cubicBezTo>
                  <a:pt x="1066" y="134"/>
                  <a:pt x="1066" y="134"/>
                  <a:pt x="1066" y="134"/>
                </a:cubicBezTo>
                <a:cubicBezTo>
                  <a:pt x="1066" y="192"/>
                  <a:pt x="1066" y="192"/>
                  <a:pt x="1066" y="192"/>
                </a:cubicBezTo>
                <a:lnTo>
                  <a:pt x="1205"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38" name="Группа 37">
            <a:extLst>
              <a:ext uri="{FF2B5EF4-FFF2-40B4-BE49-F238E27FC236}">
                <a16:creationId xmlns:a16="http://schemas.microsoft.com/office/drawing/2014/main" id="{4076A50D-B68E-40E8-8ECF-55FEC6B070E7}"/>
              </a:ext>
            </a:extLst>
          </p:cNvPr>
          <p:cNvGrpSpPr/>
          <p:nvPr/>
        </p:nvGrpSpPr>
        <p:grpSpPr>
          <a:xfrm>
            <a:off x="1085850" y="795338"/>
            <a:ext cx="1238251" cy="77788"/>
            <a:chOff x="1085850" y="795338"/>
            <a:chExt cx="1238251" cy="77788"/>
          </a:xfrm>
        </p:grpSpPr>
        <p:sp>
          <p:nvSpPr>
            <p:cNvPr id="8" name="Freeform 8">
              <a:extLst>
                <a:ext uri="{FF2B5EF4-FFF2-40B4-BE49-F238E27FC236}">
                  <a16:creationId xmlns:a16="http://schemas.microsoft.com/office/drawing/2014/main" id="{F2AEACCC-D0C9-4239-9372-BDC6AD9EDCDE}"/>
                </a:ext>
              </a:extLst>
            </p:cNvPr>
            <p:cNvSpPr>
              <a:spLocks/>
            </p:cNvSpPr>
            <p:nvPr/>
          </p:nvSpPr>
          <p:spPr bwMode="auto">
            <a:xfrm>
              <a:off x="1085850" y="795338"/>
              <a:ext cx="61913" cy="77788"/>
            </a:xfrm>
            <a:custGeom>
              <a:avLst/>
              <a:gdLst>
                <a:gd name="T0" fmla="*/ 50 w 60"/>
                <a:gd name="T1" fmla="*/ 23 h 75"/>
                <a:gd name="T2" fmla="*/ 31 w 60"/>
                <a:gd name="T3" fmla="*/ 9 h 75"/>
                <a:gd name="T4" fmla="*/ 10 w 60"/>
                <a:gd name="T5" fmla="*/ 37 h 75"/>
                <a:gd name="T6" fmla="*/ 32 w 60"/>
                <a:gd name="T7" fmla="*/ 66 h 75"/>
                <a:gd name="T8" fmla="*/ 51 w 60"/>
                <a:gd name="T9" fmla="*/ 47 h 75"/>
                <a:gd name="T10" fmla="*/ 60 w 60"/>
                <a:gd name="T11" fmla="*/ 47 h 75"/>
                <a:gd name="T12" fmla="*/ 30 w 60"/>
                <a:gd name="T13" fmla="*/ 75 h 75"/>
                <a:gd name="T14" fmla="*/ 0 w 60"/>
                <a:gd name="T15" fmla="*/ 37 h 75"/>
                <a:gd name="T16" fmla="*/ 31 w 60"/>
                <a:gd name="T17" fmla="*/ 0 h 75"/>
                <a:gd name="T18" fmla="*/ 59 w 60"/>
                <a:gd name="T19" fmla="*/ 23 h 75"/>
                <a:gd name="T20" fmla="*/ 50 w 60"/>
                <a:gd name="T21"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75">
                  <a:moveTo>
                    <a:pt x="50" y="23"/>
                  </a:moveTo>
                  <a:cubicBezTo>
                    <a:pt x="48" y="11"/>
                    <a:pt x="38" y="9"/>
                    <a:pt x="31" y="9"/>
                  </a:cubicBezTo>
                  <a:cubicBezTo>
                    <a:pt x="19" y="9"/>
                    <a:pt x="10" y="18"/>
                    <a:pt x="10" y="37"/>
                  </a:cubicBezTo>
                  <a:cubicBezTo>
                    <a:pt x="10" y="53"/>
                    <a:pt x="15" y="66"/>
                    <a:pt x="32" y="66"/>
                  </a:cubicBezTo>
                  <a:cubicBezTo>
                    <a:pt x="38" y="66"/>
                    <a:pt x="48" y="63"/>
                    <a:pt x="51" y="47"/>
                  </a:cubicBezTo>
                  <a:cubicBezTo>
                    <a:pt x="60" y="47"/>
                    <a:pt x="60" y="47"/>
                    <a:pt x="60" y="47"/>
                  </a:cubicBezTo>
                  <a:cubicBezTo>
                    <a:pt x="56" y="73"/>
                    <a:pt x="35" y="75"/>
                    <a:pt x="30" y="75"/>
                  </a:cubicBezTo>
                  <a:cubicBezTo>
                    <a:pt x="15" y="75"/>
                    <a:pt x="0" y="64"/>
                    <a:pt x="0" y="37"/>
                  </a:cubicBezTo>
                  <a:cubicBezTo>
                    <a:pt x="0" y="15"/>
                    <a:pt x="12" y="0"/>
                    <a:pt x="31" y="0"/>
                  </a:cubicBezTo>
                  <a:cubicBezTo>
                    <a:pt x="49" y="0"/>
                    <a:pt x="58" y="11"/>
                    <a:pt x="59" y="23"/>
                  </a:cubicBezTo>
                  <a:lnTo>
                    <a:pt x="50" y="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9" name="Freeform 9">
              <a:extLst>
                <a:ext uri="{FF2B5EF4-FFF2-40B4-BE49-F238E27FC236}">
                  <a16:creationId xmlns:a16="http://schemas.microsoft.com/office/drawing/2014/main" id="{809C0147-C90C-46CD-8DC4-9A2F6BA8CFB0}"/>
                </a:ext>
              </a:extLst>
            </p:cNvPr>
            <p:cNvSpPr>
              <a:spLocks noEditPoints="1"/>
            </p:cNvSpPr>
            <p:nvPr/>
          </p:nvSpPr>
          <p:spPr bwMode="auto">
            <a:xfrm>
              <a:off x="1171575" y="795338"/>
              <a:ext cx="66675" cy="77788"/>
            </a:xfrm>
            <a:custGeom>
              <a:avLst/>
              <a:gdLst>
                <a:gd name="T0" fmla="*/ 32 w 65"/>
                <a:gd name="T1" fmla="*/ 75 h 75"/>
                <a:gd name="T2" fmla="*/ 0 w 65"/>
                <a:gd name="T3" fmla="*/ 37 h 75"/>
                <a:gd name="T4" fmla="*/ 32 w 65"/>
                <a:gd name="T5" fmla="*/ 0 h 75"/>
                <a:gd name="T6" fmla="*/ 65 w 65"/>
                <a:gd name="T7" fmla="*/ 37 h 75"/>
                <a:gd name="T8" fmla="*/ 32 w 65"/>
                <a:gd name="T9" fmla="*/ 75 h 75"/>
                <a:gd name="T10" fmla="*/ 32 w 65"/>
                <a:gd name="T11" fmla="*/ 9 h 75"/>
                <a:gd name="T12" fmla="*/ 9 w 65"/>
                <a:gd name="T13" fmla="*/ 37 h 75"/>
                <a:gd name="T14" fmla="*/ 32 w 65"/>
                <a:gd name="T15" fmla="*/ 66 h 75"/>
                <a:gd name="T16" fmla="*/ 56 w 65"/>
                <a:gd name="T17" fmla="*/ 37 h 75"/>
                <a:gd name="T18" fmla="*/ 32 w 65"/>
                <a:gd name="T19"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32" y="75"/>
                  </a:moveTo>
                  <a:cubicBezTo>
                    <a:pt x="7" y="75"/>
                    <a:pt x="0" y="53"/>
                    <a:pt x="0" y="37"/>
                  </a:cubicBezTo>
                  <a:cubicBezTo>
                    <a:pt x="0" y="22"/>
                    <a:pt x="7" y="0"/>
                    <a:pt x="32" y="0"/>
                  </a:cubicBezTo>
                  <a:cubicBezTo>
                    <a:pt x="57" y="0"/>
                    <a:pt x="65" y="22"/>
                    <a:pt x="65" y="37"/>
                  </a:cubicBezTo>
                  <a:cubicBezTo>
                    <a:pt x="65" y="53"/>
                    <a:pt x="57" y="75"/>
                    <a:pt x="32" y="75"/>
                  </a:cubicBezTo>
                  <a:close/>
                  <a:moveTo>
                    <a:pt x="32" y="9"/>
                  </a:moveTo>
                  <a:cubicBezTo>
                    <a:pt x="18" y="9"/>
                    <a:pt x="9" y="21"/>
                    <a:pt x="9" y="37"/>
                  </a:cubicBezTo>
                  <a:cubicBezTo>
                    <a:pt x="9" y="54"/>
                    <a:pt x="18" y="66"/>
                    <a:pt x="32" y="66"/>
                  </a:cubicBezTo>
                  <a:cubicBezTo>
                    <a:pt x="47" y="66"/>
                    <a:pt x="56" y="54"/>
                    <a:pt x="56" y="37"/>
                  </a:cubicBezTo>
                  <a:cubicBezTo>
                    <a:pt x="56" y="21"/>
                    <a:pt x="47" y="9"/>
                    <a:pt x="32"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10" name="Freeform 10">
              <a:extLst>
                <a:ext uri="{FF2B5EF4-FFF2-40B4-BE49-F238E27FC236}">
                  <a16:creationId xmlns:a16="http://schemas.microsoft.com/office/drawing/2014/main" id="{7C1E6C4F-9C25-48B8-BFEE-8E4A4D8F262B}"/>
                </a:ext>
              </a:extLst>
            </p:cNvPr>
            <p:cNvSpPr>
              <a:spLocks/>
            </p:cNvSpPr>
            <p:nvPr/>
          </p:nvSpPr>
          <p:spPr bwMode="auto">
            <a:xfrm>
              <a:off x="1266825" y="796925"/>
              <a:ext cx="53975" cy="73025"/>
            </a:xfrm>
            <a:custGeom>
              <a:avLst/>
              <a:gdLst>
                <a:gd name="T0" fmla="*/ 28 w 34"/>
                <a:gd name="T1" fmla="*/ 0 h 46"/>
                <a:gd name="T2" fmla="*/ 34 w 34"/>
                <a:gd name="T3" fmla="*/ 0 h 46"/>
                <a:gd name="T4" fmla="*/ 34 w 34"/>
                <a:gd name="T5" fmla="*/ 46 h 46"/>
                <a:gd name="T6" fmla="*/ 27 w 34"/>
                <a:gd name="T7" fmla="*/ 46 h 46"/>
                <a:gd name="T8" fmla="*/ 6 w 34"/>
                <a:gd name="T9" fmla="*/ 9 h 46"/>
                <a:gd name="T10" fmla="*/ 6 w 34"/>
                <a:gd name="T11" fmla="*/ 9 h 46"/>
                <a:gd name="T12" fmla="*/ 6 w 34"/>
                <a:gd name="T13" fmla="*/ 46 h 46"/>
                <a:gd name="T14" fmla="*/ 0 w 34"/>
                <a:gd name="T15" fmla="*/ 46 h 46"/>
                <a:gd name="T16" fmla="*/ 0 w 34"/>
                <a:gd name="T17" fmla="*/ 0 h 46"/>
                <a:gd name="T18" fmla="*/ 7 w 34"/>
                <a:gd name="T19" fmla="*/ 0 h 46"/>
                <a:gd name="T20" fmla="*/ 28 w 34"/>
                <a:gd name="T21" fmla="*/ 37 h 46"/>
                <a:gd name="T22" fmla="*/ 28 w 34"/>
                <a:gd name="T23" fmla="*/ 37 h 46"/>
                <a:gd name="T24" fmla="*/ 28 w 34"/>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6">
                  <a:moveTo>
                    <a:pt x="28" y="0"/>
                  </a:moveTo>
                  <a:lnTo>
                    <a:pt x="34" y="0"/>
                  </a:lnTo>
                  <a:lnTo>
                    <a:pt x="34" y="46"/>
                  </a:lnTo>
                  <a:lnTo>
                    <a:pt x="27" y="46"/>
                  </a:lnTo>
                  <a:lnTo>
                    <a:pt x="6" y="9"/>
                  </a:lnTo>
                  <a:lnTo>
                    <a:pt x="6" y="9"/>
                  </a:lnTo>
                  <a:lnTo>
                    <a:pt x="6" y="46"/>
                  </a:lnTo>
                  <a:lnTo>
                    <a:pt x="0" y="46"/>
                  </a:lnTo>
                  <a:lnTo>
                    <a:pt x="0" y="0"/>
                  </a:lnTo>
                  <a:lnTo>
                    <a:pt x="7" y="0"/>
                  </a:lnTo>
                  <a:lnTo>
                    <a:pt x="28" y="37"/>
                  </a:lnTo>
                  <a:lnTo>
                    <a:pt x="28" y="37"/>
                  </a:lnTo>
                  <a:lnTo>
                    <a:pt x="28"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11" name="Freeform 11">
              <a:extLst>
                <a:ext uri="{FF2B5EF4-FFF2-40B4-BE49-F238E27FC236}">
                  <a16:creationId xmlns:a16="http://schemas.microsoft.com/office/drawing/2014/main" id="{17465400-E943-48F0-8819-E57C35BCEC54}"/>
                </a:ext>
              </a:extLst>
            </p:cNvPr>
            <p:cNvSpPr>
              <a:spLocks/>
            </p:cNvSpPr>
            <p:nvPr/>
          </p:nvSpPr>
          <p:spPr bwMode="auto">
            <a:xfrm>
              <a:off x="1349375" y="795338"/>
              <a:ext cx="53975" cy="77788"/>
            </a:xfrm>
            <a:custGeom>
              <a:avLst/>
              <a:gdLst>
                <a:gd name="T0" fmla="*/ 43 w 53"/>
                <a:gd name="T1" fmla="*/ 23 h 75"/>
                <a:gd name="T2" fmla="*/ 26 w 53"/>
                <a:gd name="T3" fmla="*/ 8 h 75"/>
                <a:gd name="T4" fmla="*/ 11 w 53"/>
                <a:gd name="T5" fmla="*/ 21 h 75"/>
                <a:gd name="T6" fmla="*/ 27 w 53"/>
                <a:gd name="T7" fmla="*/ 32 h 75"/>
                <a:gd name="T8" fmla="*/ 53 w 53"/>
                <a:gd name="T9" fmla="*/ 53 h 75"/>
                <a:gd name="T10" fmla="*/ 27 w 53"/>
                <a:gd name="T11" fmla="*/ 75 h 75"/>
                <a:gd name="T12" fmla="*/ 0 w 53"/>
                <a:gd name="T13" fmla="*/ 50 h 75"/>
                <a:gd name="T14" fmla="*/ 8 w 53"/>
                <a:gd name="T15" fmla="*/ 50 h 75"/>
                <a:gd name="T16" fmla="*/ 27 w 53"/>
                <a:gd name="T17" fmla="*/ 66 h 75"/>
                <a:gd name="T18" fmla="*/ 44 w 53"/>
                <a:gd name="T19" fmla="*/ 55 h 75"/>
                <a:gd name="T20" fmla="*/ 21 w 53"/>
                <a:gd name="T21" fmla="*/ 40 h 75"/>
                <a:gd name="T22" fmla="*/ 2 w 53"/>
                <a:gd name="T23" fmla="*/ 22 h 75"/>
                <a:gd name="T24" fmla="*/ 25 w 53"/>
                <a:gd name="T25" fmla="*/ 0 h 75"/>
                <a:gd name="T26" fmla="*/ 51 w 53"/>
                <a:gd name="T27" fmla="*/ 23 h 75"/>
                <a:gd name="T28" fmla="*/ 43 w 53"/>
                <a:gd name="T29"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3" h="75">
                  <a:moveTo>
                    <a:pt x="43" y="23"/>
                  </a:moveTo>
                  <a:cubicBezTo>
                    <a:pt x="42" y="12"/>
                    <a:pt x="34" y="8"/>
                    <a:pt x="26" y="8"/>
                  </a:cubicBezTo>
                  <a:cubicBezTo>
                    <a:pt x="20" y="8"/>
                    <a:pt x="11" y="10"/>
                    <a:pt x="11" y="21"/>
                  </a:cubicBezTo>
                  <a:cubicBezTo>
                    <a:pt x="11" y="27"/>
                    <a:pt x="13" y="28"/>
                    <a:pt x="27" y="32"/>
                  </a:cubicBezTo>
                  <a:cubicBezTo>
                    <a:pt x="48" y="37"/>
                    <a:pt x="53" y="41"/>
                    <a:pt x="53" y="53"/>
                  </a:cubicBezTo>
                  <a:cubicBezTo>
                    <a:pt x="53" y="70"/>
                    <a:pt x="38" y="75"/>
                    <a:pt x="27" y="75"/>
                  </a:cubicBezTo>
                  <a:cubicBezTo>
                    <a:pt x="4" y="75"/>
                    <a:pt x="0" y="60"/>
                    <a:pt x="0" y="50"/>
                  </a:cubicBezTo>
                  <a:cubicBezTo>
                    <a:pt x="8" y="50"/>
                    <a:pt x="8" y="50"/>
                    <a:pt x="8" y="50"/>
                  </a:cubicBezTo>
                  <a:cubicBezTo>
                    <a:pt x="8" y="63"/>
                    <a:pt x="18" y="66"/>
                    <a:pt x="27" y="66"/>
                  </a:cubicBezTo>
                  <a:cubicBezTo>
                    <a:pt x="33" y="66"/>
                    <a:pt x="44" y="65"/>
                    <a:pt x="44" y="55"/>
                  </a:cubicBezTo>
                  <a:cubicBezTo>
                    <a:pt x="44" y="47"/>
                    <a:pt x="43" y="45"/>
                    <a:pt x="21" y="40"/>
                  </a:cubicBezTo>
                  <a:cubicBezTo>
                    <a:pt x="9" y="37"/>
                    <a:pt x="2" y="33"/>
                    <a:pt x="2" y="22"/>
                  </a:cubicBezTo>
                  <a:cubicBezTo>
                    <a:pt x="2" y="11"/>
                    <a:pt x="9" y="0"/>
                    <a:pt x="25" y="0"/>
                  </a:cubicBezTo>
                  <a:cubicBezTo>
                    <a:pt x="48" y="0"/>
                    <a:pt x="51" y="15"/>
                    <a:pt x="51" y="23"/>
                  </a:cubicBezTo>
                  <a:lnTo>
                    <a:pt x="43" y="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19" name="Freeform 12">
              <a:extLst>
                <a:ext uri="{FF2B5EF4-FFF2-40B4-BE49-F238E27FC236}">
                  <a16:creationId xmlns:a16="http://schemas.microsoft.com/office/drawing/2014/main" id="{CB3C6894-D57F-4FE3-A57B-B8F42F194BAF}"/>
                </a:ext>
              </a:extLst>
            </p:cNvPr>
            <p:cNvSpPr>
              <a:spLocks/>
            </p:cNvSpPr>
            <p:nvPr/>
          </p:nvSpPr>
          <p:spPr bwMode="auto">
            <a:xfrm>
              <a:off x="1431925" y="796925"/>
              <a:ext cx="53975" cy="76200"/>
            </a:xfrm>
            <a:custGeom>
              <a:avLst/>
              <a:gdLst>
                <a:gd name="T0" fmla="*/ 53 w 53"/>
                <a:gd name="T1" fmla="*/ 0 h 73"/>
                <a:gd name="T2" fmla="*/ 53 w 53"/>
                <a:gd name="T3" fmla="*/ 46 h 73"/>
                <a:gd name="T4" fmla="*/ 26 w 53"/>
                <a:gd name="T5" fmla="*/ 73 h 73"/>
                <a:gd name="T6" fmla="*/ 0 w 53"/>
                <a:gd name="T7" fmla="*/ 47 h 73"/>
                <a:gd name="T8" fmla="*/ 0 w 53"/>
                <a:gd name="T9" fmla="*/ 0 h 73"/>
                <a:gd name="T10" fmla="*/ 9 w 53"/>
                <a:gd name="T11" fmla="*/ 0 h 73"/>
                <a:gd name="T12" fmla="*/ 9 w 53"/>
                <a:gd name="T13" fmla="*/ 45 h 73"/>
                <a:gd name="T14" fmla="*/ 26 w 53"/>
                <a:gd name="T15" fmla="*/ 64 h 73"/>
                <a:gd name="T16" fmla="*/ 44 w 53"/>
                <a:gd name="T17" fmla="*/ 45 h 73"/>
                <a:gd name="T18" fmla="*/ 44 w 53"/>
                <a:gd name="T19" fmla="*/ 0 h 73"/>
                <a:gd name="T20" fmla="*/ 53 w 53"/>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3">
                  <a:moveTo>
                    <a:pt x="53" y="0"/>
                  </a:moveTo>
                  <a:cubicBezTo>
                    <a:pt x="53" y="46"/>
                    <a:pt x="53" y="46"/>
                    <a:pt x="53" y="46"/>
                  </a:cubicBezTo>
                  <a:cubicBezTo>
                    <a:pt x="53" y="60"/>
                    <a:pt x="44" y="73"/>
                    <a:pt x="26" y="73"/>
                  </a:cubicBezTo>
                  <a:cubicBezTo>
                    <a:pt x="8" y="73"/>
                    <a:pt x="0" y="60"/>
                    <a:pt x="0" y="47"/>
                  </a:cubicBezTo>
                  <a:cubicBezTo>
                    <a:pt x="0" y="0"/>
                    <a:pt x="0" y="0"/>
                    <a:pt x="0" y="0"/>
                  </a:cubicBezTo>
                  <a:cubicBezTo>
                    <a:pt x="9" y="0"/>
                    <a:pt x="9" y="0"/>
                    <a:pt x="9" y="0"/>
                  </a:cubicBezTo>
                  <a:cubicBezTo>
                    <a:pt x="9" y="45"/>
                    <a:pt x="9" y="45"/>
                    <a:pt x="9" y="45"/>
                  </a:cubicBezTo>
                  <a:cubicBezTo>
                    <a:pt x="9" y="60"/>
                    <a:pt x="18" y="64"/>
                    <a:pt x="26" y="64"/>
                  </a:cubicBezTo>
                  <a:cubicBezTo>
                    <a:pt x="35" y="64"/>
                    <a:pt x="44" y="60"/>
                    <a:pt x="44" y="45"/>
                  </a:cubicBezTo>
                  <a:cubicBezTo>
                    <a:pt x="44" y="0"/>
                    <a:pt x="44" y="0"/>
                    <a:pt x="44" y="0"/>
                  </a:cubicBezTo>
                  <a:lnTo>
                    <a:pt x="5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20" name="Freeform 13">
              <a:extLst>
                <a:ext uri="{FF2B5EF4-FFF2-40B4-BE49-F238E27FC236}">
                  <a16:creationId xmlns:a16="http://schemas.microsoft.com/office/drawing/2014/main" id="{2FB57AD1-2598-46B3-A621-00994876D49C}"/>
                </a:ext>
              </a:extLst>
            </p:cNvPr>
            <p:cNvSpPr>
              <a:spLocks/>
            </p:cNvSpPr>
            <p:nvPr/>
          </p:nvSpPr>
          <p:spPr bwMode="auto">
            <a:xfrm>
              <a:off x="1516063" y="796925"/>
              <a:ext cx="42863" cy="73025"/>
            </a:xfrm>
            <a:custGeom>
              <a:avLst/>
              <a:gdLst>
                <a:gd name="T0" fmla="*/ 5 w 27"/>
                <a:gd name="T1" fmla="*/ 41 h 46"/>
                <a:gd name="T2" fmla="*/ 27 w 27"/>
                <a:gd name="T3" fmla="*/ 41 h 46"/>
                <a:gd name="T4" fmla="*/ 27 w 27"/>
                <a:gd name="T5" fmla="*/ 46 h 46"/>
                <a:gd name="T6" fmla="*/ 0 w 27"/>
                <a:gd name="T7" fmla="*/ 46 h 46"/>
                <a:gd name="T8" fmla="*/ 0 w 27"/>
                <a:gd name="T9" fmla="*/ 0 h 46"/>
                <a:gd name="T10" fmla="*/ 5 w 27"/>
                <a:gd name="T11" fmla="*/ 0 h 46"/>
                <a:gd name="T12" fmla="*/ 5 w 27"/>
                <a:gd name="T13" fmla="*/ 41 h 46"/>
              </a:gdLst>
              <a:ahLst/>
              <a:cxnLst>
                <a:cxn ang="0">
                  <a:pos x="T0" y="T1"/>
                </a:cxn>
                <a:cxn ang="0">
                  <a:pos x="T2" y="T3"/>
                </a:cxn>
                <a:cxn ang="0">
                  <a:pos x="T4" y="T5"/>
                </a:cxn>
                <a:cxn ang="0">
                  <a:pos x="T6" y="T7"/>
                </a:cxn>
                <a:cxn ang="0">
                  <a:pos x="T8" y="T9"/>
                </a:cxn>
                <a:cxn ang="0">
                  <a:pos x="T10" y="T11"/>
                </a:cxn>
                <a:cxn ang="0">
                  <a:pos x="T12" y="T13"/>
                </a:cxn>
              </a:cxnLst>
              <a:rect l="0" t="0" r="r" b="b"/>
              <a:pathLst>
                <a:path w="27" h="46">
                  <a:moveTo>
                    <a:pt x="5" y="41"/>
                  </a:moveTo>
                  <a:lnTo>
                    <a:pt x="27" y="41"/>
                  </a:lnTo>
                  <a:lnTo>
                    <a:pt x="27" y="46"/>
                  </a:lnTo>
                  <a:lnTo>
                    <a:pt x="0" y="46"/>
                  </a:lnTo>
                  <a:lnTo>
                    <a:pt x="0" y="0"/>
                  </a:lnTo>
                  <a:lnTo>
                    <a:pt x="5" y="0"/>
                  </a:lnTo>
                  <a:lnTo>
                    <a:pt x="5" y="4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21" name="Freeform 14">
              <a:extLst>
                <a:ext uri="{FF2B5EF4-FFF2-40B4-BE49-F238E27FC236}">
                  <a16:creationId xmlns:a16="http://schemas.microsoft.com/office/drawing/2014/main" id="{A1F853E7-381F-4DB1-ACC2-897D0DB628BD}"/>
                </a:ext>
              </a:extLst>
            </p:cNvPr>
            <p:cNvSpPr>
              <a:spLocks/>
            </p:cNvSpPr>
            <p:nvPr/>
          </p:nvSpPr>
          <p:spPr bwMode="auto">
            <a:xfrm>
              <a:off x="1571625" y="796925"/>
              <a:ext cx="55563" cy="73025"/>
            </a:xfrm>
            <a:custGeom>
              <a:avLst/>
              <a:gdLst>
                <a:gd name="T0" fmla="*/ 20 w 35"/>
                <a:gd name="T1" fmla="*/ 46 h 46"/>
                <a:gd name="T2" fmla="*/ 14 w 35"/>
                <a:gd name="T3" fmla="*/ 46 h 46"/>
                <a:gd name="T4" fmla="*/ 14 w 35"/>
                <a:gd name="T5" fmla="*/ 6 h 46"/>
                <a:gd name="T6" fmla="*/ 0 w 35"/>
                <a:gd name="T7" fmla="*/ 6 h 46"/>
                <a:gd name="T8" fmla="*/ 0 w 35"/>
                <a:gd name="T9" fmla="*/ 0 h 46"/>
                <a:gd name="T10" fmla="*/ 35 w 35"/>
                <a:gd name="T11" fmla="*/ 0 h 46"/>
                <a:gd name="T12" fmla="*/ 35 w 35"/>
                <a:gd name="T13" fmla="*/ 6 h 46"/>
                <a:gd name="T14" fmla="*/ 20 w 35"/>
                <a:gd name="T15" fmla="*/ 6 h 46"/>
                <a:gd name="T16" fmla="*/ 20 w 35"/>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6">
                  <a:moveTo>
                    <a:pt x="20" y="46"/>
                  </a:moveTo>
                  <a:lnTo>
                    <a:pt x="14" y="46"/>
                  </a:lnTo>
                  <a:lnTo>
                    <a:pt x="14" y="6"/>
                  </a:lnTo>
                  <a:lnTo>
                    <a:pt x="0" y="6"/>
                  </a:lnTo>
                  <a:lnTo>
                    <a:pt x="0" y="0"/>
                  </a:lnTo>
                  <a:lnTo>
                    <a:pt x="35" y="0"/>
                  </a:lnTo>
                  <a:lnTo>
                    <a:pt x="35" y="6"/>
                  </a:lnTo>
                  <a:lnTo>
                    <a:pt x="20" y="6"/>
                  </a:lnTo>
                  <a:lnTo>
                    <a:pt x="20" y="4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22" name="Rectangle 15">
              <a:extLst>
                <a:ext uri="{FF2B5EF4-FFF2-40B4-BE49-F238E27FC236}">
                  <a16:creationId xmlns:a16="http://schemas.microsoft.com/office/drawing/2014/main" id="{BEB6FCDD-0232-44AE-BA9C-279DB706BF3A}"/>
                </a:ext>
              </a:extLst>
            </p:cNvPr>
            <p:cNvSpPr>
              <a:spLocks noChangeArrowheads="1"/>
            </p:cNvSpPr>
            <p:nvPr/>
          </p:nvSpPr>
          <p:spPr bwMode="auto">
            <a:xfrm>
              <a:off x="1652588" y="796925"/>
              <a:ext cx="7938" cy="730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27" name="Freeform 16">
              <a:extLst>
                <a:ext uri="{FF2B5EF4-FFF2-40B4-BE49-F238E27FC236}">
                  <a16:creationId xmlns:a16="http://schemas.microsoft.com/office/drawing/2014/main" id="{256C6B2E-070F-41BF-AB91-59BB5FA27AC0}"/>
                </a:ext>
              </a:extLst>
            </p:cNvPr>
            <p:cNvSpPr>
              <a:spLocks/>
            </p:cNvSpPr>
            <p:nvPr/>
          </p:nvSpPr>
          <p:spPr bwMode="auto">
            <a:xfrm>
              <a:off x="1690688" y="796925"/>
              <a:ext cx="55563" cy="73025"/>
            </a:xfrm>
            <a:custGeom>
              <a:avLst/>
              <a:gdLst>
                <a:gd name="T0" fmla="*/ 29 w 35"/>
                <a:gd name="T1" fmla="*/ 0 h 46"/>
                <a:gd name="T2" fmla="*/ 35 w 35"/>
                <a:gd name="T3" fmla="*/ 0 h 46"/>
                <a:gd name="T4" fmla="*/ 35 w 35"/>
                <a:gd name="T5" fmla="*/ 46 h 46"/>
                <a:gd name="T6" fmla="*/ 28 w 35"/>
                <a:gd name="T7" fmla="*/ 46 h 46"/>
                <a:gd name="T8" fmla="*/ 6 w 35"/>
                <a:gd name="T9" fmla="*/ 9 h 46"/>
                <a:gd name="T10" fmla="*/ 6 w 35"/>
                <a:gd name="T11" fmla="*/ 9 h 46"/>
                <a:gd name="T12" fmla="*/ 6 w 35"/>
                <a:gd name="T13" fmla="*/ 46 h 46"/>
                <a:gd name="T14" fmla="*/ 0 w 35"/>
                <a:gd name="T15" fmla="*/ 46 h 46"/>
                <a:gd name="T16" fmla="*/ 0 w 35"/>
                <a:gd name="T17" fmla="*/ 0 h 46"/>
                <a:gd name="T18" fmla="*/ 7 w 35"/>
                <a:gd name="T19" fmla="*/ 0 h 46"/>
                <a:gd name="T20" fmla="*/ 29 w 35"/>
                <a:gd name="T21" fmla="*/ 37 h 46"/>
                <a:gd name="T22" fmla="*/ 29 w 35"/>
                <a:gd name="T23" fmla="*/ 37 h 46"/>
                <a:gd name="T24" fmla="*/ 29 w 35"/>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6">
                  <a:moveTo>
                    <a:pt x="29" y="0"/>
                  </a:moveTo>
                  <a:lnTo>
                    <a:pt x="35" y="0"/>
                  </a:lnTo>
                  <a:lnTo>
                    <a:pt x="35" y="46"/>
                  </a:lnTo>
                  <a:lnTo>
                    <a:pt x="28" y="46"/>
                  </a:lnTo>
                  <a:lnTo>
                    <a:pt x="6" y="9"/>
                  </a:lnTo>
                  <a:lnTo>
                    <a:pt x="6" y="9"/>
                  </a:lnTo>
                  <a:lnTo>
                    <a:pt x="6" y="46"/>
                  </a:lnTo>
                  <a:lnTo>
                    <a:pt x="0" y="46"/>
                  </a:lnTo>
                  <a:lnTo>
                    <a:pt x="0" y="0"/>
                  </a:lnTo>
                  <a:lnTo>
                    <a:pt x="7" y="0"/>
                  </a:lnTo>
                  <a:lnTo>
                    <a:pt x="29" y="37"/>
                  </a:lnTo>
                  <a:lnTo>
                    <a:pt x="29" y="37"/>
                  </a:lnTo>
                  <a:lnTo>
                    <a:pt x="29"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2" name="Freeform 17">
              <a:extLst>
                <a:ext uri="{FF2B5EF4-FFF2-40B4-BE49-F238E27FC236}">
                  <a16:creationId xmlns:a16="http://schemas.microsoft.com/office/drawing/2014/main" id="{4934B258-7D22-48E7-9677-5CE640ED95AD}"/>
                </a:ext>
              </a:extLst>
            </p:cNvPr>
            <p:cNvSpPr>
              <a:spLocks/>
            </p:cNvSpPr>
            <p:nvPr/>
          </p:nvSpPr>
          <p:spPr bwMode="auto">
            <a:xfrm>
              <a:off x="1773238" y="795338"/>
              <a:ext cx="63500" cy="77788"/>
            </a:xfrm>
            <a:custGeom>
              <a:avLst/>
              <a:gdLst>
                <a:gd name="T0" fmla="*/ 31 w 61"/>
                <a:gd name="T1" fmla="*/ 35 h 75"/>
                <a:gd name="T2" fmla="*/ 61 w 61"/>
                <a:gd name="T3" fmla="*/ 35 h 75"/>
                <a:gd name="T4" fmla="*/ 61 w 61"/>
                <a:gd name="T5" fmla="*/ 73 h 75"/>
                <a:gd name="T6" fmla="*/ 55 w 61"/>
                <a:gd name="T7" fmla="*/ 73 h 75"/>
                <a:gd name="T8" fmla="*/ 53 w 61"/>
                <a:gd name="T9" fmla="*/ 64 h 75"/>
                <a:gd name="T10" fmla="*/ 31 w 61"/>
                <a:gd name="T11" fmla="*/ 75 h 75"/>
                <a:gd name="T12" fmla="*/ 0 w 61"/>
                <a:gd name="T13" fmla="*/ 37 h 75"/>
                <a:gd name="T14" fmla="*/ 31 w 61"/>
                <a:gd name="T15" fmla="*/ 0 h 75"/>
                <a:gd name="T16" fmla="*/ 60 w 61"/>
                <a:gd name="T17" fmla="*/ 24 h 75"/>
                <a:gd name="T18" fmla="*/ 51 w 61"/>
                <a:gd name="T19" fmla="*/ 24 h 75"/>
                <a:gd name="T20" fmla="*/ 31 w 61"/>
                <a:gd name="T21" fmla="*/ 9 h 75"/>
                <a:gd name="T22" fmla="*/ 9 w 61"/>
                <a:gd name="T23" fmla="*/ 37 h 75"/>
                <a:gd name="T24" fmla="*/ 31 w 61"/>
                <a:gd name="T25" fmla="*/ 66 h 75"/>
                <a:gd name="T26" fmla="*/ 45 w 61"/>
                <a:gd name="T27" fmla="*/ 62 h 75"/>
                <a:gd name="T28" fmla="*/ 52 w 61"/>
                <a:gd name="T29" fmla="*/ 43 h 75"/>
                <a:gd name="T30" fmla="*/ 31 w 61"/>
                <a:gd name="T31" fmla="*/ 43 h 75"/>
                <a:gd name="T32" fmla="*/ 31 w 61"/>
                <a:gd name="T33" fmla="*/ 3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75">
                  <a:moveTo>
                    <a:pt x="31" y="35"/>
                  </a:moveTo>
                  <a:cubicBezTo>
                    <a:pt x="61" y="35"/>
                    <a:pt x="61" y="35"/>
                    <a:pt x="61" y="35"/>
                  </a:cubicBezTo>
                  <a:cubicBezTo>
                    <a:pt x="61" y="73"/>
                    <a:pt x="61" y="73"/>
                    <a:pt x="61" y="73"/>
                  </a:cubicBezTo>
                  <a:cubicBezTo>
                    <a:pt x="55" y="73"/>
                    <a:pt x="55" y="73"/>
                    <a:pt x="55" y="73"/>
                  </a:cubicBezTo>
                  <a:cubicBezTo>
                    <a:pt x="53" y="64"/>
                    <a:pt x="53" y="64"/>
                    <a:pt x="53" y="64"/>
                  </a:cubicBezTo>
                  <a:cubicBezTo>
                    <a:pt x="48" y="70"/>
                    <a:pt x="40" y="75"/>
                    <a:pt x="31" y="75"/>
                  </a:cubicBezTo>
                  <a:cubicBezTo>
                    <a:pt x="7" y="75"/>
                    <a:pt x="0" y="54"/>
                    <a:pt x="0" y="37"/>
                  </a:cubicBezTo>
                  <a:cubicBezTo>
                    <a:pt x="0" y="20"/>
                    <a:pt x="10" y="0"/>
                    <a:pt x="31" y="0"/>
                  </a:cubicBezTo>
                  <a:cubicBezTo>
                    <a:pt x="44" y="0"/>
                    <a:pt x="58" y="8"/>
                    <a:pt x="60" y="24"/>
                  </a:cubicBezTo>
                  <a:cubicBezTo>
                    <a:pt x="51" y="24"/>
                    <a:pt x="51" y="24"/>
                    <a:pt x="51" y="24"/>
                  </a:cubicBezTo>
                  <a:cubicBezTo>
                    <a:pt x="48" y="11"/>
                    <a:pt x="38" y="9"/>
                    <a:pt x="31" y="9"/>
                  </a:cubicBezTo>
                  <a:cubicBezTo>
                    <a:pt x="19" y="9"/>
                    <a:pt x="9" y="19"/>
                    <a:pt x="9" y="37"/>
                  </a:cubicBezTo>
                  <a:cubicBezTo>
                    <a:pt x="9" y="52"/>
                    <a:pt x="13" y="66"/>
                    <a:pt x="31" y="66"/>
                  </a:cubicBezTo>
                  <a:cubicBezTo>
                    <a:pt x="35" y="66"/>
                    <a:pt x="40" y="66"/>
                    <a:pt x="45" y="62"/>
                  </a:cubicBezTo>
                  <a:cubicBezTo>
                    <a:pt x="51" y="57"/>
                    <a:pt x="52" y="51"/>
                    <a:pt x="52" y="43"/>
                  </a:cubicBezTo>
                  <a:cubicBezTo>
                    <a:pt x="31" y="43"/>
                    <a:pt x="31" y="43"/>
                    <a:pt x="31" y="43"/>
                  </a:cubicBezTo>
                  <a:lnTo>
                    <a:pt x="31"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3" name="Freeform 18">
              <a:extLst>
                <a:ext uri="{FF2B5EF4-FFF2-40B4-BE49-F238E27FC236}">
                  <a16:creationId xmlns:a16="http://schemas.microsoft.com/office/drawing/2014/main" id="{813AA5CE-5D7D-4FC5-9218-85E6A998C846}"/>
                </a:ext>
              </a:extLst>
            </p:cNvPr>
            <p:cNvSpPr>
              <a:spLocks/>
            </p:cNvSpPr>
            <p:nvPr/>
          </p:nvSpPr>
          <p:spPr bwMode="auto">
            <a:xfrm>
              <a:off x="1917700" y="795338"/>
              <a:ext cx="63500" cy="77788"/>
            </a:xfrm>
            <a:custGeom>
              <a:avLst/>
              <a:gdLst>
                <a:gd name="T0" fmla="*/ 32 w 62"/>
                <a:gd name="T1" fmla="*/ 35 h 75"/>
                <a:gd name="T2" fmla="*/ 62 w 62"/>
                <a:gd name="T3" fmla="*/ 35 h 75"/>
                <a:gd name="T4" fmla="*/ 62 w 62"/>
                <a:gd name="T5" fmla="*/ 73 h 75"/>
                <a:gd name="T6" fmla="*/ 56 w 62"/>
                <a:gd name="T7" fmla="*/ 73 h 75"/>
                <a:gd name="T8" fmla="*/ 53 w 62"/>
                <a:gd name="T9" fmla="*/ 64 h 75"/>
                <a:gd name="T10" fmla="*/ 31 w 62"/>
                <a:gd name="T11" fmla="*/ 75 h 75"/>
                <a:gd name="T12" fmla="*/ 0 w 62"/>
                <a:gd name="T13" fmla="*/ 37 h 75"/>
                <a:gd name="T14" fmla="*/ 32 w 62"/>
                <a:gd name="T15" fmla="*/ 0 h 75"/>
                <a:gd name="T16" fmla="*/ 60 w 62"/>
                <a:gd name="T17" fmla="*/ 24 h 75"/>
                <a:gd name="T18" fmla="*/ 52 w 62"/>
                <a:gd name="T19" fmla="*/ 24 h 75"/>
                <a:gd name="T20" fmla="*/ 32 w 62"/>
                <a:gd name="T21" fmla="*/ 9 h 75"/>
                <a:gd name="T22" fmla="*/ 10 w 62"/>
                <a:gd name="T23" fmla="*/ 37 h 75"/>
                <a:gd name="T24" fmla="*/ 32 w 62"/>
                <a:gd name="T25" fmla="*/ 66 h 75"/>
                <a:gd name="T26" fmla="*/ 46 w 62"/>
                <a:gd name="T27" fmla="*/ 62 h 75"/>
                <a:gd name="T28" fmla="*/ 53 w 62"/>
                <a:gd name="T29" fmla="*/ 43 h 75"/>
                <a:gd name="T30" fmla="*/ 32 w 62"/>
                <a:gd name="T31" fmla="*/ 43 h 75"/>
                <a:gd name="T32" fmla="*/ 32 w 62"/>
                <a:gd name="T33" fmla="*/ 3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75">
                  <a:moveTo>
                    <a:pt x="32" y="35"/>
                  </a:moveTo>
                  <a:cubicBezTo>
                    <a:pt x="62" y="35"/>
                    <a:pt x="62" y="35"/>
                    <a:pt x="62" y="35"/>
                  </a:cubicBezTo>
                  <a:cubicBezTo>
                    <a:pt x="62" y="73"/>
                    <a:pt x="62" y="73"/>
                    <a:pt x="62" y="73"/>
                  </a:cubicBezTo>
                  <a:cubicBezTo>
                    <a:pt x="56" y="73"/>
                    <a:pt x="56" y="73"/>
                    <a:pt x="56" y="73"/>
                  </a:cubicBezTo>
                  <a:cubicBezTo>
                    <a:pt x="53" y="64"/>
                    <a:pt x="53" y="64"/>
                    <a:pt x="53" y="64"/>
                  </a:cubicBezTo>
                  <a:cubicBezTo>
                    <a:pt x="49" y="70"/>
                    <a:pt x="41" y="75"/>
                    <a:pt x="31" y="75"/>
                  </a:cubicBezTo>
                  <a:cubicBezTo>
                    <a:pt x="8" y="75"/>
                    <a:pt x="0" y="54"/>
                    <a:pt x="0" y="37"/>
                  </a:cubicBezTo>
                  <a:cubicBezTo>
                    <a:pt x="0" y="20"/>
                    <a:pt x="10" y="0"/>
                    <a:pt x="32" y="0"/>
                  </a:cubicBezTo>
                  <a:cubicBezTo>
                    <a:pt x="45" y="0"/>
                    <a:pt x="58" y="8"/>
                    <a:pt x="60" y="24"/>
                  </a:cubicBezTo>
                  <a:cubicBezTo>
                    <a:pt x="52" y="24"/>
                    <a:pt x="52" y="24"/>
                    <a:pt x="52" y="24"/>
                  </a:cubicBezTo>
                  <a:cubicBezTo>
                    <a:pt x="49" y="11"/>
                    <a:pt x="39" y="9"/>
                    <a:pt x="32" y="9"/>
                  </a:cubicBezTo>
                  <a:cubicBezTo>
                    <a:pt x="20" y="9"/>
                    <a:pt x="10" y="19"/>
                    <a:pt x="10" y="37"/>
                  </a:cubicBezTo>
                  <a:cubicBezTo>
                    <a:pt x="10" y="52"/>
                    <a:pt x="14" y="66"/>
                    <a:pt x="32" y="66"/>
                  </a:cubicBezTo>
                  <a:cubicBezTo>
                    <a:pt x="35" y="66"/>
                    <a:pt x="41" y="66"/>
                    <a:pt x="46" y="62"/>
                  </a:cubicBezTo>
                  <a:cubicBezTo>
                    <a:pt x="52" y="57"/>
                    <a:pt x="53" y="51"/>
                    <a:pt x="53" y="43"/>
                  </a:cubicBezTo>
                  <a:cubicBezTo>
                    <a:pt x="32" y="43"/>
                    <a:pt x="32" y="43"/>
                    <a:pt x="32" y="43"/>
                  </a:cubicBezTo>
                  <a:lnTo>
                    <a:pt x="32" y="3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4" name="Freeform 19">
              <a:extLst>
                <a:ext uri="{FF2B5EF4-FFF2-40B4-BE49-F238E27FC236}">
                  <a16:creationId xmlns:a16="http://schemas.microsoft.com/office/drawing/2014/main" id="{2BCAA7CC-8894-4470-8A98-7E9A210E5EB1}"/>
                </a:ext>
              </a:extLst>
            </p:cNvPr>
            <p:cNvSpPr>
              <a:spLocks noEditPoints="1"/>
            </p:cNvSpPr>
            <p:nvPr/>
          </p:nvSpPr>
          <p:spPr bwMode="auto">
            <a:xfrm>
              <a:off x="2011363" y="796925"/>
              <a:ext cx="57150" cy="73025"/>
            </a:xfrm>
            <a:custGeom>
              <a:avLst/>
              <a:gdLst>
                <a:gd name="T0" fmla="*/ 9 w 56"/>
                <a:gd name="T1" fmla="*/ 71 h 71"/>
                <a:gd name="T2" fmla="*/ 0 w 56"/>
                <a:gd name="T3" fmla="*/ 71 h 71"/>
                <a:gd name="T4" fmla="*/ 0 w 56"/>
                <a:gd name="T5" fmla="*/ 0 h 71"/>
                <a:gd name="T6" fmla="*/ 31 w 56"/>
                <a:gd name="T7" fmla="*/ 0 h 71"/>
                <a:gd name="T8" fmla="*/ 53 w 56"/>
                <a:gd name="T9" fmla="*/ 19 h 71"/>
                <a:gd name="T10" fmla="*/ 44 w 56"/>
                <a:gd name="T11" fmla="*/ 36 h 71"/>
                <a:gd name="T12" fmla="*/ 52 w 56"/>
                <a:gd name="T13" fmla="*/ 49 h 71"/>
                <a:gd name="T14" fmla="*/ 52 w 56"/>
                <a:gd name="T15" fmla="*/ 62 h 71"/>
                <a:gd name="T16" fmla="*/ 56 w 56"/>
                <a:gd name="T17" fmla="*/ 69 h 71"/>
                <a:gd name="T18" fmla="*/ 56 w 56"/>
                <a:gd name="T19" fmla="*/ 71 h 71"/>
                <a:gd name="T20" fmla="*/ 45 w 56"/>
                <a:gd name="T21" fmla="*/ 71 h 71"/>
                <a:gd name="T22" fmla="*/ 43 w 56"/>
                <a:gd name="T23" fmla="*/ 53 h 71"/>
                <a:gd name="T24" fmla="*/ 31 w 56"/>
                <a:gd name="T25" fmla="*/ 40 h 71"/>
                <a:gd name="T26" fmla="*/ 9 w 56"/>
                <a:gd name="T27" fmla="*/ 40 h 71"/>
                <a:gd name="T28" fmla="*/ 9 w 56"/>
                <a:gd name="T29" fmla="*/ 71 h 71"/>
                <a:gd name="T30" fmla="*/ 9 w 56"/>
                <a:gd name="T31" fmla="*/ 32 h 71"/>
                <a:gd name="T32" fmla="*/ 30 w 56"/>
                <a:gd name="T33" fmla="*/ 32 h 71"/>
                <a:gd name="T34" fmla="*/ 44 w 56"/>
                <a:gd name="T35" fmla="*/ 20 h 71"/>
                <a:gd name="T36" fmla="*/ 32 w 56"/>
                <a:gd name="T37" fmla="*/ 8 h 71"/>
                <a:gd name="T38" fmla="*/ 9 w 56"/>
                <a:gd name="T39" fmla="*/ 8 h 71"/>
                <a:gd name="T40" fmla="*/ 9 w 56"/>
                <a:gd name="T41"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71">
                  <a:moveTo>
                    <a:pt x="9" y="71"/>
                  </a:moveTo>
                  <a:cubicBezTo>
                    <a:pt x="0" y="71"/>
                    <a:pt x="0" y="71"/>
                    <a:pt x="0" y="71"/>
                  </a:cubicBezTo>
                  <a:cubicBezTo>
                    <a:pt x="0" y="0"/>
                    <a:pt x="0" y="0"/>
                    <a:pt x="0" y="0"/>
                  </a:cubicBezTo>
                  <a:cubicBezTo>
                    <a:pt x="31" y="0"/>
                    <a:pt x="31" y="0"/>
                    <a:pt x="31" y="0"/>
                  </a:cubicBezTo>
                  <a:cubicBezTo>
                    <a:pt x="42" y="0"/>
                    <a:pt x="53" y="4"/>
                    <a:pt x="53" y="19"/>
                  </a:cubicBezTo>
                  <a:cubicBezTo>
                    <a:pt x="53" y="29"/>
                    <a:pt x="48" y="33"/>
                    <a:pt x="44" y="36"/>
                  </a:cubicBezTo>
                  <a:cubicBezTo>
                    <a:pt x="47" y="38"/>
                    <a:pt x="52" y="39"/>
                    <a:pt x="52" y="49"/>
                  </a:cubicBezTo>
                  <a:cubicBezTo>
                    <a:pt x="52" y="62"/>
                    <a:pt x="52" y="62"/>
                    <a:pt x="52" y="62"/>
                  </a:cubicBezTo>
                  <a:cubicBezTo>
                    <a:pt x="52" y="66"/>
                    <a:pt x="53" y="67"/>
                    <a:pt x="56" y="69"/>
                  </a:cubicBezTo>
                  <a:cubicBezTo>
                    <a:pt x="56" y="71"/>
                    <a:pt x="56" y="71"/>
                    <a:pt x="56" y="71"/>
                  </a:cubicBezTo>
                  <a:cubicBezTo>
                    <a:pt x="45" y="71"/>
                    <a:pt x="45" y="71"/>
                    <a:pt x="45" y="71"/>
                  </a:cubicBezTo>
                  <a:cubicBezTo>
                    <a:pt x="43" y="66"/>
                    <a:pt x="43" y="56"/>
                    <a:pt x="43" y="53"/>
                  </a:cubicBezTo>
                  <a:cubicBezTo>
                    <a:pt x="43" y="47"/>
                    <a:pt x="42" y="40"/>
                    <a:pt x="31" y="40"/>
                  </a:cubicBezTo>
                  <a:cubicBezTo>
                    <a:pt x="9" y="40"/>
                    <a:pt x="9" y="40"/>
                    <a:pt x="9" y="40"/>
                  </a:cubicBezTo>
                  <a:lnTo>
                    <a:pt x="9" y="71"/>
                  </a:lnTo>
                  <a:close/>
                  <a:moveTo>
                    <a:pt x="9" y="32"/>
                  </a:moveTo>
                  <a:cubicBezTo>
                    <a:pt x="30" y="32"/>
                    <a:pt x="30" y="32"/>
                    <a:pt x="30" y="32"/>
                  </a:cubicBezTo>
                  <a:cubicBezTo>
                    <a:pt x="37" y="32"/>
                    <a:pt x="44" y="30"/>
                    <a:pt x="44" y="20"/>
                  </a:cubicBezTo>
                  <a:cubicBezTo>
                    <a:pt x="44" y="9"/>
                    <a:pt x="36" y="8"/>
                    <a:pt x="32" y="8"/>
                  </a:cubicBezTo>
                  <a:cubicBezTo>
                    <a:pt x="9" y="8"/>
                    <a:pt x="9" y="8"/>
                    <a:pt x="9" y="8"/>
                  </a:cubicBezTo>
                  <a:lnTo>
                    <a:pt x="9"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5" name="Freeform 20">
              <a:extLst>
                <a:ext uri="{FF2B5EF4-FFF2-40B4-BE49-F238E27FC236}">
                  <a16:creationId xmlns:a16="http://schemas.microsoft.com/office/drawing/2014/main" id="{B9A1B071-52B6-4300-BDCD-11148310F611}"/>
                </a:ext>
              </a:extLst>
            </p:cNvPr>
            <p:cNvSpPr>
              <a:spLocks noEditPoints="1"/>
            </p:cNvSpPr>
            <p:nvPr/>
          </p:nvSpPr>
          <p:spPr bwMode="auto">
            <a:xfrm>
              <a:off x="2092325" y="795338"/>
              <a:ext cx="66675" cy="77788"/>
            </a:xfrm>
            <a:custGeom>
              <a:avLst/>
              <a:gdLst>
                <a:gd name="T0" fmla="*/ 32 w 65"/>
                <a:gd name="T1" fmla="*/ 75 h 75"/>
                <a:gd name="T2" fmla="*/ 0 w 65"/>
                <a:gd name="T3" fmla="*/ 37 h 75"/>
                <a:gd name="T4" fmla="*/ 32 w 65"/>
                <a:gd name="T5" fmla="*/ 0 h 75"/>
                <a:gd name="T6" fmla="*/ 65 w 65"/>
                <a:gd name="T7" fmla="*/ 37 h 75"/>
                <a:gd name="T8" fmla="*/ 32 w 65"/>
                <a:gd name="T9" fmla="*/ 75 h 75"/>
                <a:gd name="T10" fmla="*/ 32 w 65"/>
                <a:gd name="T11" fmla="*/ 9 h 75"/>
                <a:gd name="T12" fmla="*/ 9 w 65"/>
                <a:gd name="T13" fmla="*/ 37 h 75"/>
                <a:gd name="T14" fmla="*/ 32 w 65"/>
                <a:gd name="T15" fmla="*/ 66 h 75"/>
                <a:gd name="T16" fmla="*/ 56 w 65"/>
                <a:gd name="T17" fmla="*/ 37 h 75"/>
                <a:gd name="T18" fmla="*/ 32 w 65"/>
                <a:gd name="T19"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75">
                  <a:moveTo>
                    <a:pt x="32" y="75"/>
                  </a:moveTo>
                  <a:cubicBezTo>
                    <a:pt x="7" y="75"/>
                    <a:pt x="0" y="53"/>
                    <a:pt x="0" y="37"/>
                  </a:cubicBezTo>
                  <a:cubicBezTo>
                    <a:pt x="0" y="22"/>
                    <a:pt x="7" y="0"/>
                    <a:pt x="32" y="0"/>
                  </a:cubicBezTo>
                  <a:cubicBezTo>
                    <a:pt x="57" y="0"/>
                    <a:pt x="65" y="22"/>
                    <a:pt x="65" y="37"/>
                  </a:cubicBezTo>
                  <a:cubicBezTo>
                    <a:pt x="65" y="53"/>
                    <a:pt x="57" y="75"/>
                    <a:pt x="32" y="75"/>
                  </a:cubicBezTo>
                  <a:close/>
                  <a:moveTo>
                    <a:pt x="32" y="9"/>
                  </a:moveTo>
                  <a:cubicBezTo>
                    <a:pt x="18" y="9"/>
                    <a:pt x="9" y="21"/>
                    <a:pt x="9" y="37"/>
                  </a:cubicBezTo>
                  <a:cubicBezTo>
                    <a:pt x="9" y="54"/>
                    <a:pt x="18" y="66"/>
                    <a:pt x="32" y="66"/>
                  </a:cubicBezTo>
                  <a:cubicBezTo>
                    <a:pt x="47" y="66"/>
                    <a:pt x="56" y="54"/>
                    <a:pt x="56" y="37"/>
                  </a:cubicBezTo>
                  <a:cubicBezTo>
                    <a:pt x="56" y="21"/>
                    <a:pt x="47" y="9"/>
                    <a:pt x="32" y="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6" name="Freeform 21">
              <a:extLst>
                <a:ext uri="{FF2B5EF4-FFF2-40B4-BE49-F238E27FC236}">
                  <a16:creationId xmlns:a16="http://schemas.microsoft.com/office/drawing/2014/main" id="{B4D4F731-FA98-453A-8BC2-654CEDECF404}"/>
                </a:ext>
              </a:extLst>
            </p:cNvPr>
            <p:cNvSpPr>
              <a:spLocks/>
            </p:cNvSpPr>
            <p:nvPr/>
          </p:nvSpPr>
          <p:spPr bwMode="auto">
            <a:xfrm>
              <a:off x="2187575" y="796925"/>
              <a:ext cx="53975" cy="76200"/>
            </a:xfrm>
            <a:custGeom>
              <a:avLst/>
              <a:gdLst>
                <a:gd name="T0" fmla="*/ 53 w 53"/>
                <a:gd name="T1" fmla="*/ 0 h 73"/>
                <a:gd name="T2" fmla="*/ 53 w 53"/>
                <a:gd name="T3" fmla="*/ 46 h 73"/>
                <a:gd name="T4" fmla="*/ 26 w 53"/>
                <a:gd name="T5" fmla="*/ 73 h 73"/>
                <a:gd name="T6" fmla="*/ 0 w 53"/>
                <a:gd name="T7" fmla="*/ 47 h 73"/>
                <a:gd name="T8" fmla="*/ 0 w 53"/>
                <a:gd name="T9" fmla="*/ 0 h 73"/>
                <a:gd name="T10" fmla="*/ 9 w 53"/>
                <a:gd name="T11" fmla="*/ 0 h 73"/>
                <a:gd name="T12" fmla="*/ 9 w 53"/>
                <a:gd name="T13" fmla="*/ 45 h 73"/>
                <a:gd name="T14" fmla="*/ 26 w 53"/>
                <a:gd name="T15" fmla="*/ 64 h 73"/>
                <a:gd name="T16" fmla="*/ 44 w 53"/>
                <a:gd name="T17" fmla="*/ 45 h 73"/>
                <a:gd name="T18" fmla="*/ 44 w 53"/>
                <a:gd name="T19" fmla="*/ 0 h 73"/>
                <a:gd name="T20" fmla="*/ 53 w 53"/>
                <a:gd name="T2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73">
                  <a:moveTo>
                    <a:pt x="53" y="0"/>
                  </a:moveTo>
                  <a:cubicBezTo>
                    <a:pt x="53" y="46"/>
                    <a:pt x="53" y="46"/>
                    <a:pt x="53" y="46"/>
                  </a:cubicBezTo>
                  <a:cubicBezTo>
                    <a:pt x="53" y="60"/>
                    <a:pt x="44" y="73"/>
                    <a:pt x="26" y="73"/>
                  </a:cubicBezTo>
                  <a:cubicBezTo>
                    <a:pt x="8" y="73"/>
                    <a:pt x="0" y="60"/>
                    <a:pt x="0" y="47"/>
                  </a:cubicBezTo>
                  <a:cubicBezTo>
                    <a:pt x="0" y="0"/>
                    <a:pt x="0" y="0"/>
                    <a:pt x="0" y="0"/>
                  </a:cubicBezTo>
                  <a:cubicBezTo>
                    <a:pt x="9" y="0"/>
                    <a:pt x="9" y="0"/>
                    <a:pt x="9" y="0"/>
                  </a:cubicBezTo>
                  <a:cubicBezTo>
                    <a:pt x="9" y="45"/>
                    <a:pt x="9" y="45"/>
                    <a:pt x="9" y="45"/>
                  </a:cubicBezTo>
                  <a:cubicBezTo>
                    <a:pt x="9" y="60"/>
                    <a:pt x="18" y="64"/>
                    <a:pt x="26" y="64"/>
                  </a:cubicBezTo>
                  <a:cubicBezTo>
                    <a:pt x="34" y="64"/>
                    <a:pt x="44" y="60"/>
                    <a:pt x="44" y="45"/>
                  </a:cubicBezTo>
                  <a:cubicBezTo>
                    <a:pt x="44" y="0"/>
                    <a:pt x="44" y="0"/>
                    <a:pt x="44" y="0"/>
                  </a:cubicBezTo>
                  <a:lnTo>
                    <a:pt x="5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sp>
          <p:nvSpPr>
            <p:cNvPr id="37" name="Freeform 22">
              <a:extLst>
                <a:ext uri="{FF2B5EF4-FFF2-40B4-BE49-F238E27FC236}">
                  <a16:creationId xmlns:a16="http://schemas.microsoft.com/office/drawing/2014/main" id="{938A0DC9-059F-416E-A99B-737AA1D43725}"/>
                </a:ext>
              </a:extLst>
            </p:cNvPr>
            <p:cNvSpPr>
              <a:spLocks noEditPoints="1"/>
            </p:cNvSpPr>
            <p:nvPr/>
          </p:nvSpPr>
          <p:spPr bwMode="auto">
            <a:xfrm>
              <a:off x="2271713" y="796925"/>
              <a:ext cx="52388" cy="73025"/>
            </a:xfrm>
            <a:custGeom>
              <a:avLst/>
              <a:gdLst>
                <a:gd name="T0" fmla="*/ 9 w 51"/>
                <a:gd name="T1" fmla="*/ 71 h 71"/>
                <a:gd name="T2" fmla="*/ 0 w 51"/>
                <a:gd name="T3" fmla="*/ 71 h 71"/>
                <a:gd name="T4" fmla="*/ 0 w 51"/>
                <a:gd name="T5" fmla="*/ 0 h 71"/>
                <a:gd name="T6" fmla="*/ 31 w 51"/>
                <a:gd name="T7" fmla="*/ 0 h 71"/>
                <a:gd name="T8" fmla="*/ 51 w 51"/>
                <a:gd name="T9" fmla="*/ 20 h 71"/>
                <a:gd name="T10" fmla="*/ 31 w 51"/>
                <a:gd name="T11" fmla="*/ 41 h 71"/>
                <a:gd name="T12" fmla="*/ 9 w 51"/>
                <a:gd name="T13" fmla="*/ 41 h 71"/>
                <a:gd name="T14" fmla="*/ 9 w 51"/>
                <a:gd name="T15" fmla="*/ 71 h 71"/>
                <a:gd name="T16" fmla="*/ 9 w 51"/>
                <a:gd name="T17" fmla="*/ 33 h 71"/>
                <a:gd name="T18" fmla="*/ 27 w 51"/>
                <a:gd name="T19" fmla="*/ 33 h 71"/>
                <a:gd name="T20" fmla="*/ 41 w 51"/>
                <a:gd name="T21" fmla="*/ 20 h 71"/>
                <a:gd name="T22" fmla="*/ 28 w 51"/>
                <a:gd name="T23" fmla="*/ 8 h 71"/>
                <a:gd name="T24" fmla="*/ 9 w 51"/>
                <a:gd name="T25" fmla="*/ 8 h 71"/>
                <a:gd name="T26" fmla="*/ 9 w 51"/>
                <a:gd name="T27"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71">
                  <a:moveTo>
                    <a:pt x="9" y="71"/>
                  </a:moveTo>
                  <a:cubicBezTo>
                    <a:pt x="0" y="71"/>
                    <a:pt x="0" y="71"/>
                    <a:pt x="0" y="71"/>
                  </a:cubicBezTo>
                  <a:cubicBezTo>
                    <a:pt x="0" y="0"/>
                    <a:pt x="0" y="0"/>
                    <a:pt x="0" y="0"/>
                  </a:cubicBezTo>
                  <a:cubicBezTo>
                    <a:pt x="31" y="0"/>
                    <a:pt x="31" y="0"/>
                    <a:pt x="31" y="0"/>
                  </a:cubicBezTo>
                  <a:cubicBezTo>
                    <a:pt x="43" y="0"/>
                    <a:pt x="51" y="8"/>
                    <a:pt x="51" y="20"/>
                  </a:cubicBezTo>
                  <a:cubicBezTo>
                    <a:pt x="51" y="30"/>
                    <a:pt x="45" y="41"/>
                    <a:pt x="31" y="41"/>
                  </a:cubicBezTo>
                  <a:cubicBezTo>
                    <a:pt x="9" y="41"/>
                    <a:pt x="9" y="41"/>
                    <a:pt x="9" y="41"/>
                  </a:cubicBezTo>
                  <a:lnTo>
                    <a:pt x="9" y="71"/>
                  </a:lnTo>
                  <a:close/>
                  <a:moveTo>
                    <a:pt x="9" y="33"/>
                  </a:moveTo>
                  <a:cubicBezTo>
                    <a:pt x="27" y="33"/>
                    <a:pt x="27" y="33"/>
                    <a:pt x="27" y="33"/>
                  </a:cubicBezTo>
                  <a:cubicBezTo>
                    <a:pt x="36" y="33"/>
                    <a:pt x="41" y="30"/>
                    <a:pt x="41" y="20"/>
                  </a:cubicBezTo>
                  <a:cubicBezTo>
                    <a:pt x="41" y="11"/>
                    <a:pt x="35" y="8"/>
                    <a:pt x="28" y="8"/>
                  </a:cubicBezTo>
                  <a:cubicBezTo>
                    <a:pt x="9" y="8"/>
                    <a:pt x="9" y="8"/>
                    <a:pt x="9" y="8"/>
                  </a:cubicBezTo>
                  <a:lnTo>
                    <a:pt x="9" y="3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ru-RU"/>
            </a:p>
          </p:txBody>
        </p:sp>
      </p:grpSp>
    </p:spTree>
    <p:extLst>
      <p:ext uri="{BB962C8B-B14F-4D97-AF65-F5344CB8AC3E}">
        <p14:creationId xmlns:p14="http://schemas.microsoft.com/office/powerpoint/2010/main" val="489157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Фото справа 1/2">
    <p:spTree>
      <p:nvGrpSpPr>
        <p:cNvPr id="1" name=""/>
        <p:cNvGrpSpPr/>
        <p:nvPr/>
      </p:nvGrpSpPr>
      <p:grpSpPr>
        <a:xfrm>
          <a:off x="0" y="0"/>
          <a:ext cx="0" cy="0"/>
          <a:chOff x="0" y="0"/>
          <a:chExt cx="0" cy="0"/>
        </a:xfrm>
      </p:grpSpPr>
      <p:sp>
        <p:nvSpPr>
          <p:cNvPr id="5" name="Номер слайда 3">
            <a:extLst>
              <a:ext uri="{FF2B5EF4-FFF2-40B4-BE49-F238E27FC236}">
                <a16:creationId xmlns:a16="http://schemas.microsoft.com/office/drawing/2014/main" id="{B1F7E2A0-17FC-4DDB-9260-F4D4B305DF9D}"/>
              </a:ext>
            </a:extLst>
          </p:cNvPr>
          <p:cNvSpPr>
            <a:spLocks noGrp="1"/>
          </p:cNvSpPr>
          <p:nvPr>
            <p:ph type="sldNum" sz="quarter" idx="4"/>
          </p:nvPr>
        </p:nvSpPr>
        <p:spPr>
          <a:xfrm>
            <a:off x="10569576" y="6455903"/>
            <a:ext cx="1214424" cy="230864"/>
          </a:xfrm>
          <a:prstGeom prst="rect">
            <a:avLst/>
          </a:prstGeom>
        </p:spPr>
        <p:txBody>
          <a:bodyPr vert="horz" lIns="0" tIns="0" rIns="0" bIns="0" rtlCol="0" anchor="ctr"/>
          <a:lstStyle>
            <a:lvl1pPr algn="r">
              <a:defRPr sz="1050">
                <a:solidFill>
                  <a:schemeClr val="bg1"/>
                </a:solidFill>
              </a:defRPr>
            </a:lvl1pPr>
          </a:lstStyle>
          <a:p>
            <a:fld id="{3B9CAC58-44C9-4DC0-A6AF-0B4057C34224}" type="slidenum">
              <a:rPr lang="ru-RU" smtClean="0"/>
              <a:pPr/>
              <a:t>‹#›</a:t>
            </a:fld>
            <a:endParaRPr lang="ru-RU"/>
          </a:p>
        </p:txBody>
      </p:sp>
      <p:sp>
        <p:nvSpPr>
          <p:cNvPr id="8" name="Текст 2">
            <a:extLst>
              <a:ext uri="{FF2B5EF4-FFF2-40B4-BE49-F238E27FC236}">
                <a16:creationId xmlns:a16="http://schemas.microsoft.com/office/drawing/2014/main" id="{B7FAE5F7-1BCE-479C-B2F2-117490DA0919}"/>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6" name="Заголовок 1">
            <a:extLst>
              <a:ext uri="{FF2B5EF4-FFF2-40B4-BE49-F238E27FC236}">
                <a16:creationId xmlns:a16="http://schemas.microsoft.com/office/drawing/2014/main" id="{8869B43E-E7A7-4D27-B3AE-45497966C098}"/>
              </a:ext>
            </a:extLst>
          </p:cNvPr>
          <p:cNvSpPr>
            <a:spLocks noGrp="1"/>
          </p:cNvSpPr>
          <p:nvPr>
            <p:ph type="title" hasCustomPrompt="1"/>
          </p:nvPr>
        </p:nvSpPr>
        <p:spPr>
          <a:xfrm>
            <a:off x="511847" y="341593"/>
            <a:ext cx="11164215" cy="869690"/>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a:t>
            </a:r>
            <a:br>
              <a:rPr lang="en-US"/>
            </a:br>
            <a:r>
              <a:rPr lang="ru-RU"/>
              <a:t>в </a:t>
            </a:r>
            <a:r>
              <a:rPr lang="en-US"/>
              <a:t>2</a:t>
            </a:r>
            <a:r>
              <a:rPr lang="ru-RU"/>
              <a:t> строку</a:t>
            </a:r>
          </a:p>
        </p:txBody>
      </p:sp>
    </p:spTree>
    <p:extLst>
      <p:ext uri="{BB962C8B-B14F-4D97-AF65-F5344CB8AC3E}">
        <p14:creationId xmlns:p14="http://schemas.microsoft.com/office/powerpoint/2010/main" val="252408040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3_Пользовательский макет">
    <p:spTree>
      <p:nvGrpSpPr>
        <p:cNvPr id="1" name=""/>
        <p:cNvGrpSpPr/>
        <p:nvPr/>
      </p:nvGrpSpPr>
      <p:grpSpPr>
        <a:xfrm>
          <a:off x="0" y="0"/>
          <a:ext cx="0" cy="0"/>
          <a:chOff x="0" y="0"/>
          <a:chExt cx="0" cy="0"/>
        </a:xfrm>
      </p:grpSpPr>
      <p:pic>
        <p:nvPicPr>
          <p:cNvPr id="39" name="Picture 2">
            <a:extLst>
              <a:ext uri="{FF2B5EF4-FFF2-40B4-BE49-F238E27FC236}">
                <a16:creationId xmlns:a16="http://schemas.microsoft.com/office/drawing/2014/main" id="{63D11F50-4A1A-4826-8ED6-CF130892805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050" t="6558" b="22610"/>
          <a:stretch/>
        </p:blipFill>
        <p:spPr bwMode="auto">
          <a:xfrm flipH="1">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id="{AD637069-BEA2-433D-B840-F056C48B72E9}"/>
              </a:ext>
            </a:extLst>
          </p:cNvPr>
          <p:cNvSpPr/>
          <p:nvPr/>
        </p:nvSpPr>
        <p:spPr>
          <a:xfrm>
            <a:off x="0" y="-10633"/>
            <a:ext cx="12192000" cy="6864811"/>
          </a:xfrm>
          <a:prstGeom prst="rect">
            <a:avLst/>
          </a:prstGeom>
          <a:gradFill>
            <a:gsLst>
              <a:gs pos="0">
                <a:schemeClr val="accent1">
                  <a:alpha val="33000"/>
                </a:schemeClr>
              </a:gs>
              <a:gs pos="45000">
                <a:srgbClr val="24458E">
                  <a:alpha val="42000"/>
                </a:srgbClr>
              </a:gs>
              <a:gs pos="100000">
                <a:schemeClr val="tx2">
                  <a:alpha val="3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Прямоугольник 30">
            <a:extLst>
              <a:ext uri="{FF2B5EF4-FFF2-40B4-BE49-F238E27FC236}">
                <a16:creationId xmlns:a16="http://schemas.microsoft.com/office/drawing/2014/main" id="{627BC7C1-5683-4556-B269-48E5B8EE666F}"/>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40" name="Заголовок 6">
            <a:extLst>
              <a:ext uri="{FF2B5EF4-FFF2-40B4-BE49-F238E27FC236}">
                <a16:creationId xmlns:a16="http://schemas.microsoft.com/office/drawing/2014/main" id="{A7946616-80D8-45AB-9F86-7194F1DF5630}"/>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41" name="Прямоугольник 40">
            <a:extLst>
              <a:ext uri="{FF2B5EF4-FFF2-40B4-BE49-F238E27FC236}">
                <a16:creationId xmlns:a16="http://schemas.microsoft.com/office/drawing/2014/main" id="{E1917E9C-7F8F-45FF-9C81-C02F217CB0E8}"/>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2" name="Подзаголовок 2">
            <a:extLst>
              <a:ext uri="{FF2B5EF4-FFF2-40B4-BE49-F238E27FC236}">
                <a16:creationId xmlns:a16="http://schemas.microsoft.com/office/drawing/2014/main" id="{F9D49E40-60AE-48C2-90F7-8375E6A53EEA}"/>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pic>
        <p:nvPicPr>
          <p:cNvPr id="43" name="Рисунок 42">
            <a:extLst>
              <a:ext uri="{FF2B5EF4-FFF2-40B4-BE49-F238E27FC236}">
                <a16:creationId xmlns:a16="http://schemas.microsoft.com/office/drawing/2014/main" id="{602A5EC6-941F-4CCC-A066-7B12080FC1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44" name="Группа 43">
            <a:extLst>
              <a:ext uri="{FF2B5EF4-FFF2-40B4-BE49-F238E27FC236}">
                <a16:creationId xmlns:a16="http://schemas.microsoft.com/office/drawing/2014/main" id="{D1BC7E2C-1CFD-4D50-A21B-2D8A2521A755}"/>
              </a:ext>
            </a:extLst>
          </p:cNvPr>
          <p:cNvGrpSpPr/>
          <p:nvPr/>
        </p:nvGrpSpPr>
        <p:grpSpPr>
          <a:xfrm>
            <a:off x="729774" y="-29560"/>
            <a:ext cx="72000" cy="4222897"/>
            <a:chOff x="809984" y="1566120"/>
            <a:chExt cx="72000" cy="4222897"/>
          </a:xfrm>
        </p:grpSpPr>
        <p:cxnSp>
          <p:nvCxnSpPr>
            <p:cNvPr id="45" name="Прямая соединительная линия 44">
              <a:extLst>
                <a:ext uri="{FF2B5EF4-FFF2-40B4-BE49-F238E27FC236}">
                  <a16:creationId xmlns:a16="http://schemas.microsoft.com/office/drawing/2014/main" id="{C9128DC1-5848-4067-8404-1C42F2A7A21D}"/>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6" name="Прямоугольник 45">
              <a:extLst>
                <a:ext uri="{FF2B5EF4-FFF2-40B4-BE49-F238E27FC236}">
                  <a16:creationId xmlns:a16="http://schemas.microsoft.com/office/drawing/2014/main" id="{F2F75C06-B349-45F1-AC93-0899C85B92CB}"/>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47" name="Заголовок 1">
            <a:extLst>
              <a:ext uri="{FF2B5EF4-FFF2-40B4-BE49-F238E27FC236}">
                <a16:creationId xmlns:a16="http://schemas.microsoft.com/office/drawing/2014/main" id="{7CCA3719-26B0-408E-8750-5404BDAE6712}"/>
              </a:ext>
            </a:extLst>
          </p:cNvPr>
          <p:cNvSpPr>
            <a:spLocks noGrp="1"/>
          </p:cNvSpPr>
          <p:nvPr>
            <p:ph type="ctrTitle"/>
          </p:nvPr>
        </p:nvSpPr>
        <p:spPr>
          <a:xfrm>
            <a:off x="944037" y="3643944"/>
            <a:ext cx="3977309" cy="596666"/>
          </a:xfrm>
          <a:prstGeom prst="rect">
            <a:avLst/>
          </a:prstGeom>
        </p:spPr>
        <p:txBody>
          <a:bodyPr anchor="ctr"/>
          <a:lstStyle>
            <a:lvl1pPr>
              <a:defRPr sz="1800"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18352825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7_Пользовательский макет">
    <p:spTree>
      <p:nvGrpSpPr>
        <p:cNvPr id="1" name=""/>
        <p:cNvGrpSpPr/>
        <p:nvPr/>
      </p:nvGrpSpPr>
      <p:grpSpPr>
        <a:xfrm>
          <a:off x="0" y="0"/>
          <a:ext cx="0" cy="0"/>
          <a:chOff x="0" y="0"/>
          <a:chExt cx="0" cy="0"/>
        </a:xfrm>
      </p:grpSpPr>
      <p:pic>
        <p:nvPicPr>
          <p:cNvPr id="17" name="Рисунок 16" descr="Изображение выглядит как чашка, кофе&#10;&#10;Автоматически созданное описание">
            <a:extLst>
              <a:ext uri="{FF2B5EF4-FFF2-40B4-BE49-F238E27FC236}">
                <a16:creationId xmlns:a16="http://schemas.microsoft.com/office/drawing/2014/main" id="{DA9B7258-152B-4CF4-8CC3-D9E5E5A6B00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8" name="Прямоугольник 17">
            <a:extLst>
              <a:ext uri="{FF2B5EF4-FFF2-40B4-BE49-F238E27FC236}">
                <a16:creationId xmlns:a16="http://schemas.microsoft.com/office/drawing/2014/main" id="{DA32510C-857D-4981-94B7-C2C2F261FC46}"/>
              </a:ext>
            </a:extLst>
          </p:cNvPr>
          <p:cNvSpPr/>
          <p:nvPr/>
        </p:nvSpPr>
        <p:spPr>
          <a:xfrm>
            <a:off x="0" y="-10633"/>
            <a:ext cx="12192000" cy="686481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pic>
        <p:nvPicPr>
          <p:cNvPr id="13" name="Рисунок 12">
            <a:extLst>
              <a:ext uri="{FF2B5EF4-FFF2-40B4-BE49-F238E27FC236}">
                <a16:creationId xmlns:a16="http://schemas.microsoft.com/office/drawing/2014/main" id="{1DD2F2F9-FC18-4DB2-9BE5-E755A92B0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19" name="Заголовок 1">
            <a:extLst>
              <a:ext uri="{FF2B5EF4-FFF2-40B4-BE49-F238E27FC236}">
                <a16:creationId xmlns:a16="http://schemas.microsoft.com/office/drawing/2014/main" id="{D7157788-C8C7-4470-A8CD-344A953C37D6}"/>
              </a:ext>
            </a:extLst>
          </p:cNvPr>
          <p:cNvSpPr>
            <a:spLocks noGrp="1"/>
          </p:cNvSpPr>
          <p:nvPr>
            <p:ph type="ctrTitle"/>
          </p:nvPr>
        </p:nvSpPr>
        <p:spPr>
          <a:xfrm>
            <a:off x="944037" y="3643944"/>
            <a:ext cx="3977309" cy="596666"/>
          </a:xfrm>
          <a:prstGeom prst="rect">
            <a:avLst/>
          </a:prstGeom>
        </p:spPr>
        <p:txBody>
          <a:bodyPr anchor="ctr"/>
          <a:lstStyle>
            <a:lvl1pPr>
              <a:defRPr sz="1800"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845237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9_Пользовательский макет">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0A03E59A-7C27-4D30-AFFC-D56E51BB7393}"/>
              </a:ext>
            </a:extLst>
          </p:cNvPr>
          <p:cNvGraphicFramePr>
            <a:graphicFrameLocks noChangeAspect="1"/>
          </p:cNvGraphicFramePr>
          <p:nvPr>
            <p:custDataLst>
              <p:tags r:id="rId2"/>
            </p:custDataLst>
            <p:extLst>
              <p:ext uri="{D42A27DB-BD31-4B8C-83A1-F6EECF244321}">
                <p14:modId xmlns:p14="http://schemas.microsoft.com/office/powerpoint/2010/main" val="208369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Слайд think-cell" r:id="rId4" imgW="425" imgH="424" progId="TCLayout.ActiveDocument.1">
                  <p:embed/>
                </p:oleObj>
              </mc:Choice>
              <mc:Fallback>
                <p:oleObj name="Слайд think-cell" r:id="rId4" imgW="425" imgH="424" progId="TCLayout.ActiveDocument.1">
                  <p:embed/>
                  <p:pic>
                    <p:nvPicPr>
                      <p:cNvPr id="2" name="Объект 1" hidden="1">
                        <a:extLst>
                          <a:ext uri="{FF2B5EF4-FFF2-40B4-BE49-F238E27FC236}">
                            <a16:creationId xmlns:a16="http://schemas.microsoft.com/office/drawing/2014/main" id="{0A03E59A-7C27-4D30-AFFC-D56E51BB7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Рисунок 18">
            <a:extLst>
              <a:ext uri="{FF2B5EF4-FFF2-40B4-BE49-F238E27FC236}">
                <a16:creationId xmlns:a16="http://schemas.microsoft.com/office/drawing/2014/main" id="{668BA0AE-88DA-4A77-9F8E-FF77E1A475D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5596" y="-44800"/>
            <a:ext cx="8638486" cy="6902800"/>
          </a:xfrm>
          <a:prstGeom prst="rect">
            <a:avLst/>
          </a:prstGeom>
        </p:spPr>
      </p:pic>
      <p:sp>
        <p:nvSpPr>
          <p:cNvPr id="3" name="Рисунок 2">
            <a:extLst>
              <a:ext uri="{FF2B5EF4-FFF2-40B4-BE49-F238E27FC236}">
                <a16:creationId xmlns:a16="http://schemas.microsoft.com/office/drawing/2014/main" id="{E49B6D85-BA7B-4E30-90CC-8E759D736C00}"/>
              </a:ext>
            </a:extLst>
          </p:cNvPr>
          <p:cNvSpPr>
            <a:spLocks noGrp="1"/>
          </p:cNvSpPr>
          <p:nvPr>
            <p:ph type="pic" sz="quarter" idx="10" hasCustomPrompt="1"/>
          </p:nvPr>
        </p:nvSpPr>
        <p:spPr>
          <a:xfrm>
            <a:off x="-57150" y="-68483"/>
            <a:ext cx="12249150" cy="6938516"/>
          </a:xfrm>
          <a:prstGeom prst="rect">
            <a:avLst/>
          </a:prstGeom>
        </p:spPr>
        <p:txBody>
          <a:bodyPr/>
          <a:lstStyle/>
          <a:p>
            <a:r>
              <a:rPr lang="ru-RU"/>
              <a:t> </a:t>
            </a:r>
          </a:p>
        </p:txBody>
      </p:sp>
      <p:pic>
        <p:nvPicPr>
          <p:cNvPr id="17" name="Рисунок 16">
            <a:extLst>
              <a:ext uri="{FF2B5EF4-FFF2-40B4-BE49-F238E27FC236}">
                <a16:creationId xmlns:a16="http://schemas.microsoft.com/office/drawing/2014/main" id="{727A0DC8-0215-4AAD-968A-E59E28242DB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553514" y="-44800"/>
            <a:ext cx="8638486" cy="6902800"/>
          </a:xfrm>
          <a:prstGeom prst="rect">
            <a:avLst/>
          </a:prstGeom>
        </p:spPr>
      </p:pic>
      <p:sp>
        <p:nvSpPr>
          <p:cNvPr id="20" name="Прямоугольник 19">
            <a:extLst>
              <a:ext uri="{FF2B5EF4-FFF2-40B4-BE49-F238E27FC236}">
                <a16:creationId xmlns:a16="http://schemas.microsoft.com/office/drawing/2014/main" id="{E75E4809-E4F2-4A71-8E19-DCC074990786}"/>
              </a:ext>
            </a:extLst>
          </p:cNvPr>
          <p:cNvSpPr/>
          <p:nvPr/>
        </p:nvSpPr>
        <p:spPr>
          <a:xfrm>
            <a:off x="-57144" y="-44800"/>
            <a:ext cx="12249144" cy="6902799"/>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44800"/>
            <a:ext cx="4676548" cy="6914832"/>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pic>
        <p:nvPicPr>
          <p:cNvPr id="13" name="Рисунок 12">
            <a:extLst>
              <a:ext uri="{FF2B5EF4-FFF2-40B4-BE49-F238E27FC236}">
                <a16:creationId xmlns:a16="http://schemas.microsoft.com/office/drawing/2014/main" id="{1DD2F2F9-FC18-4DB2-9BE5-E755A92B0C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18" name="Заголовок 1">
            <a:extLst>
              <a:ext uri="{FF2B5EF4-FFF2-40B4-BE49-F238E27FC236}">
                <a16:creationId xmlns:a16="http://schemas.microsoft.com/office/drawing/2014/main" id="{2350024E-A1A5-4FB2-9A2E-DA420182C841}"/>
              </a:ext>
            </a:extLst>
          </p:cNvPr>
          <p:cNvSpPr>
            <a:spLocks noGrp="1"/>
          </p:cNvSpPr>
          <p:nvPr>
            <p:ph type="ctrTitle"/>
          </p:nvPr>
        </p:nvSpPr>
        <p:spPr>
          <a:xfrm>
            <a:off x="944037" y="3643944"/>
            <a:ext cx="3977309" cy="596666"/>
          </a:xfrm>
          <a:prstGeom prst="rect">
            <a:avLst/>
          </a:prstGeom>
        </p:spPr>
        <p:txBody>
          <a:bodyPr anchor="ctr"/>
          <a:lstStyle>
            <a:lvl1pPr>
              <a:defRPr sz="1800"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6634284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0_Пользовательский макет">
    <p:spTree>
      <p:nvGrpSpPr>
        <p:cNvPr id="1" name=""/>
        <p:cNvGrpSpPr/>
        <p:nvPr/>
      </p:nvGrpSpPr>
      <p:grpSpPr>
        <a:xfrm>
          <a:off x="0" y="0"/>
          <a:ext cx="0" cy="0"/>
          <a:chOff x="0" y="0"/>
          <a:chExt cx="0" cy="0"/>
        </a:xfrm>
      </p:grpSpPr>
      <p:pic>
        <p:nvPicPr>
          <p:cNvPr id="39" name="Рисунок 38" descr="Изображение выглядит как внутренний&#10;&#10;Автоматически созданное описание">
            <a:extLst>
              <a:ext uri="{FF2B5EF4-FFF2-40B4-BE49-F238E27FC236}">
                <a16:creationId xmlns:a16="http://schemas.microsoft.com/office/drawing/2014/main" id="{1A777E9F-FB5E-4485-826C-2D12C8FABEDD}"/>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a:stretch/>
        </p:blipFill>
        <p:spPr>
          <a:xfrm>
            <a:off x="-14556" y="-34653"/>
            <a:ext cx="12206537" cy="6901893"/>
          </a:xfrm>
          <a:prstGeom prst="rect">
            <a:avLst/>
          </a:prstGeom>
        </p:spPr>
      </p:pic>
      <p:sp>
        <p:nvSpPr>
          <p:cNvPr id="18" name="Прямоугольник 17">
            <a:extLst>
              <a:ext uri="{FF2B5EF4-FFF2-40B4-BE49-F238E27FC236}">
                <a16:creationId xmlns:a16="http://schemas.microsoft.com/office/drawing/2014/main" id="{794D65BB-DB13-4E56-AFF0-FD03DA88627C}"/>
              </a:ext>
            </a:extLst>
          </p:cNvPr>
          <p:cNvSpPr/>
          <p:nvPr/>
        </p:nvSpPr>
        <p:spPr>
          <a:xfrm>
            <a:off x="-57144" y="-31861"/>
            <a:ext cx="12249144"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31862"/>
            <a:ext cx="4676548" cy="6901892"/>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7292" y="-29561"/>
            <a:ext cx="392180" cy="68875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ctr"/>
          <a:lstStyle>
            <a:lvl1pPr>
              <a:lnSpc>
                <a:spcPct val="90000"/>
              </a:lnSpc>
              <a:defRPr sz="2000" b="0">
                <a:solidFill>
                  <a:schemeClr val="tx2"/>
                </a:solidFill>
                <a:latin typeface="+mj-lt"/>
              </a:defRPr>
            </a:lvl1pPr>
          </a:lstStyle>
          <a:p>
            <a:r>
              <a:rPr lang="ru-RU"/>
              <a:t>Образец заголовка</a:t>
            </a:r>
          </a:p>
        </p:txBody>
      </p:sp>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37" name="Рисунок 36">
            <a:extLst>
              <a:ext uri="{FF2B5EF4-FFF2-40B4-BE49-F238E27FC236}">
                <a16:creationId xmlns:a16="http://schemas.microsoft.com/office/drawing/2014/main" id="{0E78F355-FFF4-4E75-B9CC-FF1F0172A457}"/>
              </a:ext>
            </a:extLst>
          </p:cNvPr>
          <p:cNvSpPr>
            <a:spLocks noGrp="1"/>
          </p:cNvSpPr>
          <p:nvPr>
            <p:ph type="pic" sz="quarter" idx="10" hasCustomPrompt="1"/>
          </p:nvPr>
        </p:nvSpPr>
        <p:spPr>
          <a:xfrm>
            <a:off x="3816" y="-31400"/>
            <a:ext cx="12188165" cy="6883400"/>
          </a:xfrm>
          <a:prstGeom prst="rect">
            <a:avLst/>
          </a:prstGeom>
        </p:spPr>
        <p:txBody>
          <a:bodyPr/>
          <a:lstStyle/>
          <a:p>
            <a:r>
              <a:rPr lang="ru-RU"/>
              <a:t> </a:t>
            </a:r>
          </a:p>
        </p:txBody>
      </p:sp>
    </p:spTree>
    <p:extLst>
      <p:ext uri="{BB962C8B-B14F-4D97-AF65-F5344CB8AC3E}">
        <p14:creationId xmlns:p14="http://schemas.microsoft.com/office/powerpoint/2010/main" val="9697664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1_Пользовательский макет">
    <p:spTree>
      <p:nvGrpSpPr>
        <p:cNvPr id="1" name=""/>
        <p:cNvGrpSpPr/>
        <p:nvPr/>
      </p:nvGrpSpPr>
      <p:grpSpPr>
        <a:xfrm>
          <a:off x="0" y="0"/>
          <a:ext cx="0" cy="0"/>
          <a:chOff x="0" y="0"/>
          <a:chExt cx="0" cy="0"/>
        </a:xfrm>
      </p:grpSpPr>
      <p:sp>
        <p:nvSpPr>
          <p:cNvPr id="18" name="Прямоугольник 17">
            <a:extLst>
              <a:ext uri="{FF2B5EF4-FFF2-40B4-BE49-F238E27FC236}">
                <a16:creationId xmlns:a16="http://schemas.microsoft.com/office/drawing/2014/main" id="{794D65BB-DB13-4E56-AFF0-FD03DA88627C}"/>
              </a:ext>
            </a:extLst>
          </p:cNvPr>
          <p:cNvSpPr/>
          <p:nvPr/>
        </p:nvSpPr>
        <p:spPr>
          <a:xfrm>
            <a:off x="-57144" y="-31861"/>
            <a:ext cx="12249144"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7" name="Рисунок 36">
            <a:extLst>
              <a:ext uri="{FF2B5EF4-FFF2-40B4-BE49-F238E27FC236}">
                <a16:creationId xmlns:a16="http://schemas.microsoft.com/office/drawing/2014/main" id="{0E78F355-FFF4-4E75-B9CC-FF1F0172A457}"/>
              </a:ext>
            </a:extLst>
          </p:cNvPr>
          <p:cNvSpPr>
            <a:spLocks noGrp="1"/>
          </p:cNvSpPr>
          <p:nvPr>
            <p:ph type="pic" sz="quarter" idx="10" hasCustomPrompt="1"/>
          </p:nvPr>
        </p:nvSpPr>
        <p:spPr>
          <a:xfrm>
            <a:off x="-57150" y="-31750"/>
            <a:ext cx="12249150" cy="6883400"/>
          </a:xfrm>
          <a:prstGeom prst="rect">
            <a:avLst/>
          </a:prstGeom>
        </p:spPr>
        <p:txBody>
          <a:bodyPr/>
          <a:lstStyle/>
          <a:p>
            <a:r>
              <a:rPr lang="ru-RU"/>
              <a:t> </a:t>
            </a: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31862"/>
            <a:ext cx="4676548" cy="6901892"/>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7292" y="-29561"/>
            <a:ext cx="392180" cy="68875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ctr"/>
          <a:lstStyle>
            <a:lvl1pPr>
              <a:lnSpc>
                <a:spcPct val="90000"/>
              </a:lnSpc>
              <a:defRPr sz="2000" b="0">
                <a:solidFill>
                  <a:schemeClr val="tx2"/>
                </a:solidFill>
                <a:latin typeface="+mj-lt"/>
              </a:defRPr>
            </a:lvl1pPr>
          </a:lstStyle>
          <a:p>
            <a:r>
              <a:rPr lang="ru-RU"/>
              <a:t>Образец заголовка</a:t>
            </a:r>
          </a:p>
        </p:txBody>
      </p:sp>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16099191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pic>
        <p:nvPicPr>
          <p:cNvPr id="9" name="Рисунок 8" descr="Изображение выглядит как внутренний&#10;&#10;Автоматически созданное описание">
            <a:extLst>
              <a:ext uri="{FF2B5EF4-FFF2-40B4-BE49-F238E27FC236}">
                <a16:creationId xmlns:a16="http://schemas.microsoft.com/office/drawing/2014/main" id="{766996F0-AFD2-4B33-988F-6E6633121174}"/>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0" name="Рисунок 47">
            <a:extLst>
              <a:ext uri="{FF2B5EF4-FFF2-40B4-BE49-F238E27FC236}">
                <a16:creationId xmlns:a16="http://schemas.microsoft.com/office/drawing/2014/main" id="{48D90F6E-FB8D-43B0-A95E-1D262C02FDB9}"/>
              </a:ext>
            </a:extLst>
          </p:cNvPr>
          <p:cNvSpPr>
            <a:spLocks noGrp="1"/>
          </p:cNvSpPr>
          <p:nvPr>
            <p:ph type="pic" sz="quarter" idx="10" hasCustomPrompt="1"/>
          </p:nvPr>
        </p:nvSpPr>
        <p:spPr>
          <a:xfrm>
            <a:off x="0" y="-25861"/>
            <a:ext cx="12192000" cy="6883861"/>
          </a:xfrm>
          <a:prstGeom prst="rect">
            <a:avLst/>
          </a:prstGeom>
          <a:noFill/>
        </p:spPr>
        <p:txBody>
          <a:bodyPr/>
          <a:lstStyle>
            <a:lvl1pPr>
              <a:defRPr/>
            </a:lvl1pPr>
          </a:lstStyle>
          <a:p>
            <a:r>
              <a:rPr lang="ru-RU"/>
              <a:t>   </a:t>
            </a:r>
          </a:p>
        </p:txBody>
      </p:sp>
      <p:sp>
        <p:nvSpPr>
          <p:cNvPr id="11" name="Прямоугольник 10">
            <a:extLst>
              <a:ext uri="{FF2B5EF4-FFF2-40B4-BE49-F238E27FC236}">
                <a16:creationId xmlns:a16="http://schemas.microsoft.com/office/drawing/2014/main" id="{D8E61392-C9EC-4A3C-840D-C134A885CAA1}"/>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Прямоугольник 11">
            <a:extLst>
              <a:ext uri="{FF2B5EF4-FFF2-40B4-BE49-F238E27FC236}">
                <a16:creationId xmlns:a16="http://schemas.microsoft.com/office/drawing/2014/main" id="{500803B1-3460-4C4E-A97D-535B93C72777}"/>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13" name="Рисунок 12">
            <a:extLst>
              <a:ext uri="{FF2B5EF4-FFF2-40B4-BE49-F238E27FC236}">
                <a16:creationId xmlns:a16="http://schemas.microsoft.com/office/drawing/2014/main" id="{A0CC394C-6D86-42AF-B7C0-B959869ADA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14" name="TextBox 13">
            <a:extLst>
              <a:ext uri="{FF2B5EF4-FFF2-40B4-BE49-F238E27FC236}">
                <a16:creationId xmlns:a16="http://schemas.microsoft.com/office/drawing/2014/main" id="{16823997-05CF-4A22-A4DE-1DA7EF192CF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15" name="Текст 8">
            <a:extLst>
              <a:ext uri="{FF2B5EF4-FFF2-40B4-BE49-F238E27FC236}">
                <a16:creationId xmlns:a16="http://schemas.microsoft.com/office/drawing/2014/main" id="{2DC6C9A3-0B60-4766-9C80-8C000A805447}"/>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29892055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pic>
        <p:nvPicPr>
          <p:cNvPr id="21" name="Рисунок 20" descr="Изображение выглядит как внутренний&#10;&#10;Автоматически созданное описание">
            <a:extLst>
              <a:ext uri="{FF2B5EF4-FFF2-40B4-BE49-F238E27FC236}">
                <a16:creationId xmlns:a16="http://schemas.microsoft.com/office/drawing/2014/main" id="{B6FD1E12-CFBA-41B1-B78C-9A51F1705841}"/>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noProof="0">
              <a:solidFill>
                <a:srgbClr val="FFFFFF"/>
              </a:solidFill>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25064665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Пользовательский макет">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79D26047-A8B0-4077-B8E0-7B4E985A4AA3}"/>
              </a:ext>
            </a:extLst>
          </p:cNvPr>
          <p:cNvGraphicFramePr>
            <a:graphicFrameLocks noChangeAspect="1"/>
          </p:cNvGraphicFramePr>
          <p:nvPr>
            <p:custDataLst>
              <p:tags r:id="rId2"/>
            </p:custDataLst>
            <p:extLst>
              <p:ext uri="{D42A27DB-BD31-4B8C-83A1-F6EECF244321}">
                <p14:modId xmlns:p14="http://schemas.microsoft.com/office/powerpoint/2010/main" val="251809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Слайд think-cell" r:id="rId4" imgW="425" imgH="424" progId="TCLayout.ActiveDocument.1">
                  <p:embed/>
                </p:oleObj>
              </mc:Choice>
              <mc:Fallback>
                <p:oleObj name="Слайд think-cell" r:id="rId4" imgW="425" imgH="424" progId="TCLayout.ActiveDocument.1">
                  <p:embed/>
                  <p:pic>
                    <p:nvPicPr>
                      <p:cNvPr id="2" name="Объект 1" hidden="1">
                        <a:extLst>
                          <a:ext uri="{FF2B5EF4-FFF2-40B4-BE49-F238E27FC236}">
                            <a16:creationId xmlns:a16="http://schemas.microsoft.com/office/drawing/2014/main" id="{79D26047-A8B0-4077-B8E0-7B4E985A4A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Рисунок 12" descr="Изображение выглядит как человек, внутренний, люди, группа&#10;&#10;Автоматически созданное описание">
            <a:extLst>
              <a:ext uri="{FF2B5EF4-FFF2-40B4-BE49-F238E27FC236}">
                <a16:creationId xmlns:a16="http://schemas.microsoft.com/office/drawing/2014/main" id="{CCF7037E-4589-420C-ACC6-854149D92FB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30480"/>
            <a:ext cx="12192000"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42926822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6_Пользовательский макет">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0AD1028F-20DC-467D-93FC-4604E9E73F5C}"/>
              </a:ext>
            </a:extLst>
          </p:cNvPr>
          <p:cNvGraphicFramePr>
            <a:graphicFrameLocks noChangeAspect="1"/>
          </p:cNvGraphicFramePr>
          <p:nvPr>
            <p:custDataLst>
              <p:tags r:id="rId2"/>
            </p:custDataLst>
            <p:extLst>
              <p:ext uri="{D42A27DB-BD31-4B8C-83A1-F6EECF244321}">
                <p14:modId xmlns:p14="http://schemas.microsoft.com/office/powerpoint/2010/main" val="539045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Слайд think-cell" r:id="rId4" imgW="425" imgH="424" progId="TCLayout.ActiveDocument.1">
                  <p:embed/>
                </p:oleObj>
              </mc:Choice>
              <mc:Fallback>
                <p:oleObj name="Слайд think-cell" r:id="rId4" imgW="425" imgH="424" progId="TCLayout.ActiveDocument.1">
                  <p:embed/>
                  <p:pic>
                    <p:nvPicPr>
                      <p:cNvPr id="2" name="Объект 1" hidden="1">
                        <a:extLst>
                          <a:ext uri="{FF2B5EF4-FFF2-40B4-BE49-F238E27FC236}">
                            <a16:creationId xmlns:a16="http://schemas.microsoft.com/office/drawing/2014/main" id="{0AD1028F-20DC-467D-93FC-4604E9E73F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Рисунок 2" descr="Изображение выглядит как текст, человек, внутренний, офис&#10;&#10;Автоматически созданное описание">
            <a:extLst>
              <a:ext uri="{FF2B5EF4-FFF2-40B4-BE49-F238E27FC236}">
                <a16:creationId xmlns:a16="http://schemas.microsoft.com/office/drawing/2014/main" id="{D1A963BE-6517-4DED-ADA2-3CF27C00D4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30480"/>
            <a:ext cx="12192001"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629621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Заголовок в 1 строку">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29947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0" name="Заголовок 1">
            <a:extLst>
              <a:ext uri="{FF2B5EF4-FFF2-40B4-BE49-F238E27FC236}">
                <a16:creationId xmlns:a16="http://schemas.microsoft.com/office/drawing/2014/main" id="{624BDE2A-2DB5-4B00-8433-0D76BE7E46BC}"/>
              </a:ext>
            </a:extLst>
          </p:cNvPr>
          <p:cNvSpPr>
            <a:spLocks noGrp="1"/>
          </p:cNvSpPr>
          <p:nvPr>
            <p:ph type="title" hasCustomPrompt="1"/>
          </p:nvPr>
        </p:nvSpPr>
        <p:spPr>
          <a:xfrm>
            <a:off x="511848" y="156023"/>
            <a:ext cx="10410152" cy="536128"/>
          </a:xfrm>
          <a:prstGeom prst="rect">
            <a:avLst/>
          </a:prstGeom>
        </p:spPr>
        <p:txBody>
          <a:bodyPr vert="horz" lIns="0" tIns="45720" rIns="91440" bIns="45720" rtlCol="0" anchor="t">
            <a:normAutofit/>
          </a:bodyPr>
          <a:lstStyle>
            <a:lvl1pPr>
              <a:defRPr sz="2200" b="0">
                <a:latin typeface="+mj-lt"/>
              </a:defRPr>
            </a:lvl1pPr>
          </a:lstStyle>
          <a:p>
            <a:r>
              <a:rPr lang="ru-RU"/>
              <a:t>Образец заголовка в 1 строку</a:t>
            </a: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Tree>
    <p:extLst>
      <p:ext uri="{BB962C8B-B14F-4D97-AF65-F5344CB8AC3E}">
        <p14:creationId xmlns:p14="http://schemas.microsoft.com/office/powerpoint/2010/main" val="3239165129"/>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карточки с фото на весь слайд">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657696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4" name="Рисунок 2">
            <a:extLst>
              <a:ext uri="{FF2B5EF4-FFF2-40B4-BE49-F238E27FC236}">
                <a16:creationId xmlns:a16="http://schemas.microsoft.com/office/drawing/2014/main" id="{57886857-535D-4420-A6B6-EDBB0B700588}"/>
              </a:ext>
            </a:extLst>
          </p:cNvPr>
          <p:cNvSpPr>
            <a:spLocks noGrp="1"/>
          </p:cNvSpPr>
          <p:nvPr>
            <p:ph type="pic" sz="quarter" idx="15"/>
          </p:nvPr>
        </p:nvSpPr>
        <p:spPr>
          <a:xfrm>
            <a:off x="515938" y="1089025"/>
            <a:ext cx="3619182" cy="5219700"/>
          </a:xfrm>
          <a:prstGeom prst="rect">
            <a:avLst/>
          </a:prstGeom>
          <a:solidFill>
            <a:schemeClr val="bg1">
              <a:lumMod val="95000"/>
            </a:schemeClr>
          </a:solidFill>
          <a:ln>
            <a:solidFill>
              <a:schemeClr val="accent2"/>
            </a:solidFill>
          </a:ln>
        </p:spPr>
        <p:txBody>
          <a:bodyPr/>
          <a:lstStyle/>
          <a:p>
            <a:r>
              <a:rPr lang="ru-RU"/>
              <a:t>Вставка рисунка</a:t>
            </a:r>
          </a:p>
        </p:txBody>
      </p:sp>
      <p:sp>
        <p:nvSpPr>
          <p:cNvPr id="15" name="Рисунок 2">
            <a:extLst>
              <a:ext uri="{FF2B5EF4-FFF2-40B4-BE49-F238E27FC236}">
                <a16:creationId xmlns:a16="http://schemas.microsoft.com/office/drawing/2014/main" id="{1C599428-3D74-450F-B81F-31F71DA85515}"/>
              </a:ext>
            </a:extLst>
          </p:cNvPr>
          <p:cNvSpPr>
            <a:spLocks noGrp="1"/>
          </p:cNvSpPr>
          <p:nvPr>
            <p:ph type="pic" sz="quarter" idx="16"/>
          </p:nvPr>
        </p:nvSpPr>
        <p:spPr>
          <a:xfrm>
            <a:off x="4286409" y="1089025"/>
            <a:ext cx="3619182" cy="5219700"/>
          </a:xfrm>
          <a:prstGeom prst="rect">
            <a:avLst/>
          </a:prstGeom>
          <a:solidFill>
            <a:schemeClr val="bg1">
              <a:lumMod val="95000"/>
            </a:schemeClr>
          </a:solidFill>
          <a:ln>
            <a:solidFill>
              <a:schemeClr val="accent2"/>
            </a:solidFill>
          </a:ln>
        </p:spPr>
        <p:txBody>
          <a:bodyPr/>
          <a:lstStyle/>
          <a:p>
            <a:r>
              <a:rPr lang="ru-RU"/>
              <a:t>Вставка рисунка</a:t>
            </a:r>
          </a:p>
        </p:txBody>
      </p:sp>
      <p:sp>
        <p:nvSpPr>
          <p:cNvPr id="16" name="Рисунок 2">
            <a:extLst>
              <a:ext uri="{FF2B5EF4-FFF2-40B4-BE49-F238E27FC236}">
                <a16:creationId xmlns:a16="http://schemas.microsoft.com/office/drawing/2014/main" id="{198E06C4-7793-4291-B77A-A146441FA79B}"/>
              </a:ext>
            </a:extLst>
          </p:cNvPr>
          <p:cNvSpPr>
            <a:spLocks noGrp="1"/>
          </p:cNvSpPr>
          <p:nvPr>
            <p:ph type="pic" sz="quarter" idx="17"/>
          </p:nvPr>
        </p:nvSpPr>
        <p:spPr>
          <a:xfrm>
            <a:off x="8056880" y="1089025"/>
            <a:ext cx="3619182" cy="5219700"/>
          </a:xfrm>
          <a:prstGeom prst="rect">
            <a:avLst/>
          </a:prstGeom>
          <a:solidFill>
            <a:schemeClr val="bg1">
              <a:lumMod val="95000"/>
            </a:schemeClr>
          </a:solidFill>
          <a:ln>
            <a:solidFill>
              <a:schemeClr val="accent2"/>
            </a:solidFill>
          </a:ln>
        </p:spPr>
        <p:txBody>
          <a:bodyPr/>
          <a:lstStyle/>
          <a:p>
            <a:r>
              <a:rPr lang="ru-RU"/>
              <a:t>Вставка рисунка</a:t>
            </a:r>
          </a:p>
        </p:txBody>
      </p:sp>
      <p:sp>
        <p:nvSpPr>
          <p:cNvPr id="11" name="Заголовок 1">
            <a:extLst>
              <a:ext uri="{FF2B5EF4-FFF2-40B4-BE49-F238E27FC236}">
                <a16:creationId xmlns:a16="http://schemas.microsoft.com/office/drawing/2014/main" id="{2AFEE30A-581D-4BDA-8728-DEAB49182FBA}"/>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2488978947"/>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pic>
        <p:nvPicPr>
          <p:cNvPr id="9" name="Рисунок 8" descr="Изображение выглядит как внутренний&#10;&#10;Автоматически созданное описание">
            <a:extLst>
              <a:ext uri="{FF2B5EF4-FFF2-40B4-BE49-F238E27FC236}">
                <a16:creationId xmlns:a16="http://schemas.microsoft.com/office/drawing/2014/main" id="{766996F0-AFD2-4B33-988F-6E6633121174}"/>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0" name="Рисунок 47">
            <a:extLst>
              <a:ext uri="{FF2B5EF4-FFF2-40B4-BE49-F238E27FC236}">
                <a16:creationId xmlns:a16="http://schemas.microsoft.com/office/drawing/2014/main" id="{48D90F6E-FB8D-43B0-A95E-1D262C02FDB9}"/>
              </a:ext>
            </a:extLst>
          </p:cNvPr>
          <p:cNvSpPr>
            <a:spLocks noGrp="1"/>
          </p:cNvSpPr>
          <p:nvPr>
            <p:ph type="pic" sz="quarter" idx="10" hasCustomPrompt="1"/>
          </p:nvPr>
        </p:nvSpPr>
        <p:spPr>
          <a:xfrm>
            <a:off x="0" y="-25861"/>
            <a:ext cx="12192000" cy="6883861"/>
          </a:xfrm>
          <a:prstGeom prst="rect">
            <a:avLst/>
          </a:prstGeom>
          <a:noFill/>
        </p:spPr>
        <p:txBody>
          <a:bodyPr/>
          <a:lstStyle>
            <a:lvl1pPr>
              <a:defRPr/>
            </a:lvl1pPr>
          </a:lstStyle>
          <a:p>
            <a:r>
              <a:rPr lang="ru-RU"/>
              <a:t>   </a:t>
            </a:r>
          </a:p>
        </p:txBody>
      </p:sp>
      <p:sp>
        <p:nvSpPr>
          <p:cNvPr id="11" name="Прямоугольник 10">
            <a:extLst>
              <a:ext uri="{FF2B5EF4-FFF2-40B4-BE49-F238E27FC236}">
                <a16:creationId xmlns:a16="http://schemas.microsoft.com/office/drawing/2014/main" id="{D8E61392-C9EC-4A3C-840D-C134A885CAA1}"/>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Прямоугольник 11">
            <a:extLst>
              <a:ext uri="{FF2B5EF4-FFF2-40B4-BE49-F238E27FC236}">
                <a16:creationId xmlns:a16="http://schemas.microsoft.com/office/drawing/2014/main" id="{500803B1-3460-4C4E-A97D-535B93C72777}"/>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13" name="Рисунок 12">
            <a:extLst>
              <a:ext uri="{FF2B5EF4-FFF2-40B4-BE49-F238E27FC236}">
                <a16:creationId xmlns:a16="http://schemas.microsoft.com/office/drawing/2014/main" id="{A0CC394C-6D86-42AF-B7C0-B959869ADA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14" name="TextBox 13">
            <a:extLst>
              <a:ext uri="{FF2B5EF4-FFF2-40B4-BE49-F238E27FC236}">
                <a16:creationId xmlns:a16="http://schemas.microsoft.com/office/drawing/2014/main" id="{16823997-05CF-4A22-A4DE-1DA7EF192CF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15" name="Текст 8">
            <a:extLst>
              <a:ext uri="{FF2B5EF4-FFF2-40B4-BE49-F238E27FC236}">
                <a16:creationId xmlns:a16="http://schemas.microsoft.com/office/drawing/2014/main" id="{2DC6C9A3-0B60-4766-9C80-8C000A805447}"/>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32122410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таблица и карточка с фото вертикальн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41774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7" name="Прямоугольник 6">
            <a:extLst>
              <a:ext uri="{FF2B5EF4-FFF2-40B4-BE49-F238E27FC236}">
                <a16:creationId xmlns:a16="http://schemas.microsoft.com/office/drawing/2014/main" id="{25996A07-C12B-4E15-B0AB-6648370E6A53}"/>
              </a:ext>
            </a:extLst>
          </p:cNvPr>
          <p:cNvSpPr/>
          <p:nvPr/>
        </p:nvSpPr>
        <p:spPr>
          <a:xfrm>
            <a:off x="1168795" y="1440376"/>
            <a:ext cx="3560719" cy="3533806"/>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0"/>
          </a:gradFill>
          <a:ln w="6350">
            <a:solidFill>
              <a:srgbClr val="72A0D5">
                <a:alpha val="99000"/>
              </a:srgbClr>
            </a:solidFill>
          </a:ln>
          <a:effectLst>
            <a:outerShdw blurRad="127000" dist="127000" dir="2700000" algn="tl" rotWithShape="0">
              <a:prstClr val="black">
                <a:alpha val="5000"/>
              </a:prstClr>
            </a:outerShdw>
          </a:effectLst>
        </p:spPr>
        <p:txBody>
          <a:bodyPr rot="0" spcFirstLastPara="0" vertOverflow="overflow" horzOverflow="overflow" vert="horz" wrap="none" lIns="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3D424C"/>
              </a:solidFill>
              <a:effectLst/>
              <a:uLnTx/>
              <a:uFillTx/>
              <a:latin typeface="+mj-lt"/>
              <a:ea typeface="+mn-ea"/>
              <a:cs typeface="+mn-cs"/>
            </a:endParaRPr>
          </a:p>
        </p:txBody>
      </p:sp>
      <p:sp>
        <p:nvSpPr>
          <p:cNvPr id="12" name="Прямоугольник 11">
            <a:extLst>
              <a:ext uri="{FF2B5EF4-FFF2-40B4-BE49-F238E27FC236}">
                <a16:creationId xmlns:a16="http://schemas.microsoft.com/office/drawing/2014/main" id="{9C0A2310-DADC-4D97-BFFD-0C7334FC3952}"/>
              </a:ext>
            </a:extLst>
          </p:cNvPr>
          <p:cNvSpPr/>
          <p:nvPr/>
        </p:nvSpPr>
        <p:spPr>
          <a:xfrm>
            <a:off x="753449" y="1917054"/>
            <a:ext cx="3503912" cy="351320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mj-lt"/>
            </a:endParaRPr>
          </a:p>
        </p:txBody>
      </p:sp>
      <p:sp>
        <p:nvSpPr>
          <p:cNvPr id="19" name="Рисунок 7">
            <a:extLst>
              <a:ext uri="{FF2B5EF4-FFF2-40B4-BE49-F238E27FC236}">
                <a16:creationId xmlns:a16="http://schemas.microsoft.com/office/drawing/2014/main" id="{29F33953-7CE5-4BB9-A26E-862828692782}"/>
              </a:ext>
            </a:extLst>
          </p:cNvPr>
          <p:cNvSpPr>
            <a:spLocks noGrp="1"/>
          </p:cNvSpPr>
          <p:nvPr>
            <p:ph type="pic" sz="quarter" idx="4294967295"/>
          </p:nvPr>
        </p:nvSpPr>
        <p:spPr>
          <a:xfrm>
            <a:off x="762743" y="1917054"/>
            <a:ext cx="3494618" cy="3500570"/>
          </a:xfrm>
          <a:prstGeom prst="rect">
            <a:avLst/>
          </a:prstGeom>
        </p:spPr>
        <p:txBody>
          <a:bodyPr/>
          <a:lstStyle>
            <a:lvl1pPr>
              <a:defRPr>
                <a:latin typeface="+mj-lt"/>
              </a:defRPr>
            </a:lvl1pPr>
          </a:lstStyle>
          <a:p>
            <a:r>
              <a:rPr lang="ru-RU"/>
              <a:t>Вставка рисунка</a:t>
            </a:r>
          </a:p>
        </p:txBody>
      </p:sp>
      <p:cxnSp>
        <p:nvCxnSpPr>
          <p:cNvPr id="24" name="Прямая соединительная линия 23">
            <a:extLst>
              <a:ext uri="{FF2B5EF4-FFF2-40B4-BE49-F238E27FC236}">
                <a16:creationId xmlns:a16="http://schemas.microsoft.com/office/drawing/2014/main" id="{9160C1A6-8370-42D4-94B0-7CC30A94A78A}"/>
              </a:ext>
            </a:extLst>
          </p:cNvPr>
          <p:cNvCxnSpPr>
            <a:cxnSpLocks/>
            <a:stCxn id="25" idx="3"/>
          </p:cNvCxnSpPr>
          <p:nvPr/>
        </p:nvCxnSpPr>
        <p:spPr>
          <a:xfrm>
            <a:off x="6131216" y="2025419"/>
            <a:ext cx="5306281" cy="1052"/>
          </a:xfrm>
          <a:prstGeom prst="line">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0"/>
          </a:gradFill>
          <a:ln w="6350">
            <a:solidFill>
              <a:schemeClr val="bg1">
                <a:lumMod val="85000"/>
                <a:alpha val="99000"/>
              </a:schemeClr>
            </a:solidFill>
          </a:ln>
          <a:effectLst>
            <a:outerShdw blurRad="127000" dist="127000" dir="2700000" algn="tl" rotWithShape="0">
              <a:prstClr val="black">
                <a:alpha val="5000"/>
              </a:prstClr>
            </a:outerShdw>
          </a:effectLst>
        </p:spPr>
      </p:cxnSp>
      <p:sp>
        <p:nvSpPr>
          <p:cNvPr id="25" name="Прямоугольник 24">
            <a:extLst>
              <a:ext uri="{FF2B5EF4-FFF2-40B4-BE49-F238E27FC236}">
                <a16:creationId xmlns:a16="http://schemas.microsoft.com/office/drawing/2014/main" id="{CF15CB9D-65C9-47C6-ACCB-8C0FD6EA264B}"/>
              </a:ext>
            </a:extLst>
          </p:cNvPr>
          <p:cNvSpPr/>
          <p:nvPr/>
        </p:nvSpPr>
        <p:spPr>
          <a:xfrm>
            <a:off x="5374009" y="1989419"/>
            <a:ext cx="757207" cy="72000"/>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0"/>
          </a:gradFill>
          <a:ln w="6350">
            <a:noFill/>
          </a:ln>
          <a:effectLst>
            <a:outerShdw blurRad="127000" dist="127000" dir="2700000" algn="tl" rotWithShape="0">
              <a:prstClr val="black">
                <a:alpha val="5000"/>
              </a:prstClr>
            </a:outerShdw>
          </a:effectLst>
        </p:spPr>
        <p:txBody>
          <a:bodyPr rot="0" spcFirstLastPara="0" vertOverflow="overflow" horzOverflow="overflow" vert="horz" wrap="none" lIns="0" tIns="45720" rIns="91440" bIns="45720" numCol="1" spcCol="0" rtlCol="0" fromWordArt="0" anchor="ctr" anchorCtr="0" forceAA="0" compatLnSpc="1">
            <a:prstTxWarp prst="textNoShape">
              <a:avLst/>
            </a:prstTxWarp>
            <a:noAutofit/>
          </a:bodyPr>
          <a:lstStyle/>
          <a:p>
            <a:endParaRPr lang="ru-RU" kern="0">
              <a:solidFill>
                <a:srgbClr val="3D424C"/>
              </a:solidFill>
              <a:latin typeface="Segoe UI Semibold"/>
            </a:endParaRPr>
          </a:p>
        </p:txBody>
      </p:sp>
      <p:sp>
        <p:nvSpPr>
          <p:cNvPr id="26" name="Заголовок 1">
            <a:extLst>
              <a:ext uri="{FF2B5EF4-FFF2-40B4-BE49-F238E27FC236}">
                <a16:creationId xmlns:a16="http://schemas.microsoft.com/office/drawing/2014/main" id="{503C2A6F-9625-4D4B-9203-EF5187D0D34E}"/>
              </a:ext>
            </a:extLst>
          </p:cNvPr>
          <p:cNvSpPr>
            <a:spLocks noGrp="1"/>
          </p:cNvSpPr>
          <p:nvPr>
            <p:ph type="title" hasCustomPrompt="1"/>
          </p:nvPr>
        </p:nvSpPr>
        <p:spPr>
          <a:xfrm>
            <a:off x="5374009" y="1454814"/>
            <a:ext cx="6055247" cy="534605"/>
          </a:xfrm>
          <a:prstGeom prst="rect">
            <a:avLst/>
          </a:prstGeom>
        </p:spPr>
        <p:txBody>
          <a:bodyPr vert="horz" lIns="0" tIns="45720" rIns="91440" bIns="45720" rtlCol="0" anchor="t">
            <a:normAutofit/>
          </a:bodyPr>
          <a:lstStyle>
            <a:lvl1pPr>
              <a:defRPr lang="ru-RU" sz="2000" b="0" kern="1200" dirty="0">
                <a:solidFill>
                  <a:srgbClr val="002266"/>
                </a:solidFill>
                <a:latin typeface="Segoe UI Light" panose="020B0502040204020203" pitchFamily="34" charset="0"/>
                <a:ea typeface="+mn-ea"/>
                <a:cs typeface="Segoe UI Light"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t>Вступительное слово</a:t>
            </a:r>
          </a:p>
        </p:txBody>
      </p:sp>
      <p:sp>
        <p:nvSpPr>
          <p:cNvPr id="27" name="Текст 2">
            <a:extLst>
              <a:ext uri="{FF2B5EF4-FFF2-40B4-BE49-F238E27FC236}">
                <a16:creationId xmlns:a16="http://schemas.microsoft.com/office/drawing/2014/main" id="{147FCF33-A46A-4F1F-9C3F-5A984BCEEAD4}"/>
              </a:ext>
            </a:extLst>
          </p:cNvPr>
          <p:cNvSpPr>
            <a:spLocks noGrp="1"/>
          </p:cNvSpPr>
          <p:nvPr>
            <p:ph type="body" sz="quarter" idx="11" hasCustomPrompt="1"/>
          </p:nvPr>
        </p:nvSpPr>
        <p:spPr>
          <a:xfrm>
            <a:off x="5374010" y="2303232"/>
            <a:ext cx="6055246" cy="467293"/>
          </a:xfrm>
          <a:prstGeom prst="rect">
            <a:avLst/>
          </a:prstGeom>
        </p:spPr>
        <p:txBody>
          <a:bodyPr lIns="0" tIns="0" rIns="0" bIns="0" anchor="ctr"/>
          <a:lstStyle>
            <a:lvl1pPr>
              <a:defRPr lang="ru-RU" sz="4000" b="0" i="0" kern="1200" dirty="0">
                <a:solidFill>
                  <a:schemeClr val="tx2"/>
                </a:solidFill>
                <a:latin typeface="+mj-lt"/>
                <a:ea typeface="+mn-ea"/>
                <a:cs typeface="+mn-cs"/>
              </a:defRPr>
            </a:lvl1pPr>
          </a:lstStyle>
          <a:p>
            <a:pPr lvl="0"/>
            <a:r>
              <a:rPr lang="ru-RU"/>
              <a:t>ФАМИЛИЯ </a:t>
            </a:r>
          </a:p>
        </p:txBody>
      </p:sp>
      <p:sp>
        <p:nvSpPr>
          <p:cNvPr id="30" name="Текст 2">
            <a:extLst>
              <a:ext uri="{FF2B5EF4-FFF2-40B4-BE49-F238E27FC236}">
                <a16:creationId xmlns:a16="http://schemas.microsoft.com/office/drawing/2014/main" id="{35BB6424-01A1-4A67-8617-C99007F2E368}"/>
              </a:ext>
            </a:extLst>
          </p:cNvPr>
          <p:cNvSpPr>
            <a:spLocks noGrp="1"/>
          </p:cNvSpPr>
          <p:nvPr>
            <p:ph type="body" sz="quarter" idx="12" hasCustomPrompt="1"/>
          </p:nvPr>
        </p:nvSpPr>
        <p:spPr>
          <a:xfrm>
            <a:off x="5374010" y="2876670"/>
            <a:ext cx="6055246" cy="467293"/>
          </a:xfrm>
          <a:prstGeom prst="rect">
            <a:avLst/>
          </a:prstGeom>
        </p:spPr>
        <p:txBody>
          <a:bodyPr lIns="0" tIns="0" rIns="0" bIns="0" anchor="ctr"/>
          <a:lstStyle>
            <a:lvl1pPr>
              <a:defRPr lang="ru-RU" sz="3600" b="0" i="0" kern="1200" dirty="0">
                <a:solidFill>
                  <a:schemeClr val="tx2"/>
                </a:solidFill>
                <a:latin typeface="+mj-lt"/>
                <a:ea typeface="+mn-ea"/>
                <a:cs typeface="+mn-cs"/>
              </a:defRPr>
            </a:lvl1pPr>
          </a:lstStyle>
          <a:p>
            <a:pPr lvl="0"/>
            <a:r>
              <a:rPr lang="ru-RU"/>
              <a:t>Имя Отчество</a:t>
            </a:r>
          </a:p>
        </p:txBody>
      </p:sp>
      <p:sp>
        <p:nvSpPr>
          <p:cNvPr id="31" name="Текст 2">
            <a:extLst>
              <a:ext uri="{FF2B5EF4-FFF2-40B4-BE49-F238E27FC236}">
                <a16:creationId xmlns:a16="http://schemas.microsoft.com/office/drawing/2014/main" id="{4F808DF1-4060-4217-B194-BBA25D803586}"/>
              </a:ext>
            </a:extLst>
          </p:cNvPr>
          <p:cNvSpPr>
            <a:spLocks noGrp="1"/>
          </p:cNvSpPr>
          <p:nvPr>
            <p:ph type="body" sz="quarter" idx="13" hasCustomPrompt="1"/>
          </p:nvPr>
        </p:nvSpPr>
        <p:spPr>
          <a:xfrm>
            <a:off x="5374010" y="3663832"/>
            <a:ext cx="6055246" cy="830676"/>
          </a:xfrm>
          <a:prstGeom prst="rect">
            <a:avLst/>
          </a:prstGeom>
        </p:spPr>
        <p:txBody>
          <a:bodyPr lIns="0" tIns="0" rIns="0" bIns="0"/>
          <a:lstStyle>
            <a:lvl1pPr>
              <a:lnSpc>
                <a:spcPct val="100000"/>
              </a:lnSpc>
              <a:spcBef>
                <a:spcPts val="0"/>
              </a:spcBef>
              <a:defRPr lang="ru-RU" sz="1800" b="0" i="0" kern="1200" dirty="0">
                <a:solidFill>
                  <a:schemeClr val="accent6">
                    <a:lumMod val="50000"/>
                  </a:schemeClr>
                </a:solidFill>
                <a:latin typeface="+mn-lt"/>
                <a:ea typeface="+mn-ea"/>
                <a:cs typeface="+mn-cs"/>
              </a:defRPr>
            </a:lvl1pPr>
          </a:lstStyle>
          <a:p>
            <a:pPr lvl="0"/>
            <a:r>
              <a:rPr lang="ru-RU"/>
              <a:t>Должность</a:t>
            </a:r>
            <a:br>
              <a:rPr lang="ru-RU"/>
            </a:br>
            <a:r>
              <a:rPr lang="ru-RU"/>
              <a:t>в 2 строки</a:t>
            </a:r>
          </a:p>
        </p:txBody>
      </p:sp>
    </p:spTree>
    <p:extLst>
      <p:ext uri="{BB962C8B-B14F-4D97-AF65-F5344CB8AC3E}">
        <p14:creationId xmlns:p14="http://schemas.microsoft.com/office/powerpoint/2010/main" val="1435154112"/>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pic>
        <p:nvPicPr>
          <p:cNvPr id="21" name="Рисунок 20" descr="Изображение выглядит как внутренний&#10;&#10;Автоматически созданное описание">
            <a:extLst>
              <a:ext uri="{FF2B5EF4-FFF2-40B4-BE49-F238E27FC236}">
                <a16:creationId xmlns:a16="http://schemas.microsoft.com/office/drawing/2014/main" id="{B6FD1E12-CFBA-41B1-B78C-9A51F1705841}"/>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noProof="0">
              <a:solidFill>
                <a:srgbClr val="FFFFFF"/>
              </a:solidFill>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5264415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Пользовательский макет">
    <p:spTree>
      <p:nvGrpSpPr>
        <p:cNvPr id="1" name=""/>
        <p:cNvGrpSpPr/>
        <p:nvPr/>
      </p:nvGrpSpPr>
      <p:grpSpPr>
        <a:xfrm>
          <a:off x="0" y="0"/>
          <a:ext cx="0" cy="0"/>
          <a:chOff x="0" y="0"/>
          <a:chExt cx="0" cy="0"/>
        </a:xfrm>
      </p:grpSpPr>
      <p:pic>
        <p:nvPicPr>
          <p:cNvPr id="13" name="Рисунок 12" descr="Изображение выглядит как человек, внутренний, люди, группа&#10;&#10;Автоматически созданное описание">
            <a:extLst>
              <a:ext uri="{FF2B5EF4-FFF2-40B4-BE49-F238E27FC236}">
                <a16:creationId xmlns:a16="http://schemas.microsoft.com/office/drawing/2014/main" id="{CCF7037E-4589-420C-ACC6-854149D92F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4593935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Пользовательский макет">
    <p:spTree>
      <p:nvGrpSpPr>
        <p:cNvPr id="1" name=""/>
        <p:cNvGrpSpPr/>
        <p:nvPr/>
      </p:nvGrpSpPr>
      <p:grpSpPr>
        <a:xfrm>
          <a:off x="0" y="0"/>
          <a:ext cx="0" cy="0"/>
          <a:chOff x="0" y="0"/>
          <a:chExt cx="0" cy="0"/>
        </a:xfrm>
      </p:grpSpPr>
      <p:pic>
        <p:nvPicPr>
          <p:cNvPr id="3" name="Рисунок 2" descr="Изображение выглядит как текст, человек, внутренний, офис&#10;&#10;Автоматически созданное описание">
            <a:extLst>
              <a:ext uri="{FF2B5EF4-FFF2-40B4-BE49-F238E27FC236}">
                <a16:creationId xmlns:a16="http://schemas.microsoft.com/office/drawing/2014/main" id="{D1A963BE-6517-4DED-ADA2-3CF27C00D48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1"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25861"/>
            <a:ext cx="4676548"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15744041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7_Пользовательский макет">
    <p:spTree>
      <p:nvGrpSpPr>
        <p:cNvPr id="1" name=""/>
        <p:cNvGrpSpPr/>
        <p:nvPr/>
      </p:nvGrpSpPr>
      <p:grpSpPr>
        <a:xfrm>
          <a:off x="0" y="0"/>
          <a:ext cx="0" cy="0"/>
          <a:chOff x="0" y="0"/>
          <a:chExt cx="0" cy="0"/>
        </a:xfrm>
      </p:grpSpPr>
      <p:pic>
        <p:nvPicPr>
          <p:cNvPr id="16" name="Рисунок 15" descr="Изображение выглядит как внутренний, подарочная упаковка&#10;&#10;Автоматически созданное описание">
            <a:extLst>
              <a:ext uri="{FF2B5EF4-FFF2-40B4-BE49-F238E27FC236}">
                <a16:creationId xmlns:a16="http://schemas.microsoft.com/office/drawing/2014/main" id="{619D9CFC-C6DB-40F9-B6E4-6CD71C55227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144" y="-29560"/>
            <a:ext cx="12249144" cy="6883861"/>
          </a:xfrm>
          <a:prstGeom prst="rect">
            <a:avLst/>
          </a:prstGeom>
        </p:spPr>
      </p:pic>
      <p:sp>
        <p:nvSpPr>
          <p:cNvPr id="15" name="Прямоугольник 14">
            <a:extLst>
              <a:ext uri="{FF2B5EF4-FFF2-40B4-BE49-F238E27FC236}">
                <a16:creationId xmlns:a16="http://schemas.microsoft.com/office/drawing/2014/main" id="{05406112-FE61-458A-AF2D-6D2A301EE255}"/>
              </a:ext>
            </a:extLst>
          </p:cNvPr>
          <p:cNvSpPr/>
          <p:nvPr/>
        </p:nvSpPr>
        <p:spPr>
          <a:xfrm>
            <a:off x="-57144" y="-19050"/>
            <a:ext cx="12249144"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12702"/>
            <a:ext cx="4676548" cy="6870701"/>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035177"/>
            <a:ext cx="3609703" cy="2181606"/>
          </a:xfrm>
          <a:prstGeom prst="rect">
            <a:avLst/>
          </a:prstGeom>
        </p:spPr>
        <p:txBody>
          <a:bodyPr anchor="b"/>
          <a:lstStyle>
            <a:lvl1pPr>
              <a:defRPr sz="2800" b="0">
                <a:solidFill>
                  <a:schemeClr val="accent1"/>
                </a:solidFill>
                <a:latin typeface="+mj-lt"/>
              </a:defRPr>
            </a:lvl1pPr>
          </a:lstStyle>
          <a:p>
            <a:r>
              <a:rPr lang="ru-RU"/>
              <a:t>Образец заголовка</a:t>
            </a:r>
          </a:p>
        </p:txBody>
      </p:sp>
      <p:cxnSp>
        <p:nvCxnSpPr>
          <p:cNvPr id="13" name="Прямая соединительная линия 12">
            <a:extLst>
              <a:ext uri="{FF2B5EF4-FFF2-40B4-BE49-F238E27FC236}">
                <a16:creationId xmlns:a16="http://schemas.microsoft.com/office/drawing/2014/main" id="{DCADB122-DEAE-4447-BE2F-6A880D8B0162}"/>
              </a:ext>
            </a:extLst>
          </p:cNvPr>
          <p:cNvCxnSpPr>
            <a:cxnSpLocks/>
          </p:cNvCxnSpPr>
          <p:nvPr/>
        </p:nvCxnSpPr>
        <p:spPr>
          <a:xfrm flipV="1">
            <a:off x="767829" y="-2956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Прямоугольник 13">
            <a:extLst>
              <a:ext uri="{FF2B5EF4-FFF2-40B4-BE49-F238E27FC236}">
                <a16:creationId xmlns:a16="http://schemas.microsoft.com/office/drawing/2014/main" id="{837C2621-BDFF-4865-BEF1-CF12A37DEF47}"/>
              </a:ext>
            </a:extLst>
          </p:cNvPr>
          <p:cNvSpPr/>
          <p:nvPr/>
        </p:nvSpPr>
        <p:spPr>
          <a:xfrm>
            <a:off x="729774" y="3706322"/>
            <a:ext cx="72000" cy="487015"/>
          </a:xfrm>
          <a:prstGeom prst="rect">
            <a:avLst/>
          </a:prstGeom>
          <a:gradFill>
            <a:gsLst>
              <a:gs pos="41000">
                <a:schemeClr val="tx2"/>
              </a:gs>
              <a:gs pos="100000">
                <a:schemeClr val="accent1"/>
              </a:gs>
            </a:gsLst>
            <a:lin ang="4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7" name="Прямоугольник 16">
            <a:extLst>
              <a:ext uri="{FF2B5EF4-FFF2-40B4-BE49-F238E27FC236}">
                <a16:creationId xmlns:a16="http://schemas.microsoft.com/office/drawing/2014/main" id="{FAAFBBAF-8111-4574-B1BD-06ED2FBF1453}"/>
              </a:ext>
            </a:extLst>
          </p:cNvPr>
          <p:cNvSpPr/>
          <p:nvPr/>
        </p:nvSpPr>
        <p:spPr>
          <a:xfrm>
            <a:off x="4823892" y="-29560"/>
            <a:ext cx="730788"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Tree>
    <p:extLst>
      <p:ext uri="{BB962C8B-B14F-4D97-AF65-F5344CB8AC3E}">
        <p14:creationId xmlns:p14="http://schemas.microsoft.com/office/powerpoint/2010/main" val="35838957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8_Пользовательский макет">
    <p:spTree>
      <p:nvGrpSpPr>
        <p:cNvPr id="1" name=""/>
        <p:cNvGrpSpPr/>
        <p:nvPr/>
      </p:nvGrpSpPr>
      <p:grpSpPr>
        <a:xfrm>
          <a:off x="0" y="0"/>
          <a:ext cx="0" cy="0"/>
          <a:chOff x="0" y="0"/>
          <a:chExt cx="0" cy="0"/>
        </a:xfrm>
      </p:grpSpPr>
      <p:pic>
        <p:nvPicPr>
          <p:cNvPr id="16" name="Рисунок 15" descr="Изображение выглядит как внутренний, подарочная упаковка&#10;&#10;Автоматически созданное описание">
            <a:extLst>
              <a:ext uri="{FF2B5EF4-FFF2-40B4-BE49-F238E27FC236}">
                <a16:creationId xmlns:a16="http://schemas.microsoft.com/office/drawing/2014/main" id="{619D9CFC-C6DB-40F9-B6E4-6CD71C55227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144" y="-29560"/>
            <a:ext cx="12249144" cy="6883861"/>
          </a:xfrm>
          <a:prstGeom prst="rect">
            <a:avLst/>
          </a:prstGeom>
        </p:spPr>
      </p:pic>
      <p:sp>
        <p:nvSpPr>
          <p:cNvPr id="15" name="Прямоугольник 14">
            <a:extLst>
              <a:ext uri="{FF2B5EF4-FFF2-40B4-BE49-F238E27FC236}">
                <a16:creationId xmlns:a16="http://schemas.microsoft.com/office/drawing/2014/main" id="{05406112-FE61-458A-AF2D-6D2A301EE255}"/>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0800" y="-12702"/>
            <a:ext cx="5994400" cy="6870701"/>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414338" y="495300"/>
            <a:ext cx="3609703" cy="533400"/>
          </a:xfrm>
          <a:prstGeom prst="rect">
            <a:avLst/>
          </a:prstGeom>
        </p:spPr>
        <p:txBody>
          <a:bodyPr anchor="b"/>
          <a:lstStyle>
            <a:lvl1pPr>
              <a:defRPr sz="2800" b="0">
                <a:solidFill>
                  <a:schemeClr val="tx2"/>
                </a:solidFill>
                <a:latin typeface="+mj-lt"/>
              </a:defRPr>
            </a:lvl1pPr>
          </a:lstStyle>
          <a:p>
            <a:r>
              <a:rPr lang="ru-RU"/>
              <a:t>Образец заголовка</a:t>
            </a:r>
          </a:p>
        </p:txBody>
      </p:sp>
      <p:sp>
        <p:nvSpPr>
          <p:cNvPr id="10" name="Прямоугольник 9">
            <a:extLst>
              <a:ext uri="{FF2B5EF4-FFF2-40B4-BE49-F238E27FC236}">
                <a16:creationId xmlns:a16="http://schemas.microsoft.com/office/drawing/2014/main" id="{5A34602D-0D8D-41F0-BB84-CC3DB12E24BB}"/>
              </a:ext>
            </a:extLst>
          </p:cNvPr>
          <p:cNvSpPr/>
          <p:nvPr/>
        </p:nvSpPr>
        <p:spPr>
          <a:xfrm>
            <a:off x="5664200" y="-29560"/>
            <a:ext cx="538180"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8" name="Подзаголовок 2">
            <a:extLst>
              <a:ext uri="{FF2B5EF4-FFF2-40B4-BE49-F238E27FC236}">
                <a16:creationId xmlns:a16="http://schemas.microsoft.com/office/drawing/2014/main" id="{FA99F9D0-0180-40F5-86AA-36181D9994EC}"/>
              </a:ext>
            </a:extLst>
          </p:cNvPr>
          <p:cNvSpPr>
            <a:spLocks noGrp="1"/>
          </p:cNvSpPr>
          <p:nvPr>
            <p:ph type="subTitle" idx="1"/>
          </p:nvPr>
        </p:nvSpPr>
        <p:spPr>
          <a:xfrm>
            <a:off x="416922" y="1247394"/>
            <a:ext cx="3609703" cy="302006"/>
          </a:xfrm>
          <a:prstGeom prst="rect">
            <a:avLst/>
          </a:prstGeom>
        </p:spPr>
        <p:txBody>
          <a:bodyPr>
            <a:noAutofit/>
          </a:bodyPr>
          <a:lstStyle>
            <a:lvl1pPr marL="0" indent="0" algn="l">
              <a:buNone/>
              <a:defRPr sz="1800" baseline="0">
                <a:solidFill>
                  <a:schemeClr val="accent6">
                    <a:lumMod val="50000"/>
                  </a:schemeClr>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extLst>
      <p:ext uri="{BB962C8B-B14F-4D97-AF65-F5344CB8AC3E}">
        <p14:creationId xmlns:p14="http://schemas.microsoft.com/office/powerpoint/2010/main" val="649939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9_Пользовательский макет">
    <p:spTree>
      <p:nvGrpSpPr>
        <p:cNvPr id="1" name=""/>
        <p:cNvGrpSpPr/>
        <p:nvPr/>
      </p:nvGrpSpPr>
      <p:grpSpPr>
        <a:xfrm>
          <a:off x="0" y="0"/>
          <a:ext cx="0" cy="0"/>
          <a:chOff x="0" y="0"/>
          <a:chExt cx="0" cy="0"/>
        </a:xfrm>
      </p:grpSpPr>
      <p:pic>
        <p:nvPicPr>
          <p:cNvPr id="11" name="Рисунок 10">
            <a:extLst>
              <a:ext uri="{FF2B5EF4-FFF2-40B4-BE49-F238E27FC236}">
                <a16:creationId xmlns:a16="http://schemas.microsoft.com/office/drawing/2014/main" id="{0FD27E91-449A-4F55-9BD8-EFA1427D8CC5}"/>
              </a:ext>
            </a:extLst>
          </p:cNvPr>
          <p:cNvPicPr>
            <a:picLocks noChangeAspect="1"/>
          </p:cNvPicPr>
          <p:nvPr/>
        </p:nvPicPr>
        <p:blipFill rotWithShape="1">
          <a:blip r:embed="rId2">
            <a:extLst>
              <a:ext uri="{28A0092B-C50C-407E-A947-70E740481C1C}">
                <a14:useLocalDpi xmlns:a14="http://schemas.microsoft.com/office/drawing/2010/main" val="0"/>
              </a:ext>
            </a:extLst>
          </a:blip>
          <a:srcRect l="25664" r="23796" b="1622"/>
          <a:stretch/>
        </p:blipFill>
        <p:spPr>
          <a:xfrm>
            <a:off x="7785870" y="0"/>
            <a:ext cx="4406130" cy="6858000"/>
          </a:xfrm>
          <a:prstGeom prst="rect">
            <a:avLst/>
          </a:prstGeom>
        </p:spPr>
      </p:pic>
      <p:sp>
        <p:nvSpPr>
          <p:cNvPr id="15" name="Прямоугольник 14">
            <a:extLst>
              <a:ext uri="{FF2B5EF4-FFF2-40B4-BE49-F238E27FC236}">
                <a16:creationId xmlns:a16="http://schemas.microsoft.com/office/drawing/2014/main" id="{05406112-FE61-458A-AF2D-6D2A301EE255}"/>
              </a:ext>
            </a:extLst>
          </p:cNvPr>
          <p:cNvSpPr/>
          <p:nvPr/>
        </p:nvSpPr>
        <p:spPr>
          <a:xfrm>
            <a:off x="0" y="-19050"/>
            <a:ext cx="12192000"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0800" y="-12707"/>
            <a:ext cx="7591631" cy="6870701"/>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10" name="Прямоугольник 9">
            <a:extLst>
              <a:ext uri="{FF2B5EF4-FFF2-40B4-BE49-F238E27FC236}">
                <a16:creationId xmlns:a16="http://schemas.microsoft.com/office/drawing/2014/main" id="{5A34602D-0D8D-41F0-BB84-CC3DB12E24BB}"/>
              </a:ext>
            </a:extLst>
          </p:cNvPr>
          <p:cNvSpPr/>
          <p:nvPr/>
        </p:nvSpPr>
        <p:spPr>
          <a:xfrm>
            <a:off x="7267369" y="-29560"/>
            <a:ext cx="538180" cy="689437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Заголовок 1">
            <a:extLst>
              <a:ext uri="{FF2B5EF4-FFF2-40B4-BE49-F238E27FC236}">
                <a16:creationId xmlns:a16="http://schemas.microsoft.com/office/drawing/2014/main" id="{A6E44F40-1250-4D5A-9FDA-FF07E8609481}"/>
              </a:ext>
            </a:extLst>
          </p:cNvPr>
          <p:cNvSpPr>
            <a:spLocks noGrp="1"/>
          </p:cNvSpPr>
          <p:nvPr>
            <p:ph type="title" hasCustomPrompt="1"/>
          </p:nvPr>
        </p:nvSpPr>
        <p:spPr>
          <a:xfrm>
            <a:off x="511847" y="341593"/>
            <a:ext cx="6387717"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
        <p:nvSpPr>
          <p:cNvPr id="13" name="Подзаголовок 2">
            <a:extLst>
              <a:ext uri="{FF2B5EF4-FFF2-40B4-BE49-F238E27FC236}">
                <a16:creationId xmlns:a16="http://schemas.microsoft.com/office/drawing/2014/main" id="{F037F4C9-EF31-4CBB-B661-166B735A88C2}"/>
              </a:ext>
            </a:extLst>
          </p:cNvPr>
          <p:cNvSpPr>
            <a:spLocks noGrp="1"/>
          </p:cNvSpPr>
          <p:nvPr>
            <p:ph type="subTitle" idx="1"/>
          </p:nvPr>
        </p:nvSpPr>
        <p:spPr>
          <a:xfrm>
            <a:off x="515938" y="1093015"/>
            <a:ext cx="6506392" cy="332024"/>
          </a:xfrm>
          <a:prstGeom prst="rect">
            <a:avLst/>
          </a:prstGeom>
        </p:spPr>
        <p:txBody>
          <a:bodyPr lIns="0" rIns="0">
            <a:noAutofit/>
          </a:bodyPr>
          <a:lstStyle>
            <a:lvl1pPr marL="0" indent="0" algn="l">
              <a:buNone/>
              <a:defRPr sz="1400" baseline="0">
                <a:solidFill>
                  <a:schemeClr val="accent6">
                    <a:lumMod val="50000"/>
                  </a:schemeClr>
                </a:solidFill>
                <a:latin typeface="+mj-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Tree>
    <p:extLst>
      <p:ext uri="{BB962C8B-B14F-4D97-AF65-F5344CB8AC3E}">
        <p14:creationId xmlns:p14="http://schemas.microsoft.com/office/powerpoint/2010/main" val="10976365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pic>
        <p:nvPicPr>
          <p:cNvPr id="9" name="Рисунок 8" descr="Изображение выглядит как внутренний&#10;&#10;Автоматически созданное описание">
            <a:extLst>
              <a:ext uri="{FF2B5EF4-FFF2-40B4-BE49-F238E27FC236}">
                <a16:creationId xmlns:a16="http://schemas.microsoft.com/office/drawing/2014/main" id="{766996F0-AFD2-4B33-988F-6E6633121174}"/>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0" name="Рисунок 47">
            <a:extLst>
              <a:ext uri="{FF2B5EF4-FFF2-40B4-BE49-F238E27FC236}">
                <a16:creationId xmlns:a16="http://schemas.microsoft.com/office/drawing/2014/main" id="{48D90F6E-FB8D-43B0-A95E-1D262C02FDB9}"/>
              </a:ext>
            </a:extLst>
          </p:cNvPr>
          <p:cNvSpPr>
            <a:spLocks noGrp="1"/>
          </p:cNvSpPr>
          <p:nvPr>
            <p:ph type="pic" sz="quarter" idx="10" hasCustomPrompt="1"/>
          </p:nvPr>
        </p:nvSpPr>
        <p:spPr>
          <a:xfrm>
            <a:off x="0" y="-25861"/>
            <a:ext cx="12192000" cy="6883861"/>
          </a:xfrm>
          <a:prstGeom prst="rect">
            <a:avLst/>
          </a:prstGeom>
          <a:noFill/>
        </p:spPr>
        <p:txBody>
          <a:bodyPr/>
          <a:lstStyle>
            <a:lvl1pPr>
              <a:defRPr/>
            </a:lvl1pPr>
          </a:lstStyle>
          <a:p>
            <a:r>
              <a:rPr lang="ru-RU"/>
              <a:t>   </a:t>
            </a:r>
          </a:p>
        </p:txBody>
      </p:sp>
      <p:sp>
        <p:nvSpPr>
          <p:cNvPr id="11" name="Прямоугольник 10">
            <a:extLst>
              <a:ext uri="{FF2B5EF4-FFF2-40B4-BE49-F238E27FC236}">
                <a16:creationId xmlns:a16="http://schemas.microsoft.com/office/drawing/2014/main" id="{D8E61392-C9EC-4A3C-840D-C134A885CAA1}"/>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Прямоугольник 11">
            <a:extLst>
              <a:ext uri="{FF2B5EF4-FFF2-40B4-BE49-F238E27FC236}">
                <a16:creationId xmlns:a16="http://schemas.microsoft.com/office/drawing/2014/main" id="{500803B1-3460-4C4E-A97D-535B93C72777}"/>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13" name="Рисунок 12">
            <a:extLst>
              <a:ext uri="{FF2B5EF4-FFF2-40B4-BE49-F238E27FC236}">
                <a16:creationId xmlns:a16="http://schemas.microsoft.com/office/drawing/2014/main" id="{A0CC394C-6D86-42AF-B7C0-B959869ADA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14" name="TextBox 13">
            <a:extLst>
              <a:ext uri="{FF2B5EF4-FFF2-40B4-BE49-F238E27FC236}">
                <a16:creationId xmlns:a16="http://schemas.microsoft.com/office/drawing/2014/main" id="{16823997-05CF-4A22-A4DE-1DA7EF192CF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15" name="Текст 8">
            <a:extLst>
              <a:ext uri="{FF2B5EF4-FFF2-40B4-BE49-F238E27FC236}">
                <a16:creationId xmlns:a16="http://schemas.microsoft.com/office/drawing/2014/main" id="{2DC6C9A3-0B60-4766-9C80-8C000A805447}"/>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12795571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pic>
        <p:nvPicPr>
          <p:cNvPr id="21" name="Рисунок 20" descr="Изображение выглядит как внутренний&#10;&#10;Автоматически созданное описание">
            <a:extLst>
              <a:ext uri="{FF2B5EF4-FFF2-40B4-BE49-F238E27FC236}">
                <a16:creationId xmlns:a16="http://schemas.microsoft.com/office/drawing/2014/main" id="{B6FD1E12-CFBA-41B1-B78C-9A51F1705841}"/>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41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3962552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карточки с маленьким фот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793450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515938" y="1089025"/>
            <a:ext cx="3619182" cy="1816735"/>
          </a:xfrm>
          <a:prstGeom prst="rect">
            <a:avLst/>
          </a:prstGeom>
          <a:solidFill>
            <a:schemeClr val="bg1">
              <a:lumMod val="95000"/>
            </a:schemeClr>
          </a:solidFill>
          <a:ln w="6350">
            <a:solidFill>
              <a:schemeClr val="accent1"/>
            </a:solidFill>
          </a:ln>
        </p:spPr>
        <p:txBody>
          <a:bodyPr/>
          <a:lstStyle/>
          <a:p>
            <a:r>
              <a:rPr lang="ru-RU"/>
              <a:t>Вставка рисунка</a:t>
            </a:r>
          </a:p>
        </p:txBody>
      </p:sp>
      <p:sp>
        <p:nvSpPr>
          <p:cNvPr id="12" name="Рисунок 2">
            <a:extLst>
              <a:ext uri="{FF2B5EF4-FFF2-40B4-BE49-F238E27FC236}">
                <a16:creationId xmlns:a16="http://schemas.microsoft.com/office/drawing/2014/main" id="{B8AAF098-9333-40D1-90C3-D2DEE6B13255}"/>
              </a:ext>
            </a:extLst>
          </p:cNvPr>
          <p:cNvSpPr>
            <a:spLocks noGrp="1"/>
          </p:cNvSpPr>
          <p:nvPr>
            <p:ph type="pic" sz="quarter" idx="16"/>
          </p:nvPr>
        </p:nvSpPr>
        <p:spPr>
          <a:xfrm>
            <a:off x="4286409" y="1089025"/>
            <a:ext cx="3619182" cy="1816735"/>
          </a:xfrm>
          <a:prstGeom prst="rect">
            <a:avLst/>
          </a:prstGeom>
          <a:solidFill>
            <a:schemeClr val="bg1">
              <a:lumMod val="95000"/>
            </a:schemeClr>
          </a:solidFill>
          <a:ln w="6350">
            <a:solidFill>
              <a:schemeClr val="accent2"/>
            </a:solidFill>
          </a:ln>
        </p:spPr>
        <p:txBody>
          <a:bodyPr/>
          <a:lstStyle>
            <a:lvl1pPr>
              <a:defRPr lang="ru-RU"/>
            </a:lvl1pPr>
          </a:lstStyle>
          <a:p>
            <a:pPr lvl="0"/>
            <a:r>
              <a:rPr lang="ru-RU"/>
              <a:t>Вставка рисунка</a:t>
            </a:r>
          </a:p>
        </p:txBody>
      </p:sp>
      <p:sp>
        <p:nvSpPr>
          <p:cNvPr id="17" name="Рисунок 2">
            <a:extLst>
              <a:ext uri="{FF2B5EF4-FFF2-40B4-BE49-F238E27FC236}">
                <a16:creationId xmlns:a16="http://schemas.microsoft.com/office/drawing/2014/main" id="{468BD0BB-3AAA-4E90-9601-A4186E298CAF}"/>
              </a:ext>
            </a:extLst>
          </p:cNvPr>
          <p:cNvSpPr>
            <a:spLocks noGrp="1"/>
          </p:cNvSpPr>
          <p:nvPr>
            <p:ph type="pic" sz="quarter" idx="17"/>
          </p:nvPr>
        </p:nvSpPr>
        <p:spPr>
          <a:xfrm>
            <a:off x="8056880" y="1089025"/>
            <a:ext cx="3619182" cy="1816735"/>
          </a:xfrm>
          <a:prstGeom prst="rect">
            <a:avLst/>
          </a:prstGeom>
          <a:solidFill>
            <a:schemeClr val="bg1">
              <a:lumMod val="95000"/>
            </a:schemeClr>
          </a:solidFill>
          <a:ln w="6350">
            <a:solidFill>
              <a:schemeClr val="accent3"/>
            </a:solidFill>
          </a:ln>
        </p:spPr>
        <p:txBody>
          <a:bodyPr/>
          <a:lstStyle/>
          <a:p>
            <a:r>
              <a:rPr lang="ru-RU"/>
              <a:t>Вставка рисунка</a:t>
            </a:r>
          </a:p>
        </p:txBody>
      </p:sp>
      <p:sp>
        <p:nvSpPr>
          <p:cNvPr id="10" name="Заголовок 1">
            <a:extLst>
              <a:ext uri="{FF2B5EF4-FFF2-40B4-BE49-F238E27FC236}">
                <a16:creationId xmlns:a16="http://schemas.microsoft.com/office/drawing/2014/main" id="{67119BED-B472-48DE-8DD0-E67A60DD4674}"/>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1922144439"/>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Пользовательский макет">
    <p:spTree>
      <p:nvGrpSpPr>
        <p:cNvPr id="1" name=""/>
        <p:cNvGrpSpPr/>
        <p:nvPr/>
      </p:nvGrpSpPr>
      <p:grpSpPr>
        <a:xfrm>
          <a:off x="0" y="0"/>
          <a:ext cx="0" cy="0"/>
          <a:chOff x="0" y="0"/>
          <a:chExt cx="0" cy="0"/>
        </a:xfrm>
      </p:grpSpPr>
      <p:pic>
        <p:nvPicPr>
          <p:cNvPr id="13" name="Рисунок 12" descr="Изображение выглядит как человек, внутренний, люди, группа&#10;&#10;Автоматически созданное описание">
            <a:extLst>
              <a:ext uri="{FF2B5EF4-FFF2-40B4-BE49-F238E27FC236}">
                <a16:creationId xmlns:a16="http://schemas.microsoft.com/office/drawing/2014/main" id="{CCF7037E-4589-420C-ACC6-854149D92F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83861"/>
          </a:xfrm>
          <a:prstGeom prst="rect">
            <a:avLst/>
          </a:prstGeom>
        </p:spPr>
      </p:pic>
      <p:sp>
        <p:nvSpPr>
          <p:cNvPr id="12" name="Прямоугольник 11">
            <a:extLst>
              <a:ext uri="{FF2B5EF4-FFF2-40B4-BE49-F238E27FC236}">
                <a16:creationId xmlns:a16="http://schemas.microsoft.com/office/drawing/2014/main" id="{4F9145D6-6C18-434F-8423-ADB83C4E92D9}"/>
              </a:ext>
            </a:extLst>
          </p:cNvPr>
          <p:cNvSpPr/>
          <p:nvPr/>
        </p:nvSpPr>
        <p:spPr>
          <a:xfrm>
            <a:off x="0" y="-19050"/>
            <a:ext cx="10687665"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1"/>
            <a:ext cx="4676548" cy="6893625"/>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1489942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6_Пользовательский макет">
    <p:spTree>
      <p:nvGrpSpPr>
        <p:cNvPr id="1" name=""/>
        <p:cNvGrpSpPr/>
        <p:nvPr/>
      </p:nvGrpSpPr>
      <p:grpSpPr>
        <a:xfrm>
          <a:off x="0" y="0"/>
          <a:ext cx="0" cy="0"/>
          <a:chOff x="0" y="0"/>
          <a:chExt cx="0" cy="0"/>
        </a:xfrm>
      </p:grpSpPr>
      <p:pic>
        <p:nvPicPr>
          <p:cNvPr id="14" name="Рисунок 13" descr="Изображение выглядит как текст, внутренний&#10;&#10;Автоматически созданное описание">
            <a:extLst>
              <a:ext uri="{FF2B5EF4-FFF2-40B4-BE49-F238E27FC236}">
                <a16:creationId xmlns:a16="http://schemas.microsoft.com/office/drawing/2014/main" id="{D616E835-77B4-49F9-AC86-0806C1B65668}"/>
              </a:ext>
            </a:extLst>
          </p:cNvPr>
          <p:cNvPicPr>
            <a:picLocks noChangeAspect="1"/>
          </p:cNvPicPr>
          <p:nvPr/>
        </p:nvPicPr>
        <p:blipFill rotWithShape="1">
          <a:blip r:embed="rId2">
            <a:extLst>
              <a:ext uri="{28A0092B-C50C-407E-A947-70E740481C1C}">
                <a14:useLocalDpi xmlns:a14="http://schemas.microsoft.com/office/drawing/2010/main" val="0"/>
              </a:ext>
            </a:extLst>
          </a:blip>
          <a:srcRect l="-30" r="22136"/>
          <a:stretch/>
        </p:blipFill>
        <p:spPr>
          <a:xfrm>
            <a:off x="0" y="11875"/>
            <a:ext cx="8005133" cy="6858000"/>
          </a:xfrm>
          <a:custGeom>
            <a:avLst/>
            <a:gdLst>
              <a:gd name="connsiteX0" fmla="*/ 0 w 4780955"/>
              <a:gd name="connsiteY0" fmla="*/ 0 h 5773019"/>
              <a:gd name="connsiteX1" fmla="*/ 4780955 w 4780955"/>
              <a:gd name="connsiteY1" fmla="*/ 0 h 5773019"/>
              <a:gd name="connsiteX2" fmla="*/ 4780955 w 4780955"/>
              <a:gd name="connsiteY2" fmla="*/ 5773019 h 5773019"/>
              <a:gd name="connsiteX3" fmla="*/ 630376 w 4780955"/>
              <a:gd name="connsiteY3" fmla="*/ 5773019 h 5773019"/>
              <a:gd name="connsiteX0" fmla="*/ 0 w 4780955"/>
              <a:gd name="connsiteY0" fmla="*/ 0 h 5786343"/>
              <a:gd name="connsiteX1" fmla="*/ 4780955 w 4780955"/>
              <a:gd name="connsiteY1" fmla="*/ 0 h 5786343"/>
              <a:gd name="connsiteX2" fmla="*/ 4780955 w 4780955"/>
              <a:gd name="connsiteY2" fmla="*/ 5773019 h 5786343"/>
              <a:gd name="connsiteX3" fmla="*/ 1096154 w 4780955"/>
              <a:gd name="connsiteY3" fmla="*/ 5786343 h 5786343"/>
              <a:gd name="connsiteX4" fmla="*/ 630376 w 4780955"/>
              <a:gd name="connsiteY4" fmla="*/ 5773019 h 5786343"/>
              <a:gd name="connsiteX5" fmla="*/ 0 w 4780955"/>
              <a:gd name="connsiteY5" fmla="*/ 0 h 5786343"/>
              <a:gd name="connsiteX0" fmla="*/ 1363266 w 6144221"/>
              <a:gd name="connsiteY0" fmla="*/ 0 h 5795147"/>
              <a:gd name="connsiteX1" fmla="*/ 6144221 w 6144221"/>
              <a:gd name="connsiteY1" fmla="*/ 0 h 5795147"/>
              <a:gd name="connsiteX2" fmla="*/ 6144221 w 6144221"/>
              <a:gd name="connsiteY2" fmla="*/ 5773019 h 5795147"/>
              <a:gd name="connsiteX3" fmla="*/ 2459420 w 6144221"/>
              <a:gd name="connsiteY3" fmla="*/ 5786343 h 5795147"/>
              <a:gd name="connsiteX4" fmla="*/ 0 w 6144221"/>
              <a:gd name="connsiteY4" fmla="*/ 5795147 h 5795147"/>
              <a:gd name="connsiteX5" fmla="*/ 1363266 w 6144221"/>
              <a:gd name="connsiteY5" fmla="*/ 0 h 5795147"/>
              <a:gd name="connsiteX0" fmla="*/ 1363266 w 6144221"/>
              <a:gd name="connsiteY0" fmla="*/ 0 h 5795147"/>
              <a:gd name="connsiteX1" fmla="*/ 6144221 w 6144221"/>
              <a:gd name="connsiteY1" fmla="*/ 0 h 5795147"/>
              <a:gd name="connsiteX2" fmla="*/ 6144221 w 6144221"/>
              <a:gd name="connsiteY2" fmla="*/ 5773019 h 5795147"/>
              <a:gd name="connsiteX3" fmla="*/ 0 w 6144221"/>
              <a:gd name="connsiteY3" fmla="*/ 5795147 h 5795147"/>
              <a:gd name="connsiteX4" fmla="*/ 1363266 w 6144221"/>
              <a:gd name="connsiteY4" fmla="*/ 0 h 5795147"/>
              <a:gd name="connsiteX0" fmla="*/ 1074532 w 5855487"/>
              <a:gd name="connsiteY0" fmla="*/ 0 h 5773019"/>
              <a:gd name="connsiteX1" fmla="*/ 5855487 w 5855487"/>
              <a:gd name="connsiteY1" fmla="*/ 0 h 5773019"/>
              <a:gd name="connsiteX2" fmla="*/ 5855487 w 5855487"/>
              <a:gd name="connsiteY2" fmla="*/ 5773019 h 5773019"/>
              <a:gd name="connsiteX3" fmla="*/ 0 w 5855487"/>
              <a:gd name="connsiteY3" fmla="*/ 5750892 h 5773019"/>
              <a:gd name="connsiteX4" fmla="*/ 1074532 w 5855487"/>
              <a:gd name="connsiteY4" fmla="*/ 0 h 5773019"/>
              <a:gd name="connsiteX0" fmla="*/ 1047034 w 5827989"/>
              <a:gd name="connsiteY0" fmla="*/ 0 h 5784084"/>
              <a:gd name="connsiteX1" fmla="*/ 5827989 w 5827989"/>
              <a:gd name="connsiteY1" fmla="*/ 0 h 5784084"/>
              <a:gd name="connsiteX2" fmla="*/ 5827989 w 5827989"/>
              <a:gd name="connsiteY2" fmla="*/ 5773019 h 5784084"/>
              <a:gd name="connsiteX3" fmla="*/ 0 w 5827989"/>
              <a:gd name="connsiteY3" fmla="*/ 5784084 h 5784084"/>
              <a:gd name="connsiteX4" fmla="*/ 1047034 w 5827989"/>
              <a:gd name="connsiteY4" fmla="*/ 0 h 5784084"/>
              <a:gd name="connsiteX0" fmla="*/ 1033285 w 5814240"/>
              <a:gd name="connsiteY0" fmla="*/ 0 h 5773021"/>
              <a:gd name="connsiteX1" fmla="*/ 5814240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814240"/>
              <a:gd name="connsiteY0" fmla="*/ 12829 h 5785850"/>
              <a:gd name="connsiteX1" fmla="*/ 5202760 w 5814240"/>
              <a:gd name="connsiteY1" fmla="*/ 0 h 5785850"/>
              <a:gd name="connsiteX2" fmla="*/ 5814240 w 5814240"/>
              <a:gd name="connsiteY2" fmla="*/ 5785848 h 5785850"/>
              <a:gd name="connsiteX3" fmla="*/ 0 w 5814240"/>
              <a:gd name="connsiteY3" fmla="*/ 5785850 h 5785850"/>
              <a:gd name="connsiteX4" fmla="*/ 1033285 w 5814240"/>
              <a:gd name="connsiteY4" fmla="*/ 12829 h 5785850"/>
              <a:gd name="connsiteX0" fmla="*/ 1033285 w 5814240"/>
              <a:gd name="connsiteY0" fmla="*/ 0 h 5773021"/>
              <a:gd name="connsiteX1" fmla="*/ 5352746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352746"/>
              <a:gd name="connsiteY0" fmla="*/ 0 h 5773021"/>
              <a:gd name="connsiteX1" fmla="*/ 5352746 w 5352746"/>
              <a:gd name="connsiteY1" fmla="*/ 0 h 5773021"/>
              <a:gd name="connsiteX2" fmla="*/ 4879713 w 5352746"/>
              <a:gd name="connsiteY2" fmla="*/ 5567756 h 5773021"/>
              <a:gd name="connsiteX3" fmla="*/ 0 w 5352746"/>
              <a:gd name="connsiteY3" fmla="*/ 5773021 h 5773021"/>
              <a:gd name="connsiteX4" fmla="*/ 1033285 w 5352746"/>
              <a:gd name="connsiteY4" fmla="*/ 0 h 5773021"/>
              <a:gd name="connsiteX0" fmla="*/ 1033285 w 5352746"/>
              <a:gd name="connsiteY0" fmla="*/ 0 h 5773021"/>
              <a:gd name="connsiteX1" fmla="*/ 5352746 w 5352746"/>
              <a:gd name="connsiteY1" fmla="*/ 0 h 5773021"/>
              <a:gd name="connsiteX2" fmla="*/ 5341208 w 5352746"/>
              <a:gd name="connsiteY2" fmla="*/ 5773019 h 5773021"/>
              <a:gd name="connsiteX3" fmla="*/ 0 w 5352746"/>
              <a:gd name="connsiteY3" fmla="*/ 5773021 h 5773021"/>
              <a:gd name="connsiteX4" fmla="*/ 1033285 w 5352746"/>
              <a:gd name="connsiteY4" fmla="*/ 0 h 5773021"/>
              <a:gd name="connsiteX0" fmla="*/ 1033285 w 5341208"/>
              <a:gd name="connsiteY0" fmla="*/ 0 h 5773021"/>
              <a:gd name="connsiteX1" fmla="*/ 5288137 w 5341208"/>
              <a:gd name="connsiteY1" fmla="*/ 107763 h 5773021"/>
              <a:gd name="connsiteX2" fmla="*/ 5341208 w 5341208"/>
              <a:gd name="connsiteY2" fmla="*/ 5773019 h 5773021"/>
              <a:gd name="connsiteX3" fmla="*/ 0 w 5341208"/>
              <a:gd name="connsiteY3" fmla="*/ 5773021 h 5773021"/>
              <a:gd name="connsiteX4" fmla="*/ 1033285 w 5341208"/>
              <a:gd name="connsiteY4" fmla="*/ 0 h 5773021"/>
              <a:gd name="connsiteX0" fmla="*/ 1033285 w 5343516"/>
              <a:gd name="connsiteY0" fmla="*/ 0 h 5773021"/>
              <a:gd name="connsiteX1" fmla="*/ 5343516 w 5343516"/>
              <a:gd name="connsiteY1" fmla="*/ 0 h 5773021"/>
              <a:gd name="connsiteX2" fmla="*/ 5341208 w 5343516"/>
              <a:gd name="connsiteY2" fmla="*/ 5773019 h 5773021"/>
              <a:gd name="connsiteX3" fmla="*/ 0 w 5343516"/>
              <a:gd name="connsiteY3" fmla="*/ 5773021 h 5773021"/>
              <a:gd name="connsiteX4" fmla="*/ 1033285 w 5343516"/>
              <a:gd name="connsiteY4" fmla="*/ 0 h 5773021"/>
              <a:gd name="connsiteX0" fmla="*/ 1033285 w 5343516"/>
              <a:gd name="connsiteY0" fmla="*/ 0 h 5773021"/>
              <a:gd name="connsiteX1" fmla="*/ 5343516 w 5343516"/>
              <a:gd name="connsiteY1" fmla="*/ 0 h 5773021"/>
              <a:gd name="connsiteX2" fmla="*/ 5290444 w 5343516"/>
              <a:gd name="connsiteY2" fmla="*/ 5701177 h 5773021"/>
              <a:gd name="connsiteX3" fmla="*/ 0 w 5343516"/>
              <a:gd name="connsiteY3" fmla="*/ 5773021 h 5773021"/>
              <a:gd name="connsiteX4" fmla="*/ 1033285 w 5343516"/>
              <a:gd name="connsiteY4" fmla="*/ 0 h 5773021"/>
              <a:gd name="connsiteX0" fmla="*/ 1033285 w 5345925"/>
              <a:gd name="connsiteY0" fmla="*/ 0 h 5778151"/>
              <a:gd name="connsiteX1" fmla="*/ 5343516 w 5345925"/>
              <a:gd name="connsiteY1" fmla="*/ 0 h 5778151"/>
              <a:gd name="connsiteX2" fmla="*/ 5345823 w 5345925"/>
              <a:gd name="connsiteY2" fmla="*/ 5778151 h 5778151"/>
              <a:gd name="connsiteX3" fmla="*/ 0 w 5345925"/>
              <a:gd name="connsiteY3" fmla="*/ 5773021 h 5778151"/>
              <a:gd name="connsiteX4" fmla="*/ 1033285 w 5345925"/>
              <a:gd name="connsiteY4" fmla="*/ 0 h 5778151"/>
              <a:gd name="connsiteX0" fmla="*/ 26970 w 4339610"/>
              <a:gd name="connsiteY0" fmla="*/ 0 h 5778151"/>
              <a:gd name="connsiteX1" fmla="*/ 4337201 w 4339610"/>
              <a:gd name="connsiteY1" fmla="*/ 0 h 5778151"/>
              <a:gd name="connsiteX2" fmla="*/ 4339508 w 4339610"/>
              <a:gd name="connsiteY2" fmla="*/ 5778151 h 5778151"/>
              <a:gd name="connsiteX3" fmla="*/ 0 w 4339610"/>
              <a:gd name="connsiteY3" fmla="*/ 5758767 h 5778151"/>
              <a:gd name="connsiteX4" fmla="*/ 26970 w 4339610"/>
              <a:gd name="connsiteY4" fmla="*/ 0 h 577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610" h="5778151">
                <a:moveTo>
                  <a:pt x="26970" y="0"/>
                </a:moveTo>
                <a:lnTo>
                  <a:pt x="4337201" y="0"/>
                </a:lnTo>
                <a:cubicBezTo>
                  <a:pt x="4336432" y="1924340"/>
                  <a:pt x="4340277" y="3853811"/>
                  <a:pt x="4339508" y="5778151"/>
                </a:cubicBezTo>
                <a:lnTo>
                  <a:pt x="0" y="5758767"/>
                </a:lnTo>
                <a:lnTo>
                  <a:pt x="26970" y="0"/>
                </a:lnTo>
                <a:close/>
              </a:path>
            </a:pathLst>
          </a:custGeom>
        </p:spPr>
      </p:pic>
      <p:pic>
        <p:nvPicPr>
          <p:cNvPr id="13" name="Рисунок 12" descr="Изображение выглядит как текст, внутренний&#10;&#10;Автоматически созданное описание">
            <a:extLst>
              <a:ext uri="{FF2B5EF4-FFF2-40B4-BE49-F238E27FC236}">
                <a16:creationId xmlns:a16="http://schemas.microsoft.com/office/drawing/2014/main" id="{46CD34BB-7195-4014-A089-523133FC19B7}"/>
              </a:ext>
            </a:extLst>
          </p:cNvPr>
          <p:cNvPicPr>
            <a:picLocks noChangeAspect="1"/>
          </p:cNvPicPr>
          <p:nvPr/>
        </p:nvPicPr>
        <p:blipFill rotWithShape="1">
          <a:blip r:embed="rId2">
            <a:extLst>
              <a:ext uri="{28A0092B-C50C-407E-A947-70E740481C1C}">
                <a14:useLocalDpi xmlns:a14="http://schemas.microsoft.com/office/drawing/2010/main" val="0"/>
              </a:ext>
            </a:extLst>
          </a:blip>
          <a:srcRect l="1000" r="22136"/>
          <a:stretch/>
        </p:blipFill>
        <p:spPr>
          <a:xfrm>
            <a:off x="4286993" y="0"/>
            <a:ext cx="7906596" cy="6864350"/>
          </a:xfrm>
          <a:custGeom>
            <a:avLst/>
            <a:gdLst>
              <a:gd name="connsiteX0" fmla="*/ 0 w 4780955"/>
              <a:gd name="connsiteY0" fmla="*/ 0 h 5773019"/>
              <a:gd name="connsiteX1" fmla="*/ 4780955 w 4780955"/>
              <a:gd name="connsiteY1" fmla="*/ 0 h 5773019"/>
              <a:gd name="connsiteX2" fmla="*/ 4780955 w 4780955"/>
              <a:gd name="connsiteY2" fmla="*/ 5773019 h 5773019"/>
              <a:gd name="connsiteX3" fmla="*/ 630376 w 4780955"/>
              <a:gd name="connsiteY3" fmla="*/ 5773019 h 5773019"/>
              <a:gd name="connsiteX0" fmla="*/ 0 w 4780955"/>
              <a:gd name="connsiteY0" fmla="*/ 0 h 5786343"/>
              <a:gd name="connsiteX1" fmla="*/ 4780955 w 4780955"/>
              <a:gd name="connsiteY1" fmla="*/ 0 h 5786343"/>
              <a:gd name="connsiteX2" fmla="*/ 4780955 w 4780955"/>
              <a:gd name="connsiteY2" fmla="*/ 5773019 h 5786343"/>
              <a:gd name="connsiteX3" fmla="*/ 1096154 w 4780955"/>
              <a:gd name="connsiteY3" fmla="*/ 5786343 h 5786343"/>
              <a:gd name="connsiteX4" fmla="*/ 630376 w 4780955"/>
              <a:gd name="connsiteY4" fmla="*/ 5773019 h 5786343"/>
              <a:gd name="connsiteX5" fmla="*/ 0 w 4780955"/>
              <a:gd name="connsiteY5" fmla="*/ 0 h 5786343"/>
              <a:gd name="connsiteX0" fmla="*/ 1363266 w 6144221"/>
              <a:gd name="connsiteY0" fmla="*/ 0 h 5795147"/>
              <a:gd name="connsiteX1" fmla="*/ 6144221 w 6144221"/>
              <a:gd name="connsiteY1" fmla="*/ 0 h 5795147"/>
              <a:gd name="connsiteX2" fmla="*/ 6144221 w 6144221"/>
              <a:gd name="connsiteY2" fmla="*/ 5773019 h 5795147"/>
              <a:gd name="connsiteX3" fmla="*/ 2459420 w 6144221"/>
              <a:gd name="connsiteY3" fmla="*/ 5786343 h 5795147"/>
              <a:gd name="connsiteX4" fmla="*/ 0 w 6144221"/>
              <a:gd name="connsiteY4" fmla="*/ 5795147 h 5795147"/>
              <a:gd name="connsiteX5" fmla="*/ 1363266 w 6144221"/>
              <a:gd name="connsiteY5" fmla="*/ 0 h 5795147"/>
              <a:gd name="connsiteX0" fmla="*/ 1363266 w 6144221"/>
              <a:gd name="connsiteY0" fmla="*/ 0 h 5795147"/>
              <a:gd name="connsiteX1" fmla="*/ 6144221 w 6144221"/>
              <a:gd name="connsiteY1" fmla="*/ 0 h 5795147"/>
              <a:gd name="connsiteX2" fmla="*/ 6144221 w 6144221"/>
              <a:gd name="connsiteY2" fmla="*/ 5773019 h 5795147"/>
              <a:gd name="connsiteX3" fmla="*/ 0 w 6144221"/>
              <a:gd name="connsiteY3" fmla="*/ 5795147 h 5795147"/>
              <a:gd name="connsiteX4" fmla="*/ 1363266 w 6144221"/>
              <a:gd name="connsiteY4" fmla="*/ 0 h 5795147"/>
              <a:gd name="connsiteX0" fmla="*/ 1074532 w 5855487"/>
              <a:gd name="connsiteY0" fmla="*/ 0 h 5773019"/>
              <a:gd name="connsiteX1" fmla="*/ 5855487 w 5855487"/>
              <a:gd name="connsiteY1" fmla="*/ 0 h 5773019"/>
              <a:gd name="connsiteX2" fmla="*/ 5855487 w 5855487"/>
              <a:gd name="connsiteY2" fmla="*/ 5773019 h 5773019"/>
              <a:gd name="connsiteX3" fmla="*/ 0 w 5855487"/>
              <a:gd name="connsiteY3" fmla="*/ 5750892 h 5773019"/>
              <a:gd name="connsiteX4" fmla="*/ 1074532 w 5855487"/>
              <a:gd name="connsiteY4" fmla="*/ 0 h 5773019"/>
              <a:gd name="connsiteX0" fmla="*/ 1047034 w 5827989"/>
              <a:gd name="connsiteY0" fmla="*/ 0 h 5784084"/>
              <a:gd name="connsiteX1" fmla="*/ 5827989 w 5827989"/>
              <a:gd name="connsiteY1" fmla="*/ 0 h 5784084"/>
              <a:gd name="connsiteX2" fmla="*/ 5827989 w 5827989"/>
              <a:gd name="connsiteY2" fmla="*/ 5773019 h 5784084"/>
              <a:gd name="connsiteX3" fmla="*/ 0 w 5827989"/>
              <a:gd name="connsiteY3" fmla="*/ 5784084 h 5784084"/>
              <a:gd name="connsiteX4" fmla="*/ 1047034 w 5827989"/>
              <a:gd name="connsiteY4" fmla="*/ 0 h 5784084"/>
              <a:gd name="connsiteX0" fmla="*/ 1033285 w 5814240"/>
              <a:gd name="connsiteY0" fmla="*/ 0 h 5773021"/>
              <a:gd name="connsiteX1" fmla="*/ 5814240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814240"/>
              <a:gd name="connsiteY0" fmla="*/ 12829 h 5785850"/>
              <a:gd name="connsiteX1" fmla="*/ 5202760 w 5814240"/>
              <a:gd name="connsiteY1" fmla="*/ 0 h 5785850"/>
              <a:gd name="connsiteX2" fmla="*/ 5814240 w 5814240"/>
              <a:gd name="connsiteY2" fmla="*/ 5785848 h 5785850"/>
              <a:gd name="connsiteX3" fmla="*/ 0 w 5814240"/>
              <a:gd name="connsiteY3" fmla="*/ 5785850 h 5785850"/>
              <a:gd name="connsiteX4" fmla="*/ 1033285 w 5814240"/>
              <a:gd name="connsiteY4" fmla="*/ 12829 h 5785850"/>
              <a:gd name="connsiteX0" fmla="*/ 1033285 w 5814240"/>
              <a:gd name="connsiteY0" fmla="*/ 0 h 5773021"/>
              <a:gd name="connsiteX1" fmla="*/ 5352746 w 5814240"/>
              <a:gd name="connsiteY1" fmla="*/ 0 h 5773021"/>
              <a:gd name="connsiteX2" fmla="*/ 5814240 w 5814240"/>
              <a:gd name="connsiteY2" fmla="*/ 5773019 h 5773021"/>
              <a:gd name="connsiteX3" fmla="*/ 0 w 5814240"/>
              <a:gd name="connsiteY3" fmla="*/ 5773021 h 5773021"/>
              <a:gd name="connsiteX4" fmla="*/ 1033285 w 5814240"/>
              <a:gd name="connsiteY4" fmla="*/ 0 h 5773021"/>
              <a:gd name="connsiteX0" fmla="*/ 1033285 w 5352746"/>
              <a:gd name="connsiteY0" fmla="*/ 0 h 5773021"/>
              <a:gd name="connsiteX1" fmla="*/ 5352746 w 5352746"/>
              <a:gd name="connsiteY1" fmla="*/ 0 h 5773021"/>
              <a:gd name="connsiteX2" fmla="*/ 4879713 w 5352746"/>
              <a:gd name="connsiteY2" fmla="*/ 5567756 h 5773021"/>
              <a:gd name="connsiteX3" fmla="*/ 0 w 5352746"/>
              <a:gd name="connsiteY3" fmla="*/ 5773021 h 5773021"/>
              <a:gd name="connsiteX4" fmla="*/ 1033285 w 5352746"/>
              <a:gd name="connsiteY4" fmla="*/ 0 h 5773021"/>
              <a:gd name="connsiteX0" fmla="*/ 1033285 w 5352746"/>
              <a:gd name="connsiteY0" fmla="*/ 0 h 5773021"/>
              <a:gd name="connsiteX1" fmla="*/ 5352746 w 5352746"/>
              <a:gd name="connsiteY1" fmla="*/ 0 h 5773021"/>
              <a:gd name="connsiteX2" fmla="*/ 5341208 w 5352746"/>
              <a:gd name="connsiteY2" fmla="*/ 5773019 h 5773021"/>
              <a:gd name="connsiteX3" fmla="*/ 0 w 5352746"/>
              <a:gd name="connsiteY3" fmla="*/ 5773021 h 5773021"/>
              <a:gd name="connsiteX4" fmla="*/ 1033285 w 5352746"/>
              <a:gd name="connsiteY4" fmla="*/ 0 h 5773021"/>
              <a:gd name="connsiteX0" fmla="*/ 1033285 w 5341208"/>
              <a:gd name="connsiteY0" fmla="*/ 0 h 5773021"/>
              <a:gd name="connsiteX1" fmla="*/ 5288137 w 5341208"/>
              <a:gd name="connsiteY1" fmla="*/ 107763 h 5773021"/>
              <a:gd name="connsiteX2" fmla="*/ 5341208 w 5341208"/>
              <a:gd name="connsiteY2" fmla="*/ 5773019 h 5773021"/>
              <a:gd name="connsiteX3" fmla="*/ 0 w 5341208"/>
              <a:gd name="connsiteY3" fmla="*/ 5773021 h 5773021"/>
              <a:gd name="connsiteX4" fmla="*/ 1033285 w 5341208"/>
              <a:gd name="connsiteY4" fmla="*/ 0 h 5773021"/>
              <a:gd name="connsiteX0" fmla="*/ 1033285 w 5343516"/>
              <a:gd name="connsiteY0" fmla="*/ 0 h 5773021"/>
              <a:gd name="connsiteX1" fmla="*/ 5343516 w 5343516"/>
              <a:gd name="connsiteY1" fmla="*/ 0 h 5773021"/>
              <a:gd name="connsiteX2" fmla="*/ 5341208 w 5343516"/>
              <a:gd name="connsiteY2" fmla="*/ 5773019 h 5773021"/>
              <a:gd name="connsiteX3" fmla="*/ 0 w 5343516"/>
              <a:gd name="connsiteY3" fmla="*/ 5773021 h 5773021"/>
              <a:gd name="connsiteX4" fmla="*/ 1033285 w 5343516"/>
              <a:gd name="connsiteY4" fmla="*/ 0 h 5773021"/>
              <a:gd name="connsiteX0" fmla="*/ 1033285 w 5343516"/>
              <a:gd name="connsiteY0" fmla="*/ 0 h 5773021"/>
              <a:gd name="connsiteX1" fmla="*/ 5343516 w 5343516"/>
              <a:gd name="connsiteY1" fmla="*/ 0 h 5773021"/>
              <a:gd name="connsiteX2" fmla="*/ 5290444 w 5343516"/>
              <a:gd name="connsiteY2" fmla="*/ 5701177 h 5773021"/>
              <a:gd name="connsiteX3" fmla="*/ 0 w 5343516"/>
              <a:gd name="connsiteY3" fmla="*/ 5773021 h 5773021"/>
              <a:gd name="connsiteX4" fmla="*/ 1033285 w 5343516"/>
              <a:gd name="connsiteY4" fmla="*/ 0 h 5773021"/>
              <a:gd name="connsiteX0" fmla="*/ 1033285 w 5345925"/>
              <a:gd name="connsiteY0" fmla="*/ 0 h 5778151"/>
              <a:gd name="connsiteX1" fmla="*/ 5343516 w 5345925"/>
              <a:gd name="connsiteY1" fmla="*/ 0 h 5778151"/>
              <a:gd name="connsiteX2" fmla="*/ 5345823 w 5345925"/>
              <a:gd name="connsiteY2" fmla="*/ 5778151 h 5778151"/>
              <a:gd name="connsiteX3" fmla="*/ 0 w 5345925"/>
              <a:gd name="connsiteY3" fmla="*/ 5773021 h 5778151"/>
              <a:gd name="connsiteX4" fmla="*/ 1033285 w 5345925"/>
              <a:gd name="connsiteY4" fmla="*/ 0 h 5778151"/>
              <a:gd name="connsiteX0" fmla="*/ 26970 w 4339610"/>
              <a:gd name="connsiteY0" fmla="*/ 0 h 5778151"/>
              <a:gd name="connsiteX1" fmla="*/ 4337201 w 4339610"/>
              <a:gd name="connsiteY1" fmla="*/ 0 h 5778151"/>
              <a:gd name="connsiteX2" fmla="*/ 4339508 w 4339610"/>
              <a:gd name="connsiteY2" fmla="*/ 5778151 h 5778151"/>
              <a:gd name="connsiteX3" fmla="*/ 0 w 4339610"/>
              <a:gd name="connsiteY3" fmla="*/ 5758767 h 5778151"/>
              <a:gd name="connsiteX4" fmla="*/ 26970 w 4339610"/>
              <a:gd name="connsiteY4" fmla="*/ 0 h 577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9610" h="5778151">
                <a:moveTo>
                  <a:pt x="26970" y="0"/>
                </a:moveTo>
                <a:lnTo>
                  <a:pt x="4337201" y="0"/>
                </a:lnTo>
                <a:cubicBezTo>
                  <a:pt x="4336432" y="1924340"/>
                  <a:pt x="4340277" y="3853811"/>
                  <a:pt x="4339508" y="5778151"/>
                </a:cubicBezTo>
                <a:lnTo>
                  <a:pt x="0" y="5758767"/>
                </a:lnTo>
                <a:lnTo>
                  <a:pt x="26970" y="0"/>
                </a:lnTo>
                <a:close/>
              </a:path>
            </a:pathLst>
          </a:custGeom>
        </p:spPr>
      </p:pic>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26" name="Рисунок 25">
            <a:extLst>
              <a:ext uri="{FF2B5EF4-FFF2-40B4-BE49-F238E27FC236}">
                <a16:creationId xmlns:a16="http://schemas.microsoft.com/office/drawing/2014/main" id="{1D0B8B00-2998-4932-8CA9-C74A610A36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988422" y="4676394"/>
            <a:ext cx="3609703" cy="1051744"/>
          </a:xfrm>
          <a:prstGeom prst="rect">
            <a:avLst/>
          </a:prstGeom>
        </p:spPr>
        <p:txBody>
          <a:bodyPr>
            <a:normAutofit/>
          </a:bodyPr>
          <a:lstStyle>
            <a:lvl1pPr marL="0" indent="0" algn="l">
              <a:buNone/>
              <a:defRPr sz="14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29" name="Текст 31">
            <a:extLst>
              <a:ext uri="{FF2B5EF4-FFF2-40B4-BE49-F238E27FC236}">
                <a16:creationId xmlns:a16="http://schemas.microsoft.com/office/drawing/2014/main" id="{2163AA49-F29C-4B23-805B-C4BBFA1114F8}"/>
              </a:ext>
            </a:extLst>
          </p:cNvPr>
          <p:cNvSpPr>
            <a:spLocks noGrp="1"/>
          </p:cNvSpPr>
          <p:nvPr>
            <p:ph type="body" sz="quarter" idx="11" hasCustomPrompt="1"/>
          </p:nvPr>
        </p:nvSpPr>
        <p:spPr>
          <a:xfrm>
            <a:off x="988422" y="5924363"/>
            <a:ext cx="3609703" cy="234390"/>
          </a:xfrm>
          <a:prstGeom prst="rect">
            <a:avLst/>
          </a:prstGeom>
        </p:spPr>
        <p:txBody>
          <a:bodyPr anchor="ctr">
            <a:normAutofit/>
          </a:bodyPr>
          <a:lstStyle>
            <a:lvl1pPr marL="0" indent="0">
              <a:buNone/>
              <a:defRPr sz="1100">
                <a:solidFill>
                  <a:schemeClr val="bg1"/>
                </a:solidFill>
                <a:latin typeface="+mn-lt"/>
                <a:cs typeface="Segoe UI Light" panose="020B0502040204020203" pitchFamily="34" charset="0"/>
              </a:defRPr>
            </a:lvl1pPr>
          </a:lstStyle>
          <a:p>
            <a:pPr lvl="0"/>
            <a:r>
              <a:rPr lang="ru-RU"/>
              <a:t>Подготовлено для</a:t>
            </a:r>
          </a:p>
        </p:txBody>
      </p:sp>
      <p:sp>
        <p:nvSpPr>
          <p:cNvPr id="30" name="Текст 31">
            <a:extLst>
              <a:ext uri="{FF2B5EF4-FFF2-40B4-BE49-F238E27FC236}">
                <a16:creationId xmlns:a16="http://schemas.microsoft.com/office/drawing/2014/main" id="{D75E8106-A6DA-43E7-8676-6FB1D02FAB7F}"/>
              </a:ext>
            </a:extLst>
          </p:cNvPr>
          <p:cNvSpPr>
            <a:spLocks noGrp="1"/>
          </p:cNvSpPr>
          <p:nvPr>
            <p:ph type="body" sz="quarter" idx="12" hasCustomPrompt="1"/>
          </p:nvPr>
        </p:nvSpPr>
        <p:spPr>
          <a:xfrm>
            <a:off x="988422" y="6193304"/>
            <a:ext cx="3609703" cy="234390"/>
          </a:xfrm>
          <a:prstGeom prst="rect">
            <a:avLst/>
          </a:prstGeom>
        </p:spPr>
        <p:txBody>
          <a:bodyPr anchor="ctr">
            <a:noAutofit/>
          </a:bodyPr>
          <a:lstStyle>
            <a:lvl1pPr marL="0" indent="0">
              <a:buNone/>
              <a:defRPr sz="1100">
                <a:solidFill>
                  <a:schemeClr val="bg1"/>
                </a:solidFill>
                <a:latin typeface="+mn-lt"/>
                <a:cs typeface="Segoe UI Light" panose="020B0502040204020203" pitchFamily="34" charset="0"/>
              </a:defRPr>
            </a:lvl1pPr>
          </a:lstStyle>
          <a:p>
            <a:pPr lvl="0"/>
            <a:r>
              <a:rPr lang="ru-RU"/>
              <a:t>Дата</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88422" y="2263777"/>
            <a:ext cx="3609703" cy="2181606"/>
          </a:xfrm>
          <a:prstGeom prst="rect">
            <a:avLst/>
          </a:prstGeom>
        </p:spPr>
        <p:txBody>
          <a:bodyPr anchor="b"/>
          <a:lstStyle>
            <a:lvl1pPr>
              <a:defRPr b="0">
                <a:solidFill>
                  <a:schemeClr val="bg1"/>
                </a:solidFill>
                <a:latin typeface="+mj-lt"/>
              </a:defRPr>
            </a:lvl1pPr>
          </a:lstStyle>
          <a:p>
            <a:r>
              <a:rPr lang="ru-RU"/>
              <a:t>Образец заголовка</a:t>
            </a:r>
          </a:p>
        </p:txBody>
      </p:sp>
    </p:spTree>
    <p:extLst>
      <p:ext uri="{BB962C8B-B14F-4D97-AF65-F5344CB8AC3E}">
        <p14:creationId xmlns:p14="http://schemas.microsoft.com/office/powerpoint/2010/main" val="42548203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7_Пользовательский макет">
    <p:spTree>
      <p:nvGrpSpPr>
        <p:cNvPr id="1" name=""/>
        <p:cNvGrpSpPr/>
        <p:nvPr/>
      </p:nvGrpSpPr>
      <p:grpSpPr>
        <a:xfrm>
          <a:off x="0" y="0"/>
          <a:ext cx="0" cy="0"/>
          <a:chOff x="0" y="0"/>
          <a:chExt cx="0" cy="0"/>
        </a:xfrm>
      </p:grpSpPr>
      <p:pic>
        <p:nvPicPr>
          <p:cNvPr id="17" name="Рисунок 16" descr="Изображение выглядит как чашка, кофе&#10;&#10;Автоматически созданное описание">
            <a:extLst>
              <a:ext uri="{FF2B5EF4-FFF2-40B4-BE49-F238E27FC236}">
                <a16:creationId xmlns:a16="http://schemas.microsoft.com/office/drawing/2014/main" id="{DA9B7258-152B-4CF4-8CC3-D9E5E5A6B00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8" name="Прямоугольник 17">
            <a:extLst>
              <a:ext uri="{FF2B5EF4-FFF2-40B4-BE49-F238E27FC236}">
                <a16:creationId xmlns:a16="http://schemas.microsoft.com/office/drawing/2014/main" id="{DA32510C-857D-4981-94B7-C2C2F261FC46}"/>
              </a:ext>
            </a:extLst>
          </p:cNvPr>
          <p:cNvSpPr/>
          <p:nvPr/>
        </p:nvSpPr>
        <p:spPr>
          <a:xfrm>
            <a:off x="0" y="-10633"/>
            <a:ext cx="12192000" cy="686481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25861"/>
            <a:ext cx="4676548" cy="6883861"/>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562664"/>
            <a:ext cx="3114705" cy="596666"/>
          </a:xfrm>
          <a:prstGeom prst="rect">
            <a:avLst/>
          </a:prstGeom>
        </p:spPr>
        <p:txBody>
          <a:bodyPr anchor="b"/>
          <a:lstStyle>
            <a:lvl1pPr>
              <a:defRPr sz="1800" b="0">
                <a:solidFill>
                  <a:schemeClr val="bg1"/>
                </a:solidFill>
                <a:latin typeface="+mj-lt"/>
              </a:defRPr>
            </a:lvl1pPr>
          </a:lstStyle>
          <a:p>
            <a:r>
              <a:rPr lang="ru-RU"/>
              <a:t>Образец заголовка</a:t>
            </a:r>
          </a:p>
        </p:txBody>
      </p:sp>
      <p:pic>
        <p:nvPicPr>
          <p:cNvPr id="13" name="Рисунок 12">
            <a:extLst>
              <a:ext uri="{FF2B5EF4-FFF2-40B4-BE49-F238E27FC236}">
                <a16:creationId xmlns:a16="http://schemas.microsoft.com/office/drawing/2014/main" id="{1DD2F2F9-FC18-4DB2-9BE5-E755A92B0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27527808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9_Пользовательский макет">
    <p:spTree>
      <p:nvGrpSpPr>
        <p:cNvPr id="1" name=""/>
        <p:cNvGrpSpPr/>
        <p:nvPr/>
      </p:nvGrpSpPr>
      <p:grpSpPr>
        <a:xfrm>
          <a:off x="0" y="0"/>
          <a:ext cx="0" cy="0"/>
          <a:chOff x="0" y="0"/>
          <a:chExt cx="0" cy="0"/>
        </a:xfrm>
      </p:grpSpPr>
      <p:sp>
        <p:nvSpPr>
          <p:cNvPr id="3" name="Рисунок 2">
            <a:extLst>
              <a:ext uri="{FF2B5EF4-FFF2-40B4-BE49-F238E27FC236}">
                <a16:creationId xmlns:a16="http://schemas.microsoft.com/office/drawing/2014/main" id="{E49B6D85-BA7B-4E30-90CC-8E759D736C00}"/>
              </a:ext>
            </a:extLst>
          </p:cNvPr>
          <p:cNvSpPr>
            <a:spLocks noGrp="1"/>
          </p:cNvSpPr>
          <p:nvPr>
            <p:ph type="pic" sz="quarter" idx="10" hasCustomPrompt="1"/>
          </p:nvPr>
        </p:nvSpPr>
        <p:spPr>
          <a:xfrm>
            <a:off x="-57150" y="-68483"/>
            <a:ext cx="12249150" cy="6938516"/>
          </a:xfrm>
          <a:prstGeom prst="rect">
            <a:avLst/>
          </a:prstGeom>
        </p:spPr>
        <p:txBody>
          <a:bodyPr/>
          <a:lstStyle/>
          <a:p>
            <a:r>
              <a:rPr lang="ru-RU"/>
              <a:t> </a:t>
            </a:r>
          </a:p>
        </p:txBody>
      </p:sp>
      <p:pic>
        <p:nvPicPr>
          <p:cNvPr id="17" name="Рисунок 16" descr="Изображение выглядит как внутренний, подарочная упаковка&#10;&#10;Автоматически созданное описание">
            <a:extLst>
              <a:ext uri="{FF2B5EF4-FFF2-40B4-BE49-F238E27FC236}">
                <a16:creationId xmlns:a16="http://schemas.microsoft.com/office/drawing/2014/main" id="{727A0DC8-0215-4AAD-968A-E59E28242D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144" y="-44800"/>
            <a:ext cx="12249144" cy="6902800"/>
          </a:xfrm>
          <a:prstGeom prst="rect">
            <a:avLst/>
          </a:prstGeom>
        </p:spPr>
      </p:pic>
      <p:sp>
        <p:nvSpPr>
          <p:cNvPr id="18" name="Прямоугольник 17">
            <a:extLst>
              <a:ext uri="{FF2B5EF4-FFF2-40B4-BE49-F238E27FC236}">
                <a16:creationId xmlns:a16="http://schemas.microsoft.com/office/drawing/2014/main" id="{794D65BB-DB13-4E56-AFF0-FD03DA88627C}"/>
              </a:ext>
            </a:extLst>
          </p:cNvPr>
          <p:cNvSpPr/>
          <p:nvPr/>
        </p:nvSpPr>
        <p:spPr>
          <a:xfrm>
            <a:off x="-57144" y="-44800"/>
            <a:ext cx="12249144" cy="6902799"/>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44800"/>
            <a:ext cx="4676548" cy="6914832"/>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b"/>
          <a:lstStyle>
            <a:lvl1pPr>
              <a:defRPr sz="2000" b="0">
                <a:solidFill>
                  <a:schemeClr val="bg1"/>
                </a:solidFill>
                <a:latin typeface="+mj-lt"/>
              </a:defRPr>
            </a:lvl1pPr>
          </a:lstStyle>
          <a:p>
            <a:r>
              <a:rPr lang="ru-RU"/>
              <a:t>Образец заголовка</a:t>
            </a:r>
          </a:p>
        </p:txBody>
      </p:sp>
      <p:pic>
        <p:nvPicPr>
          <p:cNvPr id="13" name="Рисунок 12">
            <a:extLst>
              <a:ext uri="{FF2B5EF4-FFF2-40B4-BE49-F238E27FC236}">
                <a16:creationId xmlns:a16="http://schemas.microsoft.com/office/drawing/2014/main" id="{1DD2F2F9-FC18-4DB2-9BE5-E755A92B0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15647240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2_Пользовательский макет">
    <p:spTree>
      <p:nvGrpSpPr>
        <p:cNvPr id="1" name=""/>
        <p:cNvGrpSpPr/>
        <p:nvPr/>
      </p:nvGrpSpPr>
      <p:grpSpPr>
        <a:xfrm>
          <a:off x="0" y="0"/>
          <a:ext cx="0" cy="0"/>
          <a:chOff x="0" y="0"/>
          <a:chExt cx="0" cy="0"/>
        </a:xfrm>
      </p:grpSpPr>
      <p:pic>
        <p:nvPicPr>
          <p:cNvPr id="4" name="Рисунок 3" descr="Изображение выглядит как человек, внутренний, стоит&#10;&#10;Автоматически созданное описание">
            <a:extLst>
              <a:ext uri="{FF2B5EF4-FFF2-40B4-BE49-F238E27FC236}">
                <a16:creationId xmlns:a16="http://schemas.microsoft.com/office/drawing/2014/main" id="{D04C8619-84BD-495D-B121-380E5E55EB6A}"/>
              </a:ext>
            </a:extLst>
          </p:cNvPr>
          <p:cNvPicPr>
            <a:picLocks noChangeAspect="1"/>
          </p:cNvPicPr>
          <p:nvPr/>
        </p:nvPicPr>
        <p:blipFill rotWithShape="1">
          <a:blip r:embed="rId2">
            <a:extLst>
              <a:ext uri="{28A0092B-C50C-407E-A947-70E740481C1C}">
                <a14:useLocalDpi xmlns:a14="http://schemas.microsoft.com/office/drawing/2010/main" val="0"/>
              </a:ext>
            </a:extLst>
          </a:blip>
          <a:srcRect b="15090"/>
          <a:stretch/>
        </p:blipFill>
        <p:spPr>
          <a:xfrm>
            <a:off x="-57150" y="-63760"/>
            <a:ext cx="12249150" cy="6933793"/>
          </a:xfrm>
          <a:prstGeom prst="rect">
            <a:avLst/>
          </a:prstGeom>
        </p:spPr>
      </p:pic>
      <p:sp>
        <p:nvSpPr>
          <p:cNvPr id="3" name="Рисунок 2">
            <a:extLst>
              <a:ext uri="{FF2B5EF4-FFF2-40B4-BE49-F238E27FC236}">
                <a16:creationId xmlns:a16="http://schemas.microsoft.com/office/drawing/2014/main" id="{E49B6D85-BA7B-4E30-90CC-8E759D736C00}"/>
              </a:ext>
            </a:extLst>
          </p:cNvPr>
          <p:cNvSpPr>
            <a:spLocks noGrp="1"/>
          </p:cNvSpPr>
          <p:nvPr>
            <p:ph type="pic" sz="quarter" idx="10" hasCustomPrompt="1"/>
          </p:nvPr>
        </p:nvSpPr>
        <p:spPr>
          <a:xfrm>
            <a:off x="-57150" y="-68483"/>
            <a:ext cx="12249150" cy="6938516"/>
          </a:xfrm>
          <a:prstGeom prst="rect">
            <a:avLst/>
          </a:prstGeom>
        </p:spPr>
        <p:txBody>
          <a:bodyPr/>
          <a:lstStyle/>
          <a:p>
            <a:r>
              <a:rPr lang="ru-RU"/>
              <a:t> </a:t>
            </a:r>
          </a:p>
        </p:txBody>
      </p:sp>
      <p:sp>
        <p:nvSpPr>
          <p:cNvPr id="18" name="Прямоугольник 17">
            <a:extLst>
              <a:ext uri="{FF2B5EF4-FFF2-40B4-BE49-F238E27FC236}">
                <a16:creationId xmlns:a16="http://schemas.microsoft.com/office/drawing/2014/main" id="{794D65BB-DB13-4E56-AFF0-FD03DA88627C}"/>
              </a:ext>
            </a:extLst>
          </p:cNvPr>
          <p:cNvSpPr/>
          <p:nvPr/>
        </p:nvSpPr>
        <p:spPr>
          <a:xfrm>
            <a:off x="-57144" y="-44800"/>
            <a:ext cx="12249144" cy="6902799"/>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flipH="1">
            <a:off x="515938" y="-44800"/>
            <a:ext cx="4676548" cy="6914832"/>
          </a:xfrm>
          <a:prstGeom prst="rect">
            <a:avLst/>
          </a:prstGeom>
          <a:gradFill>
            <a:gsLst>
              <a:gs pos="100000">
                <a:schemeClr val="tx2"/>
              </a:gs>
              <a:gs pos="39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24" name="Заголовок 6">
            <a:extLst>
              <a:ext uri="{FF2B5EF4-FFF2-40B4-BE49-F238E27FC236}">
                <a16:creationId xmlns:a16="http://schemas.microsoft.com/office/drawing/2014/main" id="{4C4B5BD4-31A6-4920-8F19-605A3B8FC52E}"/>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1816"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 name="Подзаголовок 2">
            <a:extLst>
              <a:ext uri="{FF2B5EF4-FFF2-40B4-BE49-F238E27FC236}">
                <a16:creationId xmlns:a16="http://schemas.microsoft.com/office/drawing/2014/main" id="{4095257C-24AB-4BAC-BCFF-6625E4200E86}"/>
              </a:ext>
            </a:extLst>
          </p:cNvPr>
          <p:cNvSpPr>
            <a:spLocks noGrp="1"/>
          </p:cNvSpPr>
          <p:nvPr>
            <p:ph type="subTitle" idx="1" hasCustomPrompt="1"/>
          </p:nvPr>
        </p:nvSpPr>
        <p:spPr>
          <a:xfrm>
            <a:off x="1525672" y="4448900"/>
            <a:ext cx="2517062" cy="332978"/>
          </a:xfrm>
          <a:prstGeom prst="rect">
            <a:avLst/>
          </a:prstGeom>
        </p:spPr>
        <p:txBody>
          <a:bodyPr>
            <a:noAutofit/>
          </a:bodyPr>
          <a:lstStyle>
            <a:lvl1pPr marL="0" indent="0" algn="l">
              <a:buNone/>
              <a:defRPr sz="1800" baseline="0">
                <a:solidFill>
                  <a:schemeClr val="bg1"/>
                </a:solidFill>
                <a:latin typeface="+mn-lt"/>
                <a:ea typeface="Roboto Light" panose="02000000000000000000" pitchFamily="2" charset="0"/>
                <a:cs typeface="Segoe UI Ligh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Подзаголовок</a:t>
            </a: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b"/>
          <a:lstStyle>
            <a:lvl1pPr>
              <a:defRPr sz="2000" b="0">
                <a:solidFill>
                  <a:schemeClr val="bg1"/>
                </a:solidFill>
                <a:latin typeface="+mj-lt"/>
              </a:defRPr>
            </a:lvl1pPr>
          </a:lstStyle>
          <a:p>
            <a:r>
              <a:rPr lang="ru-RU"/>
              <a:t>Образец заголовка</a:t>
            </a:r>
          </a:p>
        </p:txBody>
      </p:sp>
      <p:pic>
        <p:nvPicPr>
          <p:cNvPr id="13" name="Рисунок 12">
            <a:extLst>
              <a:ext uri="{FF2B5EF4-FFF2-40B4-BE49-F238E27FC236}">
                <a16:creationId xmlns:a16="http://schemas.microsoft.com/office/drawing/2014/main" id="{1DD2F2F9-FC18-4DB2-9BE5-E755A92B0C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8756" y="4425222"/>
            <a:ext cx="356656" cy="356656"/>
          </a:xfrm>
          <a:prstGeom prst="rect">
            <a:avLst/>
          </a:prstGeom>
          <a:effectLst>
            <a:outerShdw blurRad="50800" dist="38100" dir="5400000" algn="t" rotWithShape="0">
              <a:prstClr val="black">
                <a:alpha val="40000"/>
              </a:prstClr>
            </a:outerShdw>
          </a:effectLst>
        </p:spPr>
      </p:pic>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19862180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0_Пользовательский макет">
    <p:spTree>
      <p:nvGrpSpPr>
        <p:cNvPr id="1" name=""/>
        <p:cNvGrpSpPr/>
        <p:nvPr/>
      </p:nvGrpSpPr>
      <p:grpSpPr>
        <a:xfrm>
          <a:off x="0" y="0"/>
          <a:ext cx="0" cy="0"/>
          <a:chOff x="0" y="0"/>
          <a:chExt cx="0" cy="0"/>
        </a:xfrm>
      </p:grpSpPr>
      <p:pic>
        <p:nvPicPr>
          <p:cNvPr id="39" name="Рисунок 38" descr="Изображение выглядит как внутренний&#10;&#10;Автоматически созданное описание">
            <a:extLst>
              <a:ext uri="{FF2B5EF4-FFF2-40B4-BE49-F238E27FC236}">
                <a16:creationId xmlns:a16="http://schemas.microsoft.com/office/drawing/2014/main" id="{1A777E9F-FB5E-4485-826C-2D12C8FABEDD}"/>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a:stretch/>
        </p:blipFill>
        <p:spPr>
          <a:xfrm>
            <a:off x="-14556" y="-34653"/>
            <a:ext cx="12206537" cy="6901893"/>
          </a:xfrm>
          <a:prstGeom prst="rect">
            <a:avLst/>
          </a:prstGeom>
        </p:spPr>
      </p:pic>
      <p:sp>
        <p:nvSpPr>
          <p:cNvPr id="18" name="Прямоугольник 17">
            <a:extLst>
              <a:ext uri="{FF2B5EF4-FFF2-40B4-BE49-F238E27FC236}">
                <a16:creationId xmlns:a16="http://schemas.microsoft.com/office/drawing/2014/main" id="{794D65BB-DB13-4E56-AFF0-FD03DA88627C}"/>
              </a:ext>
            </a:extLst>
          </p:cNvPr>
          <p:cNvSpPr/>
          <p:nvPr/>
        </p:nvSpPr>
        <p:spPr>
          <a:xfrm>
            <a:off x="-57144" y="-31861"/>
            <a:ext cx="12249144"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31862"/>
            <a:ext cx="4676548" cy="6901892"/>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7292" y="-29561"/>
            <a:ext cx="392180" cy="68875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ctr"/>
          <a:lstStyle>
            <a:lvl1pPr>
              <a:lnSpc>
                <a:spcPct val="90000"/>
              </a:lnSpc>
              <a:defRPr sz="2000" b="0">
                <a:solidFill>
                  <a:schemeClr val="tx2"/>
                </a:solidFill>
                <a:latin typeface="+mj-lt"/>
              </a:defRPr>
            </a:lvl1pPr>
          </a:lstStyle>
          <a:p>
            <a:r>
              <a:rPr lang="ru-RU"/>
              <a:t>Образец заголовка</a:t>
            </a:r>
          </a:p>
        </p:txBody>
      </p:sp>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
        <p:nvSpPr>
          <p:cNvPr id="37" name="Рисунок 36">
            <a:extLst>
              <a:ext uri="{FF2B5EF4-FFF2-40B4-BE49-F238E27FC236}">
                <a16:creationId xmlns:a16="http://schemas.microsoft.com/office/drawing/2014/main" id="{0E78F355-FFF4-4E75-B9CC-FF1F0172A457}"/>
              </a:ext>
            </a:extLst>
          </p:cNvPr>
          <p:cNvSpPr>
            <a:spLocks noGrp="1"/>
          </p:cNvSpPr>
          <p:nvPr>
            <p:ph type="pic" sz="quarter" idx="10" hasCustomPrompt="1"/>
          </p:nvPr>
        </p:nvSpPr>
        <p:spPr>
          <a:xfrm>
            <a:off x="3816" y="-31400"/>
            <a:ext cx="12188165" cy="6883400"/>
          </a:xfrm>
          <a:prstGeom prst="rect">
            <a:avLst/>
          </a:prstGeom>
        </p:spPr>
        <p:txBody>
          <a:bodyPr/>
          <a:lstStyle/>
          <a:p>
            <a:r>
              <a:rPr lang="ru-RU"/>
              <a:t> </a:t>
            </a:r>
          </a:p>
        </p:txBody>
      </p:sp>
    </p:spTree>
    <p:extLst>
      <p:ext uri="{BB962C8B-B14F-4D97-AF65-F5344CB8AC3E}">
        <p14:creationId xmlns:p14="http://schemas.microsoft.com/office/powerpoint/2010/main" val="31089288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1_Пользовательский макет">
    <p:spTree>
      <p:nvGrpSpPr>
        <p:cNvPr id="1" name=""/>
        <p:cNvGrpSpPr/>
        <p:nvPr/>
      </p:nvGrpSpPr>
      <p:grpSpPr>
        <a:xfrm>
          <a:off x="0" y="0"/>
          <a:ext cx="0" cy="0"/>
          <a:chOff x="0" y="0"/>
          <a:chExt cx="0" cy="0"/>
        </a:xfrm>
      </p:grpSpPr>
      <p:sp>
        <p:nvSpPr>
          <p:cNvPr id="18" name="Прямоугольник 17">
            <a:extLst>
              <a:ext uri="{FF2B5EF4-FFF2-40B4-BE49-F238E27FC236}">
                <a16:creationId xmlns:a16="http://schemas.microsoft.com/office/drawing/2014/main" id="{794D65BB-DB13-4E56-AFF0-FD03DA88627C}"/>
              </a:ext>
            </a:extLst>
          </p:cNvPr>
          <p:cNvSpPr/>
          <p:nvPr/>
        </p:nvSpPr>
        <p:spPr>
          <a:xfrm>
            <a:off x="-57144" y="-31861"/>
            <a:ext cx="12249144" cy="6883861"/>
          </a:xfrm>
          <a:prstGeom prst="rect">
            <a:avLst/>
          </a:prstGeom>
          <a:gradFill>
            <a:gsLst>
              <a:gs pos="0">
                <a:schemeClr val="accent1">
                  <a:alpha val="33000"/>
                </a:schemeClr>
              </a:gs>
              <a:gs pos="100000">
                <a:schemeClr val="accent1">
                  <a:alpha val="3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7" name="Рисунок 36">
            <a:extLst>
              <a:ext uri="{FF2B5EF4-FFF2-40B4-BE49-F238E27FC236}">
                <a16:creationId xmlns:a16="http://schemas.microsoft.com/office/drawing/2014/main" id="{0E78F355-FFF4-4E75-B9CC-FF1F0172A457}"/>
              </a:ext>
            </a:extLst>
          </p:cNvPr>
          <p:cNvSpPr>
            <a:spLocks noGrp="1"/>
          </p:cNvSpPr>
          <p:nvPr>
            <p:ph type="pic" sz="quarter" idx="10" hasCustomPrompt="1"/>
          </p:nvPr>
        </p:nvSpPr>
        <p:spPr>
          <a:xfrm>
            <a:off x="-57150" y="-31750"/>
            <a:ext cx="12249150" cy="6883400"/>
          </a:xfrm>
          <a:prstGeom prst="rect">
            <a:avLst/>
          </a:prstGeom>
        </p:spPr>
        <p:txBody>
          <a:bodyPr/>
          <a:lstStyle/>
          <a:p>
            <a:r>
              <a:rPr lang="ru-RU"/>
              <a:t> </a:t>
            </a:r>
          </a:p>
        </p:txBody>
      </p:sp>
      <p:sp>
        <p:nvSpPr>
          <p:cNvPr id="23" name="Прямоугольник 22">
            <a:extLst>
              <a:ext uri="{FF2B5EF4-FFF2-40B4-BE49-F238E27FC236}">
                <a16:creationId xmlns:a16="http://schemas.microsoft.com/office/drawing/2014/main" id="{398FE304-0242-440C-8642-8EED473252F7}"/>
              </a:ext>
            </a:extLst>
          </p:cNvPr>
          <p:cNvSpPr/>
          <p:nvPr/>
        </p:nvSpPr>
        <p:spPr>
          <a:xfrm rot="10800000">
            <a:off x="515938" y="-31862"/>
            <a:ext cx="4676548" cy="6901892"/>
          </a:xfrm>
          <a:prstGeom prst="rect">
            <a:avLst/>
          </a:prstGeom>
          <a:solidFill>
            <a:schemeClr val="bg1"/>
          </a:soli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5" name="Прямоугольник 24">
            <a:extLst>
              <a:ext uri="{FF2B5EF4-FFF2-40B4-BE49-F238E27FC236}">
                <a16:creationId xmlns:a16="http://schemas.microsoft.com/office/drawing/2014/main" id="{D25214B3-3E65-480A-88FA-3952281DD980}"/>
              </a:ext>
            </a:extLst>
          </p:cNvPr>
          <p:cNvSpPr/>
          <p:nvPr/>
        </p:nvSpPr>
        <p:spPr>
          <a:xfrm>
            <a:off x="4987292" y="-29561"/>
            <a:ext cx="392180" cy="68875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 name="Заголовок 1">
            <a:extLst>
              <a:ext uri="{FF2B5EF4-FFF2-40B4-BE49-F238E27FC236}">
                <a16:creationId xmlns:a16="http://schemas.microsoft.com/office/drawing/2014/main" id="{C290CD34-D01A-4190-ABE2-A22A7933A2B6}"/>
              </a:ext>
            </a:extLst>
          </p:cNvPr>
          <p:cNvSpPr>
            <a:spLocks noGrp="1"/>
          </p:cNvSpPr>
          <p:nvPr>
            <p:ph type="ctrTitle"/>
          </p:nvPr>
        </p:nvSpPr>
        <p:spPr>
          <a:xfrm>
            <a:off x="928028" y="3658920"/>
            <a:ext cx="3114705" cy="596666"/>
          </a:xfrm>
          <a:prstGeom prst="rect">
            <a:avLst/>
          </a:prstGeom>
        </p:spPr>
        <p:txBody>
          <a:bodyPr anchor="ctr"/>
          <a:lstStyle>
            <a:lvl1pPr>
              <a:lnSpc>
                <a:spcPct val="90000"/>
              </a:lnSpc>
              <a:defRPr sz="2000" b="0">
                <a:solidFill>
                  <a:schemeClr val="tx2"/>
                </a:solidFill>
                <a:latin typeface="+mj-lt"/>
              </a:defRPr>
            </a:lvl1pPr>
          </a:lstStyle>
          <a:p>
            <a:r>
              <a:rPr lang="ru-RU"/>
              <a:t>Образец заголовка</a:t>
            </a:r>
          </a:p>
        </p:txBody>
      </p:sp>
      <p:grpSp>
        <p:nvGrpSpPr>
          <p:cNvPr id="14" name="Группа 13">
            <a:extLst>
              <a:ext uri="{FF2B5EF4-FFF2-40B4-BE49-F238E27FC236}">
                <a16:creationId xmlns:a16="http://schemas.microsoft.com/office/drawing/2014/main" id="{6DF4B6A3-23D5-445C-9DA2-1E5102F57CDA}"/>
              </a:ext>
            </a:extLst>
          </p:cNvPr>
          <p:cNvGrpSpPr/>
          <p:nvPr/>
        </p:nvGrpSpPr>
        <p:grpSpPr>
          <a:xfrm>
            <a:off x="729774" y="-29560"/>
            <a:ext cx="72000" cy="4222897"/>
            <a:chOff x="809984" y="1566120"/>
            <a:chExt cx="72000" cy="4222897"/>
          </a:xfrm>
        </p:grpSpPr>
        <p:cxnSp>
          <p:nvCxnSpPr>
            <p:cNvPr id="15" name="Прямая соединительная линия 14">
              <a:extLst>
                <a:ext uri="{FF2B5EF4-FFF2-40B4-BE49-F238E27FC236}">
                  <a16:creationId xmlns:a16="http://schemas.microsoft.com/office/drawing/2014/main" id="{C0438759-CBAE-40FB-B81E-142BB94238F1}"/>
                </a:ext>
              </a:extLst>
            </p:cNvPr>
            <p:cNvCxnSpPr>
              <a:cxnSpLocks/>
            </p:cNvCxnSpPr>
            <p:nvPr/>
          </p:nvCxnSpPr>
          <p:spPr>
            <a:xfrm flipV="1">
              <a:off x="848039" y="1566120"/>
              <a:ext cx="0" cy="3735882"/>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Прямоугольник 15">
              <a:extLst>
                <a:ext uri="{FF2B5EF4-FFF2-40B4-BE49-F238E27FC236}">
                  <a16:creationId xmlns:a16="http://schemas.microsoft.com/office/drawing/2014/main" id="{12361A9A-D162-479E-867C-170832003642}"/>
                </a:ext>
              </a:extLst>
            </p:cNvPr>
            <p:cNvSpPr/>
            <p:nvPr/>
          </p:nvSpPr>
          <p:spPr>
            <a:xfrm>
              <a:off x="809984" y="5302002"/>
              <a:ext cx="72000" cy="4870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spTree>
    <p:extLst>
      <p:ext uri="{BB962C8B-B14F-4D97-AF65-F5344CB8AC3E}">
        <p14:creationId xmlns:p14="http://schemas.microsoft.com/office/powerpoint/2010/main" val="37355332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Контакты">
    <p:spTree>
      <p:nvGrpSpPr>
        <p:cNvPr id="1" name=""/>
        <p:cNvGrpSpPr/>
        <p:nvPr/>
      </p:nvGrpSpPr>
      <p:grpSpPr>
        <a:xfrm>
          <a:off x="0" y="0"/>
          <a:ext cx="0" cy="0"/>
          <a:chOff x="0" y="0"/>
          <a:chExt cx="0" cy="0"/>
        </a:xfrm>
      </p:grpSpPr>
      <p:pic>
        <p:nvPicPr>
          <p:cNvPr id="9" name="Рисунок 8" descr="Изображение выглядит как внутренний&#10;&#10;Автоматически созданное описание">
            <a:extLst>
              <a:ext uri="{FF2B5EF4-FFF2-40B4-BE49-F238E27FC236}">
                <a16:creationId xmlns:a16="http://schemas.microsoft.com/office/drawing/2014/main" id="{766996F0-AFD2-4B33-988F-6E6633121174}"/>
              </a:ext>
            </a:extLst>
          </p:cNvPr>
          <p:cNvPicPr>
            <a:picLocks noChangeAspect="1"/>
          </p:cNvPicPr>
          <p:nvPr/>
        </p:nvPicPr>
        <p:blipFill rotWithShape="1">
          <a:blip r:embed="rId2" cstate="screen">
            <a:alphaModFix/>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0" y="-25861"/>
            <a:ext cx="12192000" cy="6883861"/>
          </a:xfrm>
          <a:prstGeom prst="rect">
            <a:avLst/>
          </a:prstGeom>
        </p:spPr>
      </p:pic>
      <p:sp>
        <p:nvSpPr>
          <p:cNvPr id="10" name="Рисунок 47">
            <a:extLst>
              <a:ext uri="{FF2B5EF4-FFF2-40B4-BE49-F238E27FC236}">
                <a16:creationId xmlns:a16="http://schemas.microsoft.com/office/drawing/2014/main" id="{48D90F6E-FB8D-43B0-A95E-1D262C02FDB9}"/>
              </a:ext>
            </a:extLst>
          </p:cNvPr>
          <p:cNvSpPr>
            <a:spLocks noGrp="1"/>
          </p:cNvSpPr>
          <p:nvPr>
            <p:ph type="pic" sz="quarter" idx="10" hasCustomPrompt="1"/>
          </p:nvPr>
        </p:nvSpPr>
        <p:spPr>
          <a:xfrm>
            <a:off x="0" y="-25861"/>
            <a:ext cx="12192000" cy="6883861"/>
          </a:xfrm>
          <a:prstGeom prst="rect">
            <a:avLst/>
          </a:prstGeom>
          <a:noFill/>
        </p:spPr>
        <p:txBody>
          <a:bodyPr/>
          <a:lstStyle>
            <a:lvl1pPr>
              <a:defRPr/>
            </a:lvl1pPr>
          </a:lstStyle>
          <a:p>
            <a:r>
              <a:rPr lang="ru-RU"/>
              <a:t>   </a:t>
            </a:r>
          </a:p>
        </p:txBody>
      </p:sp>
      <p:sp>
        <p:nvSpPr>
          <p:cNvPr id="11" name="Прямоугольник 10">
            <a:extLst>
              <a:ext uri="{FF2B5EF4-FFF2-40B4-BE49-F238E27FC236}">
                <a16:creationId xmlns:a16="http://schemas.microsoft.com/office/drawing/2014/main" id="{D8E61392-C9EC-4A3C-840D-C134A885CAA1}"/>
              </a:ext>
            </a:extLst>
          </p:cNvPr>
          <p:cNvSpPr/>
          <p:nvPr/>
        </p:nvSpPr>
        <p:spPr>
          <a:xfrm>
            <a:off x="7891850" y="-25861"/>
            <a:ext cx="3784213" cy="6883861"/>
          </a:xfrm>
          <a:prstGeom prst="rect">
            <a:avLst/>
          </a:prstGeom>
          <a:gradFill>
            <a:gsLst>
              <a:gs pos="41000">
                <a:schemeClr val="tx2"/>
              </a:gs>
              <a:gs pos="100000">
                <a:schemeClr val="accent1"/>
              </a:gs>
            </a:gsLst>
            <a:lin ang="48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2" name="Прямоугольник 11">
            <a:extLst>
              <a:ext uri="{FF2B5EF4-FFF2-40B4-BE49-F238E27FC236}">
                <a16:creationId xmlns:a16="http://schemas.microsoft.com/office/drawing/2014/main" id="{500803B1-3460-4C4E-A97D-535B93C72777}"/>
              </a:ext>
            </a:extLst>
          </p:cNvPr>
          <p:cNvSpPr/>
          <p:nvPr/>
        </p:nvSpPr>
        <p:spPr>
          <a:xfrm>
            <a:off x="7706788"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13" name="Рисунок 12">
            <a:extLst>
              <a:ext uri="{FF2B5EF4-FFF2-40B4-BE49-F238E27FC236}">
                <a16:creationId xmlns:a16="http://schemas.microsoft.com/office/drawing/2014/main" id="{A0CC394C-6D86-42AF-B7C0-B959869ADA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62342" y="476250"/>
            <a:ext cx="1235743" cy="394538"/>
          </a:xfrm>
          <a:prstGeom prst="rect">
            <a:avLst/>
          </a:prstGeom>
        </p:spPr>
      </p:pic>
      <p:sp>
        <p:nvSpPr>
          <p:cNvPr id="14" name="TextBox 13">
            <a:extLst>
              <a:ext uri="{FF2B5EF4-FFF2-40B4-BE49-F238E27FC236}">
                <a16:creationId xmlns:a16="http://schemas.microsoft.com/office/drawing/2014/main" id="{16823997-05CF-4A22-A4DE-1DA7EF192CFF}"/>
              </a:ext>
            </a:extLst>
          </p:cNvPr>
          <p:cNvSpPr txBox="1"/>
          <p:nvPr/>
        </p:nvSpPr>
        <p:spPr>
          <a:xfrm>
            <a:off x="8359937" y="5397960"/>
            <a:ext cx="3240088" cy="1015663"/>
          </a:xfrm>
          <a:prstGeom prst="rect">
            <a:avLst/>
          </a:prstGeom>
          <a:noFill/>
        </p:spPr>
        <p:txBody>
          <a:bodyPr wrap="square" rtlCol="0">
            <a:spAutoFit/>
          </a:bodyPr>
          <a:lstStyle/>
          <a:p>
            <a:r>
              <a:rPr lang="pt-BR" sz="1200">
                <a:solidFill>
                  <a:schemeClr val="bg1"/>
                </a:solidFill>
                <a:latin typeface="Segoe UI Semibold" panose="020B0702040204020203" pitchFamily="34" charset="0"/>
                <a:ea typeface="Roboto" pitchFamily="2" charset="0"/>
                <a:cs typeface="Segoe UI Semibold" panose="020B0702040204020203" pitchFamily="34" charset="0"/>
              </a:rPr>
              <a:t>тел./факс</a:t>
            </a:r>
            <a:r>
              <a:rPr lang="ru-RU" sz="1200">
                <a:solidFill>
                  <a:schemeClr val="bg1"/>
                </a:solidFill>
                <a:latin typeface="Segoe UI Semibold" panose="020B0702040204020203" pitchFamily="34" charset="0"/>
                <a:ea typeface="Roboto" pitchFamily="2" charset="0"/>
                <a:cs typeface="Segoe UI Semibold" panose="020B0702040204020203" pitchFamily="34" charset="0"/>
              </a:rPr>
              <a:t>:</a:t>
            </a:r>
            <a:r>
              <a:rPr lang="pt-BR" sz="1200">
                <a:solidFill>
                  <a:schemeClr val="bg1"/>
                </a:solidFill>
                <a:latin typeface="Segoe UI Semibold" panose="020B0702040204020203" pitchFamily="34" charset="0"/>
                <a:ea typeface="Roboto" pitchFamily="2" charset="0"/>
                <a:cs typeface="Segoe UI Semibold" panose="020B0702040204020203" pitchFamily="34" charset="0"/>
              </a:rPr>
              <a:t> </a:t>
            </a:r>
            <a:r>
              <a:rPr lang="pt-BR" sz="1200">
                <a:solidFill>
                  <a:schemeClr val="bg1"/>
                </a:solidFill>
                <a:latin typeface="+mj-lt"/>
                <a:ea typeface="Roboto Light" panose="02000000000000000000" pitchFamily="2" charset="0"/>
                <a:cs typeface="Segoe UI Semibold" panose="020B0702040204020203" pitchFamily="34" charset="0"/>
              </a:rPr>
              <a:t>+7 (812) 677 50 88</a:t>
            </a: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e-mail: </a:t>
            </a:r>
            <a:r>
              <a:rPr lang="pt-BR" sz="1200">
                <a:solidFill>
                  <a:schemeClr val="bg1"/>
                </a:solidFill>
                <a:latin typeface="+mj-lt"/>
                <a:ea typeface="Roboto Light" panose="02000000000000000000" pitchFamily="2" charset="0"/>
              </a:rPr>
              <a:t>info@bitobe.ru</a:t>
            </a:r>
          </a:p>
          <a:p>
            <a:endParaRPr lang="pt-BR" sz="1200">
              <a:solidFill>
                <a:schemeClr val="bg1"/>
              </a:solidFill>
              <a:latin typeface="+mj-lt"/>
              <a:ea typeface="Roboto" pitchFamily="2" charset="0"/>
            </a:endParaRPr>
          </a:p>
          <a:p>
            <a:endParaRPr lang="pt-BR" sz="1200">
              <a:solidFill>
                <a:schemeClr val="bg1"/>
              </a:solidFill>
              <a:latin typeface="+mj-lt"/>
              <a:ea typeface="Roboto" pitchFamily="2" charset="0"/>
            </a:endParaRPr>
          </a:p>
          <a:p>
            <a:r>
              <a:rPr lang="pt-BR" sz="1200">
                <a:solidFill>
                  <a:schemeClr val="bg1"/>
                </a:solidFill>
                <a:latin typeface="Segoe UI Semibold" panose="020B0702040204020203" pitchFamily="34" charset="0"/>
                <a:ea typeface="Roboto" pitchFamily="2" charset="0"/>
                <a:cs typeface="Segoe UI Semibold" panose="020B0702040204020203" pitchFamily="34" charset="0"/>
              </a:rPr>
              <a:t>www.bitobe.ru</a:t>
            </a:r>
            <a:endParaRPr lang="ru-RU" sz="1100">
              <a:solidFill>
                <a:schemeClr val="bg1"/>
              </a:solidFill>
              <a:latin typeface="Segoe UI Semibold" panose="020B0702040204020203" pitchFamily="34" charset="0"/>
              <a:ea typeface="Roboto" pitchFamily="2" charset="0"/>
              <a:cs typeface="Segoe UI Semibold" panose="020B0702040204020203" pitchFamily="34" charset="0"/>
            </a:endParaRPr>
          </a:p>
        </p:txBody>
      </p:sp>
      <p:sp>
        <p:nvSpPr>
          <p:cNvPr id="15" name="Текст 8">
            <a:extLst>
              <a:ext uri="{FF2B5EF4-FFF2-40B4-BE49-F238E27FC236}">
                <a16:creationId xmlns:a16="http://schemas.microsoft.com/office/drawing/2014/main" id="{2DC6C9A3-0B60-4766-9C80-8C000A805447}"/>
              </a:ext>
            </a:extLst>
          </p:cNvPr>
          <p:cNvSpPr>
            <a:spLocks noGrp="1"/>
          </p:cNvSpPr>
          <p:nvPr>
            <p:ph type="body" sz="quarter" idx="11" hasCustomPrompt="1"/>
          </p:nvPr>
        </p:nvSpPr>
        <p:spPr>
          <a:xfrm>
            <a:off x="8321837" y="1358900"/>
            <a:ext cx="3240088" cy="2070100"/>
          </a:xfrm>
          <a:prstGeom prst="rect">
            <a:avLst/>
          </a:prstGeo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r>
              <a:rPr lang="en-US"/>
              <a:t>BITOBE </a:t>
            </a:r>
            <a:r>
              <a:rPr lang="en-US" sz="2000">
                <a:solidFill>
                  <a:schemeClr val="bg1"/>
                </a:solidFill>
                <a:latin typeface="+mj-lt"/>
              </a:rPr>
              <a:t>—</a:t>
            </a:r>
            <a:br>
              <a:rPr lang="en-US" sz="2000">
                <a:solidFill>
                  <a:schemeClr val="bg1"/>
                </a:solidFill>
                <a:latin typeface="+mj-lt"/>
              </a:rPr>
            </a:br>
            <a:r>
              <a:rPr lang="en-US" sz="2000">
                <a:solidFill>
                  <a:schemeClr val="bg1"/>
                </a:solidFill>
                <a:latin typeface="+mj-lt"/>
              </a:rPr>
              <a:t>Best </a:t>
            </a:r>
            <a:br>
              <a:rPr lang="en-US" sz="2000">
                <a:solidFill>
                  <a:schemeClr val="bg1"/>
                </a:solidFill>
                <a:latin typeface="+mj-lt"/>
              </a:rPr>
            </a:br>
            <a:r>
              <a:rPr lang="en-US" sz="2000">
                <a:solidFill>
                  <a:schemeClr val="bg1"/>
                </a:solidFill>
                <a:latin typeface="+mj-lt"/>
              </a:rPr>
              <a:t>Impulse </a:t>
            </a:r>
            <a:br>
              <a:rPr lang="en-US" sz="2000">
                <a:solidFill>
                  <a:schemeClr val="bg1"/>
                </a:solidFill>
                <a:latin typeface="+mj-lt"/>
              </a:rPr>
            </a:br>
            <a:r>
              <a:rPr lang="en-US" sz="2000">
                <a:solidFill>
                  <a:schemeClr val="bg1"/>
                </a:solidFill>
                <a:latin typeface="+mj-lt"/>
              </a:rPr>
              <a:t>TO </a:t>
            </a:r>
            <a:br>
              <a:rPr lang="en-US" sz="2000">
                <a:solidFill>
                  <a:schemeClr val="bg1"/>
                </a:solidFill>
                <a:latin typeface="+mj-lt"/>
              </a:rPr>
            </a:br>
            <a:r>
              <a:rPr lang="en-US" sz="2000">
                <a:solidFill>
                  <a:schemeClr val="bg1"/>
                </a:solidFill>
                <a:latin typeface="+mj-lt"/>
              </a:rPr>
              <a:t>Business </a:t>
            </a:r>
            <a:br>
              <a:rPr lang="en-US" sz="2000">
                <a:solidFill>
                  <a:schemeClr val="bg1"/>
                </a:solidFill>
                <a:latin typeface="+mj-lt"/>
              </a:rPr>
            </a:br>
            <a:r>
              <a:rPr lang="en-US" sz="2000">
                <a:solidFill>
                  <a:schemeClr val="bg1"/>
                </a:solidFill>
                <a:latin typeface="+mj-lt"/>
              </a:rPr>
              <a:t>Evolution</a:t>
            </a:r>
            <a:endParaRPr lang="ru-RU"/>
          </a:p>
        </p:txBody>
      </p:sp>
    </p:spTree>
    <p:extLst>
      <p:ext uri="{BB962C8B-B14F-4D97-AF65-F5344CB8AC3E}">
        <p14:creationId xmlns:p14="http://schemas.microsoft.com/office/powerpoint/2010/main" val="2961040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карточки с маленьким фот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387274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513556" y="1089025"/>
            <a:ext cx="2692800" cy="1816735"/>
          </a:xfrm>
          <a:prstGeom prst="rect">
            <a:avLst/>
          </a:prstGeom>
          <a:solidFill>
            <a:schemeClr val="bg1">
              <a:lumMod val="95000"/>
            </a:schemeClr>
          </a:solidFill>
          <a:ln w="6350">
            <a:solidFill>
              <a:schemeClr val="accent1"/>
            </a:solidFill>
          </a:ln>
        </p:spPr>
        <p:txBody>
          <a:bodyPr/>
          <a:lstStyle/>
          <a:p>
            <a:r>
              <a:rPr lang="ru-RU"/>
              <a:t>Вставка рисунка</a:t>
            </a:r>
          </a:p>
        </p:txBody>
      </p:sp>
      <p:sp>
        <p:nvSpPr>
          <p:cNvPr id="12" name="Рисунок 2">
            <a:extLst>
              <a:ext uri="{FF2B5EF4-FFF2-40B4-BE49-F238E27FC236}">
                <a16:creationId xmlns:a16="http://schemas.microsoft.com/office/drawing/2014/main" id="{B8AAF098-9333-40D1-90C3-D2DEE6B13255}"/>
              </a:ext>
            </a:extLst>
          </p:cNvPr>
          <p:cNvSpPr>
            <a:spLocks noGrp="1"/>
          </p:cNvSpPr>
          <p:nvPr>
            <p:ph type="pic" sz="quarter" idx="16"/>
          </p:nvPr>
        </p:nvSpPr>
        <p:spPr>
          <a:xfrm>
            <a:off x="3335612" y="1089025"/>
            <a:ext cx="2692800" cy="1816735"/>
          </a:xfrm>
          <a:prstGeom prst="rect">
            <a:avLst/>
          </a:prstGeom>
          <a:solidFill>
            <a:schemeClr val="bg1">
              <a:lumMod val="95000"/>
            </a:schemeClr>
          </a:solidFill>
          <a:ln w="6350">
            <a:solidFill>
              <a:schemeClr val="accent2"/>
            </a:solidFill>
          </a:ln>
        </p:spPr>
        <p:txBody>
          <a:bodyPr/>
          <a:lstStyle>
            <a:lvl1pPr>
              <a:defRPr lang="ru-RU"/>
            </a:lvl1pPr>
          </a:lstStyle>
          <a:p>
            <a:pPr lvl="0"/>
            <a:r>
              <a:rPr lang="ru-RU"/>
              <a:t>Вставка рисунка</a:t>
            </a:r>
          </a:p>
        </p:txBody>
      </p:sp>
      <p:sp>
        <p:nvSpPr>
          <p:cNvPr id="17" name="Рисунок 2">
            <a:extLst>
              <a:ext uri="{FF2B5EF4-FFF2-40B4-BE49-F238E27FC236}">
                <a16:creationId xmlns:a16="http://schemas.microsoft.com/office/drawing/2014/main" id="{468BD0BB-3AAA-4E90-9601-A4186E298CAF}"/>
              </a:ext>
            </a:extLst>
          </p:cNvPr>
          <p:cNvSpPr>
            <a:spLocks noGrp="1"/>
          </p:cNvSpPr>
          <p:nvPr>
            <p:ph type="pic" sz="quarter" idx="17"/>
          </p:nvPr>
        </p:nvSpPr>
        <p:spPr>
          <a:xfrm>
            <a:off x="6160050" y="1089025"/>
            <a:ext cx="2692800" cy="1816735"/>
          </a:xfrm>
          <a:prstGeom prst="rect">
            <a:avLst/>
          </a:prstGeom>
          <a:solidFill>
            <a:schemeClr val="bg1">
              <a:lumMod val="95000"/>
            </a:schemeClr>
          </a:solidFill>
          <a:ln w="6350">
            <a:solidFill>
              <a:schemeClr val="accent3"/>
            </a:solidFill>
          </a:ln>
        </p:spPr>
        <p:txBody>
          <a:bodyPr/>
          <a:lstStyle/>
          <a:p>
            <a:r>
              <a:rPr lang="ru-RU"/>
              <a:t>Вставка рисунка</a:t>
            </a:r>
          </a:p>
        </p:txBody>
      </p:sp>
      <p:sp>
        <p:nvSpPr>
          <p:cNvPr id="18" name="Рисунок 2">
            <a:extLst>
              <a:ext uri="{FF2B5EF4-FFF2-40B4-BE49-F238E27FC236}">
                <a16:creationId xmlns:a16="http://schemas.microsoft.com/office/drawing/2014/main" id="{ABC25C86-E18C-4236-8EDF-61D51F1FF43C}"/>
              </a:ext>
            </a:extLst>
          </p:cNvPr>
          <p:cNvSpPr>
            <a:spLocks noGrp="1"/>
          </p:cNvSpPr>
          <p:nvPr>
            <p:ph type="pic" sz="quarter" idx="18"/>
          </p:nvPr>
        </p:nvSpPr>
        <p:spPr>
          <a:xfrm>
            <a:off x="8983262" y="1089025"/>
            <a:ext cx="2692800" cy="1816735"/>
          </a:xfrm>
          <a:prstGeom prst="rect">
            <a:avLst/>
          </a:prstGeom>
          <a:solidFill>
            <a:schemeClr val="bg1">
              <a:lumMod val="95000"/>
            </a:schemeClr>
          </a:solidFill>
          <a:ln w="6350">
            <a:solidFill>
              <a:schemeClr val="accent4"/>
            </a:solidFill>
          </a:ln>
        </p:spPr>
        <p:txBody>
          <a:bodyPr/>
          <a:lstStyle/>
          <a:p>
            <a:r>
              <a:rPr lang="ru-RU"/>
              <a:t>Вставка рисунка</a:t>
            </a:r>
          </a:p>
        </p:txBody>
      </p:sp>
      <p:sp>
        <p:nvSpPr>
          <p:cNvPr id="10" name="Заголовок 1">
            <a:extLst>
              <a:ext uri="{FF2B5EF4-FFF2-40B4-BE49-F238E27FC236}">
                <a16:creationId xmlns:a16="http://schemas.microsoft.com/office/drawing/2014/main" id="{66531D37-2EC3-4A2B-9B24-E767F7341F61}"/>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2757811317"/>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карточки с маленьким фото">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645616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513556" y="1089025"/>
            <a:ext cx="5515200" cy="2233295"/>
          </a:xfrm>
          <a:prstGeom prst="rect">
            <a:avLst/>
          </a:prstGeom>
          <a:solidFill>
            <a:schemeClr val="bg1">
              <a:lumMod val="95000"/>
            </a:schemeClr>
          </a:solidFill>
          <a:ln w="6350">
            <a:solidFill>
              <a:schemeClr val="accent2"/>
            </a:solidFill>
          </a:ln>
        </p:spPr>
        <p:txBody>
          <a:bodyPr/>
          <a:lstStyle>
            <a:lvl1pPr>
              <a:defRPr lang="ru-RU"/>
            </a:lvl1pPr>
          </a:lstStyle>
          <a:p>
            <a:pPr lvl="0"/>
            <a:r>
              <a:rPr lang="ru-RU"/>
              <a:t>Вставка рисунка</a:t>
            </a:r>
          </a:p>
        </p:txBody>
      </p:sp>
      <p:sp>
        <p:nvSpPr>
          <p:cNvPr id="12" name="Рисунок 2">
            <a:extLst>
              <a:ext uri="{FF2B5EF4-FFF2-40B4-BE49-F238E27FC236}">
                <a16:creationId xmlns:a16="http://schemas.microsoft.com/office/drawing/2014/main" id="{B8AAF098-9333-40D1-90C3-D2DEE6B13255}"/>
              </a:ext>
            </a:extLst>
          </p:cNvPr>
          <p:cNvSpPr>
            <a:spLocks noGrp="1"/>
          </p:cNvSpPr>
          <p:nvPr>
            <p:ph type="pic" sz="quarter" idx="16"/>
          </p:nvPr>
        </p:nvSpPr>
        <p:spPr>
          <a:xfrm>
            <a:off x="6163243" y="1089025"/>
            <a:ext cx="5515200" cy="2233295"/>
          </a:xfrm>
          <a:prstGeom prst="rect">
            <a:avLst/>
          </a:prstGeom>
          <a:solidFill>
            <a:schemeClr val="bg1">
              <a:lumMod val="95000"/>
            </a:schemeClr>
          </a:solidFill>
          <a:ln w="6350">
            <a:solidFill>
              <a:schemeClr val="accent2"/>
            </a:solidFill>
          </a:ln>
        </p:spPr>
        <p:txBody>
          <a:bodyPr/>
          <a:lstStyle>
            <a:lvl1pPr>
              <a:defRPr lang="ru-RU"/>
            </a:lvl1pPr>
          </a:lstStyle>
          <a:p>
            <a:pPr lvl="0"/>
            <a:r>
              <a:rPr lang="ru-RU"/>
              <a:t>Вставка рисунка</a:t>
            </a:r>
          </a:p>
        </p:txBody>
      </p:sp>
      <p:sp>
        <p:nvSpPr>
          <p:cNvPr id="10" name="Заголовок 1">
            <a:extLst>
              <a:ext uri="{FF2B5EF4-FFF2-40B4-BE49-F238E27FC236}">
                <a16:creationId xmlns:a16="http://schemas.microsoft.com/office/drawing/2014/main" id="{7363E642-A780-4178-8E86-621F3513F04E}"/>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2859267536"/>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карточки с фото на весь слайд">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id="{C3C5AD9E-7814-447B-802F-5620E88EA2D6}"/>
              </a:ext>
            </a:extLst>
          </p:cNvPr>
          <p:cNvGraphicFramePr>
            <a:graphicFrameLocks noChangeAspect="1"/>
          </p:cNvGraphicFramePr>
          <p:nvPr>
            <p:custDataLst>
              <p:tags r:id="rId2"/>
            </p:custDataLst>
            <p:extLst>
              <p:ext uri="{D42A27DB-BD31-4B8C-83A1-F6EECF244321}">
                <p14:modId xmlns:p14="http://schemas.microsoft.com/office/powerpoint/2010/main" val="1084601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Слайд think-cell" r:id="rId5" imgW="395" imgH="396" progId="TCLayout.ActiveDocument.1">
                  <p:embed/>
                </p:oleObj>
              </mc:Choice>
              <mc:Fallback>
                <p:oleObj name="Слайд think-cell" r:id="rId5" imgW="395" imgH="396" progId="TCLayout.ActiveDocument.1">
                  <p:embed/>
                  <p:pic>
                    <p:nvPicPr>
                      <p:cNvPr id="9" name="Объект 8" hidden="1">
                        <a:extLst>
                          <a:ext uri="{FF2B5EF4-FFF2-40B4-BE49-F238E27FC236}">
                            <a16:creationId xmlns:a16="http://schemas.microsoft.com/office/drawing/2014/main" id="{C3C5AD9E-7814-447B-802F-5620E88EA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Прямоугольник 7" hidden="1">
            <a:extLst>
              <a:ext uri="{FF2B5EF4-FFF2-40B4-BE49-F238E27FC236}">
                <a16:creationId xmlns:a16="http://schemas.microsoft.com/office/drawing/2014/main" id="{3565FC92-711A-4048-B528-B8C84AC0342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4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3" name="Текст 2">
            <a:extLst>
              <a:ext uri="{FF2B5EF4-FFF2-40B4-BE49-F238E27FC236}">
                <a16:creationId xmlns:a16="http://schemas.microsoft.com/office/drawing/2014/main" id="{BBE47E41-8AB8-4B38-8695-8B96C57DF38C}"/>
              </a:ext>
            </a:extLst>
          </p:cNvPr>
          <p:cNvSpPr>
            <a:spLocks noGrp="1"/>
          </p:cNvSpPr>
          <p:nvPr>
            <p:ph type="body" sz="quarter" idx="11" hasCustomPrompt="1"/>
          </p:nvPr>
        </p:nvSpPr>
        <p:spPr>
          <a:xfrm>
            <a:off x="511175" y="6488785"/>
            <a:ext cx="6664325" cy="165100"/>
          </a:xfrm>
          <a:prstGeom prst="rect">
            <a:avLst/>
          </a:prstGeom>
        </p:spPr>
        <p:txBody>
          <a:bodyPr lIns="0" tIns="0" rIns="0" bIns="0"/>
          <a:lstStyle>
            <a:lvl1pPr>
              <a:defRPr lang="ru-RU" sz="1000" b="0" i="0" kern="1200" dirty="0">
                <a:solidFill>
                  <a:schemeClr val="bg1">
                    <a:lumMod val="50000"/>
                  </a:schemeClr>
                </a:solidFill>
                <a:latin typeface="+mn-lt"/>
                <a:ea typeface="+mn-ea"/>
                <a:cs typeface="+mn-cs"/>
              </a:defRPr>
            </a:lvl1pPr>
          </a:lstStyle>
          <a:p>
            <a:pPr lvl="0"/>
            <a:r>
              <a:rPr lang="ru-RU"/>
              <a:t>Введите текст сноски</a:t>
            </a:r>
          </a:p>
        </p:txBody>
      </p:sp>
      <p:sp>
        <p:nvSpPr>
          <p:cNvPr id="11" name="Рисунок 2">
            <a:extLst>
              <a:ext uri="{FF2B5EF4-FFF2-40B4-BE49-F238E27FC236}">
                <a16:creationId xmlns:a16="http://schemas.microsoft.com/office/drawing/2014/main" id="{0E23F929-5C7C-4826-AB48-E07A0928E701}"/>
              </a:ext>
            </a:extLst>
          </p:cNvPr>
          <p:cNvSpPr>
            <a:spLocks noGrp="1"/>
          </p:cNvSpPr>
          <p:nvPr>
            <p:ph type="pic" sz="quarter" idx="15"/>
          </p:nvPr>
        </p:nvSpPr>
        <p:spPr>
          <a:xfrm>
            <a:off x="513556" y="1089025"/>
            <a:ext cx="5515200" cy="5219700"/>
          </a:xfrm>
          <a:prstGeom prst="rect">
            <a:avLst/>
          </a:prstGeom>
          <a:solidFill>
            <a:schemeClr val="bg1">
              <a:lumMod val="95000"/>
            </a:schemeClr>
          </a:solidFill>
          <a:ln w="6350">
            <a:solidFill>
              <a:schemeClr val="accent2"/>
            </a:solidFill>
          </a:ln>
        </p:spPr>
        <p:txBody>
          <a:bodyPr/>
          <a:lstStyle>
            <a:lvl1pPr>
              <a:defRPr lang="ru-RU"/>
            </a:lvl1pPr>
          </a:lstStyle>
          <a:p>
            <a:pPr lvl="0"/>
            <a:r>
              <a:rPr lang="ru-RU"/>
              <a:t>Вставка рисунка</a:t>
            </a:r>
          </a:p>
        </p:txBody>
      </p:sp>
      <p:sp>
        <p:nvSpPr>
          <p:cNvPr id="12" name="Рисунок 2">
            <a:extLst>
              <a:ext uri="{FF2B5EF4-FFF2-40B4-BE49-F238E27FC236}">
                <a16:creationId xmlns:a16="http://schemas.microsoft.com/office/drawing/2014/main" id="{B8AAF098-9333-40D1-90C3-D2DEE6B13255}"/>
              </a:ext>
            </a:extLst>
          </p:cNvPr>
          <p:cNvSpPr>
            <a:spLocks noGrp="1"/>
          </p:cNvSpPr>
          <p:nvPr>
            <p:ph type="pic" sz="quarter" idx="16"/>
          </p:nvPr>
        </p:nvSpPr>
        <p:spPr>
          <a:xfrm>
            <a:off x="6163243" y="1089025"/>
            <a:ext cx="5515200" cy="5219700"/>
          </a:xfrm>
          <a:prstGeom prst="rect">
            <a:avLst/>
          </a:prstGeom>
          <a:solidFill>
            <a:schemeClr val="bg1">
              <a:lumMod val="95000"/>
            </a:schemeClr>
          </a:solidFill>
          <a:ln w="6350">
            <a:solidFill>
              <a:schemeClr val="accent3"/>
            </a:solidFill>
          </a:ln>
        </p:spPr>
        <p:txBody>
          <a:bodyPr/>
          <a:lstStyle>
            <a:lvl1pPr>
              <a:defRPr lang="ru-RU"/>
            </a:lvl1pPr>
          </a:lstStyle>
          <a:p>
            <a:pPr lvl="0"/>
            <a:r>
              <a:rPr lang="ru-RU"/>
              <a:t>Вставка рисунка</a:t>
            </a:r>
          </a:p>
        </p:txBody>
      </p:sp>
      <p:sp>
        <p:nvSpPr>
          <p:cNvPr id="14" name="Заголовок 1">
            <a:extLst>
              <a:ext uri="{FF2B5EF4-FFF2-40B4-BE49-F238E27FC236}">
                <a16:creationId xmlns:a16="http://schemas.microsoft.com/office/drawing/2014/main" id="{AC58B4AC-844F-41B1-8BC7-7A74FA871E0C}"/>
              </a:ext>
            </a:extLst>
          </p:cNvPr>
          <p:cNvSpPr>
            <a:spLocks noGrp="1"/>
          </p:cNvSpPr>
          <p:nvPr>
            <p:ph type="title" hasCustomPrompt="1"/>
          </p:nvPr>
        </p:nvSpPr>
        <p:spPr>
          <a:xfrm>
            <a:off x="511847" y="341593"/>
            <a:ext cx="11164215" cy="536128"/>
          </a:xfrm>
          <a:prstGeom prst="rect">
            <a:avLst/>
          </a:prstGeom>
        </p:spPr>
        <p:txBody>
          <a:bodyPr vert="horz" lIns="0" tIns="45720" rIns="91440" bIns="45720" rtlCol="0" anchor="t">
            <a:normAutofit/>
          </a:bodyPr>
          <a:lstStyle>
            <a:lvl1pPr>
              <a:defRPr sz="2400" b="0">
                <a:latin typeface="+mj-lt"/>
              </a:defRPr>
            </a:lvl1pPr>
          </a:lstStyle>
          <a:p>
            <a:r>
              <a:rPr lang="ru-RU"/>
              <a:t>Образец заголовка в 1 строку</a:t>
            </a:r>
          </a:p>
        </p:txBody>
      </p:sp>
    </p:spTree>
    <p:extLst>
      <p:ext uri="{BB962C8B-B14F-4D97-AF65-F5344CB8AC3E}">
        <p14:creationId xmlns:p14="http://schemas.microsoft.com/office/powerpoint/2010/main" val="2277921757"/>
      </p:ext>
    </p:extLst>
  </p:cSld>
  <p:clrMapOvr>
    <a:masterClrMapping/>
  </p:clrMapOvr>
  <p:extLst>
    <p:ext uri="{DCECCB84-F9BA-43D5-87BE-67443E8EF086}">
      <p15:sldGuideLst xmlns:p15="http://schemas.microsoft.com/office/powerpoint/2012/main">
        <p15:guide id="1" orient="horz" pos="4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28.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vmlDrawing" Target="../drawings/vmlDrawing16.v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oleObject" Target="../embeddings/oleObject16.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2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2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41.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29.vml"/><Relationship Id="rId3" Type="http://schemas.openxmlformats.org/officeDocument/2006/relationships/slideLayout" Target="../slideLayouts/slideLayout48.xml"/><Relationship Id="rId7" Type="http://schemas.openxmlformats.org/officeDocument/2006/relationships/theme" Target="../theme/theme4.xml"/><Relationship Id="rId12" Type="http://schemas.openxmlformats.org/officeDocument/2006/relationships/image" Target="../media/image1.emf"/><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oleObject" Target="../embeddings/oleObject29.bin"/><Relationship Id="rId5" Type="http://schemas.openxmlformats.org/officeDocument/2006/relationships/slideLayout" Target="../slideLayouts/slideLayout50.xml"/><Relationship Id="rId10" Type="http://schemas.openxmlformats.org/officeDocument/2006/relationships/tags" Target="../tags/tag44.xml"/><Relationship Id="rId4" Type="http://schemas.openxmlformats.org/officeDocument/2006/relationships/slideLayout" Target="../slideLayouts/slideLayout49.xml"/><Relationship Id="rId9" Type="http://schemas.openxmlformats.org/officeDocument/2006/relationships/tags" Target="../tags/tag4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1.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34.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ags" Target="../tags/tag52.xml"/><Relationship Id="rId5" Type="http://schemas.openxmlformats.org/officeDocument/2006/relationships/slideLayout" Target="../slideLayouts/slideLayout56.xml"/><Relationship Id="rId10" Type="http://schemas.openxmlformats.org/officeDocument/2006/relationships/tags" Target="../tags/tag51.xml"/><Relationship Id="rId4" Type="http://schemas.openxmlformats.org/officeDocument/2006/relationships/slideLayout" Target="../slideLayouts/slideLayout55.xml"/><Relationship Id="rId9" Type="http://schemas.openxmlformats.org/officeDocument/2006/relationships/vmlDrawing" Target="../drawings/vmlDrawing34.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5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53.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vmlDrawing" Target="../drawings/vmlDrawing35.vml"/><Relationship Id="rId5" Type="http://schemas.openxmlformats.org/officeDocument/2006/relationships/slideLayout" Target="../slideLayouts/slideLayout63.xml"/><Relationship Id="rId15" Type="http://schemas.openxmlformats.org/officeDocument/2006/relationships/image" Target="../media/image1.emf"/><Relationship Id="rId10" Type="http://schemas.openxmlformats.org/officeDocument/2006/relationships/theme" Target="../theme/theme6.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oleObject" Target="../embeddings/oleObject3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27"/>
            </p:custDataLst>
            <p:extLst>
              <p:ext uri="{D42A27DB-BD31-4B8C-83A1-F6EECF244321}">
                <p14:modId xmlns:p14="http://schemas.microsoft.com/office/powerpoint/2010/main" val="428042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Слайд think-cell" r:id="rId29" imgW="395" imgH="396" progId="TCLayout.ActiveDocument.1">
                  <p:embed/>
                </p:oleObj>
              </mc:Choice>
              <mc:Fallback>
                <p:oleObj name="Слайд think-cell" r:id="rId29"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79376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4" r:id="rId22"/>
    <p:sldLayoutId id="2147483695" r:id="rId23"/>
    <p:sldLayoutId id="2147483746" r:id="rId24"/>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13"/>
            </p:custDataLst>
            <p:extLst>
              <p:ext uri="{D42A27DB-BD31-4B8C-83A1-F6EECF244321}">
                <p14:modId xmlns:p14="http://schemas.microsoft.com/office/powerpoint/2010/main" val="176692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Слайд think-cell" r:id="rId15" imgW="395" imgH="396" progId="TCLayout.ActiveDocument.1">
                  <p:embed/>
                </p:oleObj>
              </mc:Choice>
              <mc:Fallback>
                <p:oleObj name="Слайд think-cell" r:id="rId15"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253896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14"/>
            </p:custDataLst>
            <p:extLst>
              <p:ext uri="{D42A27DB-BD31-4B8C-83A1-F6EECF244321}">
                <p14:modId xmlns:p14="http://schemas.microsoft.com/office/powerpoint/2010/main" val="244063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Слайд think-cell" r:id="rId16" imgW="395" imgH="396" progId="TCLayout.ActiveDocument.1">
                  <p:embed/>
                </p:oleObj>
              </mc:Choice>
              <mc:Fallback>
                <p:oleObj name="Слайд think-cell" r:id="rId16"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26700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9"/>
            </p:custDataLst>
            <p:extLst>
              <p:ext uri="{D42A27DB-BD31-4B8C-83A1-F6EECF244321}">
                <p14:modId xmlns:p14="http://schemas.microsoft.com/office/powerpoint/2010/main" val="3003744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Слайд think-cell" r:id="rId11" imgW="395" imgH="396" progId="TCLayout.ActiveDocument.1">
                  <p:embed/>
                </p:oleObj>
              </mc:Choice>
              <mc:Fallback>
                <p:oleObj name="Слайд think-cell" r:id="rId11"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602089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10"/>
            </p:custDataLst>
            <p:extLst>
              <p:ext uri="{D42A27DB-BD31-4B8C-83A1-F6EECF244321}">
                <p14:modId xmlns:p14="http://schemas.microsoft.com/office/powerpoint/2010/main" val="1440072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Слайд think-cell" r:id="rId12" imgW="395" imgH="396" progId="TCLayout.ActiveDocument.1">
                  <p:embed/>
                </p:oleObj>
              </mc:Choice>
              <mc:Fallback>
                <p:oleObj name="Слайд think-cell" r:id="rId12"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77931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id="{88C141DA-AB36-4FD1-8044-25F5CF20B87E}"/>
              </a:ext>
            </a:extLst>
          </p:cNvPr>
          <p:cNvGraphicFramePr>
            <a:graphicFrameLocks noChangeAspect="1"/>
          </p:cNvGraphicFramePr>
          <p:nvPr>
            <p:custDataLst>
              <p:tags r:id="rId12"/>
            </p:custDataLst>
            <p:extLst>
              <p:ext uri="{D42A27DB-BD31-4B8C-83A1-F6EECF244321}">
                <p14:modId xmlns:p14="http://schemas.microsoft.com/office/powerpoint/2010/main" val="12025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Слайд think-cell" r:id="rId14" imgW="395" imgH="396" progId="TCLayout.ActiveDocument.1">
                  <p:embed/>
                </p:oleObj>
              </mc:Choice>
              <mc:Fallback>
                <p:oleObj name="Слайд think-cell" r:id="rId14" imgW="395" imgH="396" progId="TCLayout.ActiveDocument.1">
                  <p:embed/>
                  <p:pic>
                    <p:nvPicPr>
                      <p:cNvPr id="7" name="Объект 6" hidden="1">
                        <a:extLst>
                          <a:ext uri="{FF2B5EF4-FFF2-40B4-BE49-F238E27FC236}">
                            <a16:creationId xmlns:a16="http://schemas.microsoft.com/office/drawing/2014/main" id="{88C141DA-AB36-4FD1-8044-25F5CF20B87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Прямоугольник 5" hidden="1">
            <a:extLst>
              <a:ext uri="{FF2B5EF4-FFF2-40B4-BE49-F238E27FC236}">
                <a16:creationId xmlns:a16="http://schemas.microsoft.com/office/drawing/2014/main" id="{D3D7DC93-2059-4CBC-A5FF-27B890C57D37}"/>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2800" b="0" i="0" baseline="0">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12" name="Прямоугольник 11">
            <a:extLst>
              <a:ext uri="{FF2B5EF4-FFF2-40B4-BE49-F238E27FC236}">
                <a16:creationId xmlns:a16="http://schemas.microsoft.com/office/drawing/2014/main" id="{C8F4AD1B-14D0-4B46-91D0-74AE1A6B8C8D}"/>
              </a:ext>
            </a:extLst>
          </p:cNvPr>
          <p:cNvSpPr/>
          <p:nvPr/>
        </p:nvSpPr>
        <p:spPr>
          <a:xfrm>
            <a:off x="11033760"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fld id="{AF528B6D-1001-487C-8FFE-85B114390330}" type="slidenum">
              <a:rPr lang="ru-RU" sz="1200" b="0" i="0" smtClean="0">
                <a:solidFill>
                  <a:schemeClr val="accent2"/>
                </a:solidFill>
              </a:rPr>
              <a:pPr algn="r"/>
              <a:t>‹#›</a:t>
            </a:fld>
            <a:endParaRPr lang="ru-RU" sz="1200" b="0" i="0">
              <a:solidFill>
                <a:schemeClr val="accent2"/>
              </a:solidFill>
            </a:endParaRPr>
          </a:p>
        </p:txBody>
      </p:sp>
      <p:grpSp>
        <p:nvGrpSpPr>
          <p:cNvPr id="5" name="Группа 4">
            <a:extLst>
              <a:ext uri="{FF2B5EF4-FFF2-40B4-BE49-F238E27FC236}">
                <a16:creationId xmlns:a16="http://schemas.microsoft.com/office/drawing/2014/main" id="{B720690E-B1CA-4547-B0F5-076477556EF2}"/>
              </a:ext>
            </a:extLst>
          </p:cNvPr>
          <p:cNvGrpSpPr/>
          <p:nvPr/>
        </p:nvGrpSpPr>
        <p:grpSpPr>
          <a:xfrm>
            <a:off x="10598745" y="6532558"/>
            <a:ext cx="110267" cy="112358"/>
            <a:chOff x="1304925" y="4310063"/>
            <a:chExt cx="585788" cy="596901"/>
          </a:xfrm>
          <a:solidFill>
            <a:schemeClr val="accent3"/>
          </a:solidFill>
        </p:grpSpPr>
        <p:sp>
          <p:nvSpPr>
            <p:cNvPr id="8" name="Rectangle 5">
              <a:extLst>
                <a:ext uri="{FF2B5EF4-FFF2-40B4-BE49-F238E27FC236}">
                  <a16:creationId xmlns:a16="http://schemas.microsoft.com/office/drawing/2014/main" id="{C3653848-F691-4B73-A625-996339CB2626}"/>
                </a:ext>
              </a:extLst>
            </p:cNvPr>
            <p:cNvSpPr>
              <a:spLocks noChangeArrowheads="1"/>
            </p:cNvSpPr>
            <p:nvPr/>
          </p:nvSpPr>
          <p:spPr bwMode="auto">
            <a:xfrm>
              <a:off x="1304925" y="4746626"/>
              <a:ext cx="163513" cy="160338"/>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ru-RU" baseline="-25000">
                <a:solidFill>
                  <a:schemeClr val="accent3">
                    <a:lumMod val="60000"/>
                    <a:lumOff val="40000"/>
                  </a:schemeClr>
                </a:solidFill>
              </a:endParaRPr>
            </a:p>
          </p:txBody>
        </p:sp>
        <p:sp>
          <p:nvSpPr>
            <p:cNvPr id="9" name="Freeform 6">
              <a:extLst>
                <a:ext uri="{FF2B5EF4-FFF2-40B4-BE49-F238E27FC236}">
                  <a16:creationId xmlns:a16="http://schemas.microsoft.com/office/drawing/2014/main" id="{879C1889-4AD7-4F64-8848-9957A6C01747}"/>
                </a:ext>
              </a:extLst>
            </p:cNvPr>
            <p:cNvSpPr>
              <a:spLocks/>
            </p:cNvSpPr>
            <p:nvPr/>
          </p:nvSpPr>
          <p:spPr bwMode="auto">
            <a:xfrm>
              <a:off x="1304925" y="4525963"/>
              <a:ext cx="381000" cy="381000"/>
            </a:xfrm>
            <a:custGeom>
              <a:avLst/>
              <a:gdLst>
                <a:gd name="T0" fmla="*/ 240 w 240"/>
                <a:gd name="T1" fmla="*/ 0 h 240"/>
                <a:gd name="T2" fmla="*/ 240 w 240"/>
                <a:gd name="T3" fmla="*/ 240 h 240"/>
                <a:gd name="T4" fmla="*/ 139 w 240"/>
                <a:gd name="T5" fmla="*/ 240 h 240"/>
                <a:gd name="T6" fmla="*/ 139 w 240"/>
                <a:gd name="T7" fmla="*/ 103 h 240"/>
                <a:gd name="T8" fmla="*/ 0 w 240"/>
                <a:gd name="T9" fmla="*/ 103 h 240"/>
                <a:gd name="T10" fmla="*/ 0 w 240"/>
                <a:gd name="T11" fmla="*/ 0 h 240"/>
                <a:gd name="T12" fmla="*/ 240 w 240"/>
                <a:gd name="T13" fmla="*/ 0 h 240"/>
              </a:gdLst>
              <a:ahLst/>
              <a:cxnLst>
                <a:cxn ang="0">
                  <a:pos x="T0" y="T1"/>
                </a:cxn>
                <a:cxn ang="0">
                  <a:pos x="T2" y="T3"/>
                </a:cxn>
                <a:cxn ang="0">
                  <a:pos x="T4" y="T5"/>
                </a:cxn>
                <a:cxn ang="0">
                  <a:pos x="T6" y="T7"/>
                </a:cxn>
                <a:cxn ang="0">
                  <a:pos x="T8" y="T9"/>
                </a:cxn>
                <a:cxn ang="0">
                  <a:pos x="T10" y="T11"/>
                </a:cxn>
                <a:cxn ang="0">
                  <a:pos x="T12" y="T13"/>
                </a:cxn>
              </a:cxnLst>
              <a:rect l="0" t="0" r="r" b="b"/>
              <a:pathLst>
                <a:path w="240" h="240">
                  <a:moveTo>
                    <a:pt x="240" y="0"/>
                  </a:moveTo>
                  <a:lnTo>
                    <a:pt x="240" y="240"/>
                  </a:lnTo>
                  <a:lnTo>
                    <a:pt x="139" y="240"/>
                  </a:lnTo>
                  <a:lnTo>
                    <a:pt x="139" y="103"/>
                  </a:lnTo>
                  <a:lnTo>
                    <a:pt x="0" y="103"/>
                  </a:lnTo>
                  <a:lnTo>
                    <a:pt x="0" y="0"/>
                  </a:lnTo>
                  <a:lnTo>
                    <a:pt x="240" y="0"/>
                  </a:lnTo>
                  <a:close/>
                </a:path>
              </a:pathLst>
            </a:custGeom>
            <a:solidFill>
              <a:schemeClr val="accent2">
                <a:lumMod val="75000"/>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p>
          </p:txBody>
        </p:sp>
        <p:sp>
          <p:nvSpPr>
            <p:cNvPr id="10" name="Freeform 7">
              <a:extLst>
                <a:ext uri="{FF2B5EF4-FFF2-40B4-BE49-F238E27FC236}">
                  <a16:creationId xmlns:a16="http://schemas.microsoft.com/office/drawing/2014/main" id="{929C3C2D-034E-4BBB-9B64-17EB4E13DC8A}"/>
                </a:ext>
              </a:extLst>
            </p:cNvPr>
            <p:cNvSpPr>
              <a:spLocks/>
            </p:cNvSpPr>
            <p:nvPr/>
          </p:nvSpPr>
          <p:spPr bwMode="auto">
            <a:xfrm>
              <a:off x="1304925" y="4310063"/>
              <a:ext cx="585788" cy="596900"/>
            </a:xfrm>
            <a:custGeom>
              <a:avLst/>
              <a:gdLst>
                <a:gd name="T0" fmla="*/ 369 w 369"/>
                <a:gd name="T1" fmla="*/ 0 h 376"/>
                <a:gd name="T2" fmla="*/ 369 w 369"/>
                <a:gd name="T3" fmla="*/ 376 h 376"/>
                <a:gd name="T4" fmla="*/ 276 w 369"/>
                <a:gd name="T5" fmla="*/ 376 h 376"/>
                <a:gd name="T6" fmla="*/ 276 w 369"/>
                <a:gd name="T7" fmla="*/ 100 h 376"/>
                <a:gd name="T8" fmla="*/ 0 w 369"/>
                <a:gd name="T9" fmla="*/ 100 h 376"/>
                <a:gd name="T10" fmla="*/ 0 w 369"/>
                <a:gd name="T11" fmla="*/ 0 h 376"/>
                <a:gd name="T12" fmla="*/ 369 w 369"/>
                <a:gd name="T13" fmla="*/ 0 h 376"/>
              </a:gdLst>
              <a:ahLst/>
              <a:cxnLst>
                <a:cxn ang="0">
                  <a:pos x="T0" y="T1"/>
                </a:cxn>
                <a:cxn ang="0">
                  <a:pos x="T2" y="T3"/>
                </a:cxn>
                <a:cxn ang="0">
                  <a:pos x="T4" y="T5"/>
                </a:cxn>
                <a:cxn ang="0">
                  <a:pos x="T6" y="T7"/>
                </a:cxn>
                <a:cxn ang="0">
                  <a:pos x="T8" y="T9"/>
                </a:cxn>
                <a:cxn ang="0">
                  <a:pos x="T10" y="T11"/>
                </a:cxn>
                <a:cxn ang="0">
                  <a:pos x="T12" y="T13"/>
                </a:cxn>
              </a:cxnLst>
              <a:rect l="0" t="0" r="r" b="b"/>
              <a:pathLst>
                <a:path w="369" h="376">
                  <a:moveTo>
                    <a:pt x="369" y="0"/>
                  </a:moveTo>
                  <a:lnTo>
                    <a:pt x="369" y="376"/>
                  </a:lnTo>
                  <a:lnTo>
                    <a:pt x="276" y="376"/>
                  </a:lnTo>
                  <a:lnTo>
                    <a:pt x="276" y="100"/>
                  </a:lnTo>
                  <a:lnTo>
                    <a:pt x="0" y="100"/>
                  </a:lnTo>
                  <a:lnTo>
                    <a:pt x="0" y="0"/>
                  </a:lnTo>
                  <a:lnTo>
                    <a:pt x="36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baseline="-25000">
                <a:solidFill>
                  <a:schemeClr val="accent3">
                    <a:lumMod val="60000"/>
                    <a:lumOff val="40000"/>
                  </a:schemeClr>
                </a:solidFill>
              </a:endParaRPr>
            </a:p>
          </p:txBody>
        </p:sp>
      </p:grpSp>
      <p:sp>
        <p:nvSpPr>
          <p:cNvPr id="13" name="Прямоугольник 12">
            <a:extLst>
              <a:ext uri="{FF2B5EF4-FFF2-40B4-BE49-F238E27FC236}">
                <a16:creationId xmlns:a16="http://schemas.microsoft.com/office/drawing/2014/main" id="{0B874E45-72E9-46DF-8FD1-92A4DC786CF4}"/>
              </a:ext>
            </a:extLst>
          </p:cNvPr>
          <p:cNvSpPr/>
          <p:nvPr/>
        </p:nvSpPr>
        <p:spPr>
          <a:xfrm>
            <a:off x="10605135" y="6493884"/>
            <a:ext cx="654444" cy="161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algn="r"/>
            <a:r>
              <a:rPr lang="en-US" sz="1200">
                <a:solidFill>
                  <a:schemeClr val="accent2"/>
                </a:solidFill>
                <a:latin typeface="+mj-lt"/>
                <a:ea typeface="Roboto Light" panose="02000000000000000000" pitchFamily="2" charset="0"/>
              </a:rPr>
              <a:t>BITOBE</a:t>
            </a:r>
            <a:endParaRPr lang="ru-RU" sz="1200" b="0" i="0">
              <a:solidFill>
                <a:schemeClr val="accent2"/>
              </a:solidFill>
            </a:endParaRPr>
          </a:p>
        </p:txBody>
      </p:sp>
      <p:cxnSp>
        <p:nvCxnSpPr>
          <p:cNvPr id="14" name="Прямая соединительная линия 13">
            <a:extLst>
              <a:ext uri="{FF2B5EF4-FFF2-40B4-BE49-F238E27FC236}">
                <a16:creationId xmlns:a16="http://schemas.microsoft.com/office/drawing/2014/main" id="{8A688EEB-7A01-4C8E-A075-DD06F3555049}"/>
              </a:ext>
            </a:extLst>
          </p:cNvPr>
          <p:cNvCxnSpPr>
            <a:cxnSpLocks/>
          </p:cNvCxnSpPr>
          <p:nvPr/>
        </p:nvCxnSpPr>
        <p:spPr>
          <a:xfrm>
            <a:off x="11402219" y="6509936"/>
            <a:ext cx="0" cy="157605"/>
          </a:xfrm>
          <a:prstGeom prst="line">
            <a:avLst/>
          </a:prstGeom>
          <a:ln>
            <a:solidFill>
              <a:schemeClr val="accent2">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688536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Lst>
  <p:txStyles>
    <p:title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25">
          <p15:clr>
            <a:srgbClr val="F26B43"/>
          </p15:clr>
        </p15:guide>
        <p15:guide id="4" pos="7355">
          <p15:clr>
            <a:srgbClr val="F26B43"/>
          </p15:clr>
        </p15:guide>
        <p15:guide id="8" orient="horz" pos="39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38.sv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23.xml"/><Relationship Id="rId5" Type="http://schemas.openxmlformats.org/officeDocument/2006/relationships/image" Target="../media/image41.png"/><Relationship Id="rId4" Type="http://schemas.openxmlformats.org/officeDocument/2006/relationships/image" Target="../media/image40.sv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45.svg"/><Relationship Id="rId7" Type="http://schemas.openxmlformats.org/officeDocument/2006/relationships/image" Target="../media/image39.png"/><Relationship Id="rId2" Type="http://schemas.openxmlformats.org/officeDocument/2006/relationships/image" Target="../media/image44.png"/><Relationship Id="rId1" Type="http://schemas.openxmlformats.org/officeDocument/2006/relationships/slideLayout" Target="../slideLayouts/slideLayout2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49.png"/><Relationship Id="rId4" Type="http://schemas.openxmlformats.org/officeDocument/2006/relationships/image" Target="../media/image40.svg"/></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1.xml"/><Relationship Id="rId1" Type="http://schemas.openxmlformats.org/officeDocument/2006/relationships/slideLayout" Target="../slideLayouts/slideLayout23.xml"/><Relationship Id="rId5" Type="http://schemas.openxmlformats.org/officeDocument/2006/relationships/image" Target="../media/image40.sv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5.xml"/><Relationship Id="rId1" Type="http://schemas.openxmlformats.org/officeDocument/2006/relationships/vmlDrawing" Target="../drawings/vmlDrawing36.vml"/><Relationship Id="rId6" Type="http://schemas.openxmlformats.org/officeDocument/2006/relationships/image" Target="../media/image28.emf"/><Relationship Id="rId5" Type="http://schemas.openxmlformats.org/officeDocument/2006/relationships/oleObject" Target="../embeddings/oleObject36.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a:extLst>
              <a:ext uri="{FF2B5EF4-FFF2-40B4-BE49-F238E27FC236}">
                <a16:creationId xmlns:a16="http://schemas.microsoft.com/office/drawing/2014/main" id="{D137877A-7113-43B5-9830-7C696604816C}"/>
              </a:ext>
            </a:extLst>
          </p:cNvPr>
          <p:cNvSpPr>
            <a:spLocks noGrp="1"/>
          </p:cNvSpPr>
          <p:nvPr>
            <p:ph type="title"/>
          </p:nvPr>
        </p:nvSpPr>
        <p:spPr/>
        <p:txBody>
          <a:bodyPr/>
          <a:lstStyle/>
          <a:p>
            <a:endParaRPr lang="ru-RU"/>
          </a:p>
        </p:txBody>
      </p:sp>
      <p:sp>
        <p:nvSpPr>
          <p:cNvPr id="11" name="Текст 10">
            <a:extLst>
              <a:ext uri="{FF2B5EF4-FFF2-40B4-BE49-F238E27FC236}">
                <a16:creationId xmlns:a16="http://schemas.microsoft.com/office/drawing/2014/main" id="{14557A49-1B58-4D87-A279-7B60A97D50FF}"/>
              </a:ext>
            </a:extLst>
          </p:cNvPr>
          <p:cNvSpPr>
            <a:spLocks noGrp="1"/>
          </p:cNvSpPr>
          <p:nvPr>
            <p:ph type="body" sz="quarter" idx="11"/>
          </p:nvPr>
        </p:nvSpPr>
        <p:spPr/>
        <p:txBody>
          <a:bodyPr/>
          <a:lstStyle/>
          <a:p>
            <a:endParaRPr lang="ru-RU"/>
          </a:p>
        </p:txBody>
      </p:sp>
      <p:pic>
        <p:nvPicPr>
          <p:cNvPr id="12" name="Picture 2" descr="Futuristic networking technology remix with woman using virtual screen Free Photo">
            <a:extLst>
              <a:ext uri="{FF2B5EF4-FFF2-40B4-BE49-F238E27FC236}">
                <a16:creationId xmlns:a16="http://schemas.microsoft.com/office/drawing/2014/main" id="{3438DFE6-7881-469A-870B-5B69DF2B077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2490"/>
          <a:stretch/>
        </p:blipFill>
        <p:spPr bwMode="auto">
          <a:xfrm>
            <a:off x="2" y="-24263"/>
            <a:ext cx="6999514" cy="69065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Futuristic networking technology remix with woman using virtual screen Free Photo">
            <a:extLst>
              <a:ext uri="{FF2B5EF4-FFF2-40B4-BE49-F238E27FC236}">
                <a16:creationId xmlns:a16="http://schemas.microsoft.com/office/drawing/2014/main" id="{2E218DF7-998C-4103-BAB0-D3DB743EC4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2490"/>
          <a:stretch/>
        </p:blipFill>
        <p:spPr bwMode="auto">
          <a:xfrm>
            <a:off x="5192486" y="-24263"/>
            <a:ext cx="6999514" cy="6906528"/>
          </a:xfrm>
          <a:prstGeom prst="rect">
            <a:avLst/>
          </a:prstGeom>
          <a:noFill/>
          <a:extLst>
            <a:ext uri="{909E8E84-426E-40DD-AFC4-6F175D3DCCD1}">
              <a14:hiddenFill xmlns:a14="http://schemas.microsoft.com/office/drawing/2010/main">
                <a:solidFill>
                  <a:srgbClr val="FFFFFF"/>
                </a:solidFill>
              </a14:hiddenFill>
            </a:ext>
          </a:extLst>
        </p:spPr>
      </p:pic>
      <p:sp>
        <p:nvSpPr>
          <p:cNvPr id="14" name="Прямоугольник 13">
            <a:extLst>
              <a:ext uri="{FF2B5EF4-FFF2-40B4-BE49-F238E27FC236}">
                <a16:creationId xmlns:a16="http://schemas.microsoft.com/office/drawing/2014/main" id="{C529765C-FF07-4481-9C6D-D39F2009F25C}"/>
              </a:ext>
            </a:extLst>
          </p:cNvPr>
          <p:cNvSpPr/>
          <p:nvPr/>
        </p:nvSpPr>
        <p:spPr>
          <a:xfrm rot="10800000" flipH="1">
            <a:off x="515938" y="-25861"/>
            <a:ext cx="4676548" cy="6883861"/>
          </a:xfrm>
          <a:prstGeom prst="rect">
            <a:avLst/>
          </a:prstGeom>
          <a:gradFill>
            <a:gsLst>
              <a:gs pos="100000">
                <a:schemeClr val="tx2"/>
              </a:gs>
              <a:gs pos="41000">
                <a:srgbClr val="103177"/>
              </a:gs>
              <a:gs pos="0">
                <a:schemeClr val="accent1"/>
              </a:gs>
            </a:gsLst>
            <a:lin ang="6600000" scaled="0"/>
          </a:gradFill>
          <a:ln>
            <a:noFill/>
          </a:ln>
          <a:effectLst>
            <a:outerShdw blurRad="127000" dist="101600" algn="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R="0" lvl="0" indent="0" algn="ctr" fontAlgn="auto">
              <a:lnSpc>
                <a:spcPct val="100000"/>
              </a:lnSpc>
              <a:spcBef>
                <a:spcPts val="0"/>
              </a:spcBef>
              <a:spcAft>
                <a:spcPts val="0"/>
              </a:spcAft>
              <a:buClrTx/>
              <a:buSzTx/>
              <a:buFontTx/>
              <a:buNone/>
              <a:tabLst/>
            </a:pPr>
            <a:endParaRPr kumimoji="0" lang="ru-RU" b="0" i="0" u="none" strike="noStrike" cap="none" spc="0" normalizeH="0" baseline="0" noProof="0">
              <a:ln>
                <a:noFill/>
              </a:ln>
              <a:solidFill>
                <a:srgbClr val="FFFFFF"/>
              </a:solidFill>
              <a:effectLst/>
              <a:uLnTx/>
              <a:uFillTx/>
              <a:latin typeface="Segoe UI Light"/>
            </a:endParaRPr>
          </a:p>
        </p:txBody>
      </p:sp>
      <p:sp>
        <p:nvSpPr>
          <p:cNvPr id="15" name="Заголовок 6">
            <a:extLst>
              <a:ext uri="{FF2B5EF4-FFF2-40B4-BE49-F238E27FC236}">
                <a16:creationId xmlns:a16="http://schemas.microsoft.com/office/drawing/2014/main" id="{1C6B6B1D-1C96-4D65-AB39-38271AA2C0A5}"/>
              </a:ext>
            </a:extLst>
          </p:cNvPr>
          <p:cNvSpPr txBox="1">
            <a:spLocks/>
          </p:cNvSpPr>
          <p:nvPr/>
        </p:nvSpPr>
        <p:spPr>
          <a:xfrm>
            <a:off x="1086430" y="4025666"/>
            <a:ext cx="3884613" cy="889000"/>
          </a:xfrm>
          <a:prstGeom prst="rect">
            <a:avLst/>
          </a:prstGeom>
        </p:spPr>
        <p:txBody>
          <a:bodyPr vert="horz"/>
          <a:lstStyle>
            <a:lvl1pPr algn="l" defTabSz="914400" rtl="0" eaLnBrk="1" latinLnBrk="0" hangingPunct="1">
              <a:lnSpc>
                <a:spcPct val="100000"/>
              </a:lnSpc>
              <a:spcBef>
                <a:spcPct val="0"/>
              </a:spcBef>
              <a:buNone/>
              <a:defRPr sz="2400" b="1" kern="1200">
                <a:solidFill>
                  <a:srgbClr val="002266"/>
                </a:solidFill>
                <a:latin typeface="Segoe UI" panose="020B0502040204020203" pitchFamily="34" charset="0"/>
                <a:ea typeface="Roboto" pitchFamily="2" charset="0"/>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itchFamily="2" charset="0"/>
              <a:cs typeface="Segoe UI" panose="020B0502040204020203" pitchFamily="34" charset="0"/>
            </a:endParaRPr>
          </a:p>
        </p:txBody>
      </p:sp>
      <p:sp>
        <p:nvSpPr>
          <p:cNvPr id="16" name="Прямоугольник 15">
            <a:extLst>
              <a:ext uri="{FF2B5EF4-FFF2-40B4-BE49-F238E27FC236}">
                <a16:creationId xmlns:a16="http://schemas.microsoft.com/office/drawing/2014/main" id="{6B952971-A654-435F-B47F-DBCA3A0EF0F9}"/>
              </a:ext>
            </a:extLst>
          </p:cNvPr>
          <p:cNvSpPr/>
          <p:nvPr/>
        </p:nvSpPr>
        <p:spPr>
          <a:xfrm>
            <a:off x="4939284" y="-25861"/>
            <a:ext cx="392180" cy="6883861"/>
          </a:xfrm>
          <a:prstGeom prst="rect">
            <a:avLst/>
          </a:prstGeom>
          <a:gradFill>
            <a:gsLst>
              <a:gs pos="0">
                <a:schemeClr val="accent2">
                  <a:lumMod val="75000"/>
                  <a:alpha val="24000"/>
                </a:schemeClr>
              </a:gs>
              <a:gs pos="100000">
                <a:schemeClr val="accent2">
                  <a:lumMod val="75000"/>
                  <a:alpha val="5000"/>
                </a:schemeClr>
              </a:gs>
            </a:gsLst>
            <a:lin ang="3360000" scaled="0"/>
          </a:gradFill>
          <a:ln>
            <a:noFill/>
          </a:ln>
          <a:effectLst>
            <a:outerShdw blurRad="88900" dist="152400" dir="8100000" algn="tr" rotWithShape="0">
              <a:prstClr val="black">
                <a:alpha val="2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pic>
        <p:nvPicPr>
          <p:cNvPr id="17" name="Рисунок 16">
            <a:extLst>
              <a:ext uri="{FF2B5EF4-FFF2-40B4-BE49-F238E27FC236}">
                <a16:creationId xmlns:a16="http://schemas.microsoft.com/office/drawing/2014/main" id="{70CFEF1C-1DA0-442A-B927-CF002379279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6430" y="476250"/>
            <a:ext cx="1235743" cy="394538"/>
          </a:xfrm>
          <a:prstGeom prst="rect">
            <a:avLst/>
          </a:prstGeom>
        </p:spPr>
      </p:pic>
      <p:sp>
        <p:nvSpPr>
          <p:cNvPr id="21" name="Подзаголовок 2">
            <a:extLst>
              <a:ext uri="{FF2B5EF4-FFF2-40B4-BE49-F238E27FC236}">
                <a16:creationId xmlns:a16="http://schemas.microsoft.com/office/drawing/2014/main" id="{80323FB0-9737-42F3-8FEB-B755131ED5A6}"/>
              </a:ext>
            </a:extLst>
          </p:cNvPr>
          <p:cNvSpPr txBox="1">
            <a:spLocks/>
          </p:cNvSpPr>
          <p:nvPr/>
        </p:nvSpPr>
        <p:spPr>
          <a:xfrm>
            <a:off x="988422" y="4676394"/>
            <a:ext cx="3609703" cy="1051744"/>
          </a:xfrm>
          <a:prstGeom prst="rect">
            <a:avLst/>
          </a:prstGeom>
        </p:spPr>
        <p:txBody>
          <a:bodyPr lIns="0"/>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002266"/>
                </a:solidFill>
                <a:latin typeface="+mj-lt"/>
                <a:ea typeface="Roboto Light" panose="02000000000000000000" pitchFamily="2"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rgbClr val="002266"/>
                </a:solidFill>
                <a:latin typeface="+mj-lt"/>
                <a:ea typeface="Roboto Light" panose="02000000000000000000" pitchFamily="2"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rgbClr val="002266"/>
                </a:solidFill>
                <a:latin typeface="+mj-lt"/>
                <a:ea typeface="Roboto Light" panose="02000000000000000000" pitchFamily="2"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rgbClr val="002266"/>
                </a:solidFill>
                <a:latin typeface="+mj-lt"/>
                <a:ea typeface="Roboto Light" panose="02000000000000000000" pitchFamily="2"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a:solidFill>
                  <a:schemeClr val="bg1"/>
                </a:solidFill>
              </a:rPr>
              <a:t>Как пройти по минному полю</a:t>
            </a:r>
          </a:p>
        </p:txBody>
      </p:sp>
      <p:sp>
        <p:nvSpPr>
          <p:cNvPr id="22" name="Заголовок 5">
            <a:extLst>
              <a:ext uri="{FF2B5EF4-FFF2-40B4-BE49-F238E27FC236}">
                <a16:creationId xmlns:a16="http://schemas.microsoft.com/office/drawing/2014/main" id="{14A6AFA7-7336-4B66-93D2-C6EDA37F0E71}"/>
              </a:ext>
            </a:extLst>
          </p:cNvPr>
          <p:cNvSpPr txBox="1">
            <a:spLocks/>
          </p:cNvSpPr>
          <p:nvPr/>
        </p:nvSpPr>
        <p:spPr>
          <a:xfrm>
            <a:off x="988422" y="2263777"/>
            <a:ext cx="3490445" cy="2181606"/>
          </a:xfrm>
          <a:prstGeom prst="rect">
            <a:avLst/>
          </a:prstGeom>
        </p:spPr>
        <p:txBody>
          <a:bodyPr vert="horz" lIns="0" tIns="45720" rIns="91440" bIns="45720" rtlCol="0" anchor="b" anchorCtr="0">
            <a:normAutofit/>
          </a:bodyPr>
          <a:lstStyle>
            <a:lvl1pPr algn="l" defTabSz="914400" rtl="0" eaLnBrk="1" latinLnBrk="0" hangingPunct="1">
              <a:lnSpc>
                <a:spcPct val="100000"/>
              </a:lnSpc>
              <a:spcBef>
                <a:spcPct val="0"/>
              </a:spcBef>
              <a:buNone/>
              <a:defRPr sz="2400" b="0" kern="1200">
                <a:solidFill>
                  <a:srgbClr val="002266"/>
                </a:solidFill>
                <a:latin typeface="+mj-lt"/>
                <a:ea typeface="Roboto" pitchFamily="2" charset="0"/>
                <a:cs typeface="Segoe UI" panose="020B0502040204020203" pitchFamily="34" charset="0"/>
              </a:defRPr>
            </a:lvl1pPr>
          </a:lstStyle>
          <a:p>
            <a:r>
              <a:rPr lang="ru-RU">
                <a:solidFill>
                  <a:schemeClr val="bg1"/>
                </a:solidFill>
              </a:rPr>
              <a:t>Ключевые барьеры при внедрении трансформации</a:t>
            </a:r>
          </a:p>
        </p:txBody>
      </p:sp>
    </p:spTree>
    <p:extLst>
      <p:ext uri="{BB962C8B-B14F-4D97-AF65-F5344CB8AC3E}">
        <p14:creationId xmlns:p14="http://schemas.microsoft.com/office/powerpoint/2010/main" val="1077359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 name="Прямоугольник: один усеченный угол 286">
            <a:extLst>
              <a:ext uri="{FF2B5EF4-FFF2-40B4-BE49-F238E27FC236}">
                <a16:creationId xmlns:a16="http://schemas.microsoft.com/office/drawing/2014/main" id="{CE35276F-0DA7-45F4-8E96-3A2424653DA4}"/>
              </a:ext>
            </a:extLst>
          </p:cNvPr>
          <p:cNvSpPr/>
          <p:nvPr/>
        </p:nvSpPr>
        <p:spPr>
          <a:xfrm rot="16200000">
            <a:off x="5250172" y="-105396"/>
            <a:ext cx="2628000" cy="10223781"/>
          </a:xfrm>
          <a:prstGeom prst="snip1Rect">
            <a:avLst>
              <a:gd name="adj" fmla="val 14621"/>
            </a:avLst>
          </a:prstGeom>
          <a:gradFill flip="none" rotWithShape="0">
            <a:gsLst>
              <a:gs pos="100000">
                <a:schemeClr val="bg1"/>
              </a:gs>
              <a:gs pos="0">
                <a:schemeClr val="accent3">
                  <a:lumMod val="40000"/>
                  <a:lumOff val="60000"/>
                </a:schemeClr>
              </a:gs>
            </a:gsLst>
            <a:lin ang="2700000" scaled="1"/>
            <a:tileRect/>
          </a:gradFill>
          <a:ln>
            <a:noFill/>
          </a:ln>
          <a:effectLst>
            <a:outerShdw blurRad="101600" dist="101600" dir="2700000" algn="ctr" rotWithShape="0">
              <a:srgbClr val="000000">
                <a:alpha val="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5" name="Прямоугольник 284">
            <a:extLst>
              <a:ext uri="{FF2B5EF4-FFF2-40B4-BE49-F238E27FC236}">
                <a16:creationId xmlns:a16="http://schemas.microsoft.com/office/drawing/2014/main" id="{99C08B95-1872-4265-9D58-3415A3E7C426}"/>
              </a:ext>
            </a:extLst>
          </p:cNvPr>
          <p:cNvSpPr/>
          <p:nvPr/>
        </p:nvSpPr>
        <p:spPr>
          <a:xfrm rot="5400000" flipV="1">
            <a:off x="6279207" y="-1705550"/>
            <a:ext cx="2628000" cy="8165711"/>
          </a:xfrm>
          <a:prstGeom prst="rect">
            <a:avLst/>
          </a:prstGeom>
          <a:gradFill flip="none" rotWithShape="1">
            <a:gsLst>
              <a:gs pos="0">
                <a:schemeClr val="bg1"/>
              </a:gs>
              <a:gs pos="100000">
                <a:schemeClr val="accent2">
                  <a:lumMod val="40000"/>
                  <a:lumOff val="60000"/>
                </a:schemeClr>
              </a:gs>
            </a:gsLst>
            <a:lin ang="16200000" scaled="1"/>
            <a:tileRect/>
          </a:gradFill>
          <a:ln>
            <a:noFill/>
          </a:ln>
          <a:effectLst>
            <a:outerShdw blurRad="101600" dist="101600" dir="2700000" algn="ctr" rotWithShape="0">
              <a:srgbClr val="000000">
                <a:alpha val="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7" name="Прямоугольник: скругленные углы 236">
            <a:extLst>
              <a:ext uri="{FF2B5EF4-FFF2-40B4-BE49-F238E27FC236}">
                <a16:creationId xmlns:a16="http://schemas.microsoft.com/office/drawing/2014/main" id="{CC093BA1-8E79-474D-870F-983087BBC3B3}"/>
              </a:ext>
            </a:extLst>
          </p:cNvPr>
          <p:cNvSpPr/>
          <p:nvPr/>
        </p:nvSpPr>
        <p:spPr>
          <a:xfrm>
            <a:off x="4396005" y="3432780"/>
            <a:ext cx="479179" cy="1984561"/>
          </a:xfrm>
          <a:prstGeom prst="roundRect">
            <a:avLst>
              <a:gd name="adj" fmla="val 0"/>
            </a:avLst>
          </a:prstGeom>
          <a:solidFill>
            <a:schemeClr val="accent6">
              <a:lumMod val="40000"/>
              <a:lumOff val="60000"/>
              <a:alpha val="2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10" name="Дуга 509">
            <a:extLst>
              <a:ext uri="{FF2B5EF4-FFF2-40B4-BE49-F238E27FC236}">
                <a16:creationId xmlns:a16="http://schemas.microsoft.com/office/drawing/2014/main" id="{F4CD5908-3377-4C7F-8CA2-0698B1131F1E}"/>
              </a:ext>
            </a:extLst>
          </p:cNvPr>
          <p:cNvSpPr/>
          <p:nvPr/>
        </p:nvSpPr>
        <p:spPr>
          <a:xfrm flipH="1">
            <a:off x="3521242" y="5135775"/>
            <a:ext cx="5386032" cy="478336"/>
          </a:xfrm>
          <a:prstGeom prst="arc">
            <a:avLst>
              <a:gd name="adj1" fmla="val 12765740"/>
              <a:gd name="adj2" fmla="val 10376550"/>
            </a:avLst>
          </a:prstGeom>
          <a:ln w="9525">
            <a:gradFill flip="none" rotWithShape="1">
              <a:gsLst>
                <a:gs pos="0">
                  <a:schemeClr val="accent3"/>
                </a:gs>
                <a:gs pos="100000">
                  <a:schemeClr val="accent3">
                    <a:lumMod val="40000"/>
                    <a:lumOff val="60000"/>
                    <a:alpha val="0"/>
                  </a:schemeClr>
                </a:gs>
                <a:gs pos="84000">
                  <a:schemeClr val="accent3">
                    <a:lumMod val="40000"/>
                    <a:lumOff val="60000"/>
                  </a:schemeClr>
                </a:gs>
              </a:gsLst>
              <a:lin ang="16200000" scaled="1"/>
              <a:tileRect/>
            </a:gradFill>
            <a:prstDash val="solid"/>
            <a:headEnd w="sm" len="sm"/>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286" name="Стрелка: пятиугольник 285">
            <a:extLst>
              <a:ext uri="{FF2B5EF4-FFF2-40B4-BE49-F238E27FC236}">
                <a16:creationId xmlns:a16="http://schemas.microsoft.com/office/drawing/2014/main" id="{F01673DE-3008-48EE-B783-A93FAC1C8291}"/>
              </a:ext>
            </a:extLst>
          </p:cNvPr>
          <p:cNvSpPr/>
          <p:nvPr/>
        </p:nvSpPr>
        <p:spPr>
          <a:xfrm rot="5400000" flipV="1">
            <a:off x="1564329" y="1533225"/>
            <a:ext cx="2983596" cy="2043754"/>
          </a:xfrm>
          <a:prstGeom prst="homePlate">
            <a:avLst>
              <a:gd name="adj" fmla="val 25583"/>
            </a:avLst>
          </a:prstGeom>
          <a:gradFill flip="none" rotWithShape="1">
            <a:gsLst>
              <a:gs pos="0">
                <a:schemeClr val="accent1"/>
              </a:gs>
              <a:gs pos="100000">
                <a:schemeClr val="accent2"/>
              </a:gs>
            </a:gsLst>
            <a:lin ang="2700000" scaled="1"/>
            <a:tileRect/>
          </a:gradFill>
          <a:ln>
            <a:gradFill flip="none" rotWithShape="1">
              <a:gsLst>
                <a:gs pos="0">
                  <a:schemeClr val="bg1"/>
                </a:gs>
                <a:gs pos="100000">
                  <a:schemeClr val="bg1">
                    <a:alpha val="0"/>
                  </a:schemeClr>
                </a:gs>
              </a:gsLst>
              <a:lin ang="8100000" scaled="1"/>
              <a:tileRect/>
            </a:gradFill>
          </a:ln>
          <a:effectLst>
            <a:outerShdw blurRad="101600" dist="101600" dir="2700000" algn="ctr" rotWithShape="0">
              <a:srgbClr val="000000">
                <a:alpha val="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aphicFrame>
        <p:nvGraphicFramePr>
          <p:cNvPr id="4" name="Объект 3" hidden="1">
            <a:extLst>
              <a:ext uri="{FF2B5EF4-FFF2-40B4-BE49-F238E27FC236}">
                <a16:creationId xmlns:a16="http://schemas.microsoft.com/office/drawing/2014/main" id="{660686E5-D341-499B-96D4-7868D162E4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Слайд think-cell" r:id="rId5" imgW="395" imgH="396" progId="TCLayout.ActiveDocument.1">
                  <p:embed/>
                </p:oleObj>
              </mc:Choice>
              <mc:Fallback>
                <p:oleObj name="Слайд think-cell" r:id="rId5" imgW="395" imgH="396" progId="TCLayout.ActiveDocument.1">
                  <p:embed/>
                  <p:pic>
                    <p:nvPicPr>
                      <p:cNvPr id="4" name="Объект 3" hidden="1">
                        <a:extLst>
                          <a:ext uri="{FF2B5EF4-FFF2-40B4-BE49-F238E27FC236}">
                            <a16:creationId xmlns:a16="http://schemas.microsoft.com/office/drawing/2014/main" id="{660686E5-D341-499B-96D4-7868D162E4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id="{D81CFE26-1D51-45E8-A4D1-E24A012022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1" i="0" u="none" strike="noStrike" kern="1200" cap="none" spc="0" normalizeH="0" baseline="0" noProof="0">
              <a:ln>
                <a:noFill/>
              </a:ln>
              <a:solidFill>
                <a:srgbClr val="FFFFFF"/>
              </a:solidFill>
              <a:effectLst/>
              <a:uLnTx/>
              <a:uFillTx/>
              <a:latin typeface="Segoe UI" panose="020B0502040204020203" pitchFamily="34" charset="0"/>
              <a:ea typeface="Roboto" panose="02000000000000000000" pitchFamily="2" charset="0"/>
              <a:cs typeface="Segoe UI" panose="020B0502040204020203" pitchFamily="34" charset="0"/>
              <a:sym typeface="Segoe UI" panose="020B0502040204020203" pitchFamily="34" charset="0"/>
            </a:endParaRPr>
          </a:p>
        </p:txBody>
      </p:sp>
      <p:sp>
        <p:nvSpPr>
          <p:cNvPr id="2" name="Заголовок 1">
            <a:extLst>
              <a:ext uri="{FF2B5EF4-FFF2-40B4-BE49-F238E27FC236}">
                <a16:creationId xmlns:a16="http://schemas.microsoft.com/office/drawing/2014/main" id="{86D1420A-B672-4FAB-9EEB-21147C0C063A}"/>
              </a:ext>
            </a:extLst>
          </p:cNvPr>
          <p:cNvSpPr>
            <a:spLocks noGrp="1"/>
          </p:cNvSpPr>
          <p:nvPr>
            <p:ph type="title"/>
          </p:nvPr>
        </p:nvSpPr>
        <p:spPr>
          <a:xfrm>
            <a:off x="511847" y="312072"/>
            <a:ext cx="11164215" cy="536128"/>
          </a:xfrm>
        </p:spPr>
        <p:txBody>
          <a:bodyPr>
            <a:normAutofit/>
          </a:bodyPr>
          <a:lstStyle/>
          <a:p>
            <a:r>
              <a:rPr lang="ru-RU" sz="2800"/>
              <a:t>7 рычагов изменений</a:t>
            </a:r>
            <a:endParaRPr lang="ru-RU" sz="2800">
              <a:solidFill>
                <a:schemeClr val="tx2"/>
              </a:solidFill>
              <a:latin typeface="+mj-lt"/>
            </a:endParaRPr>
          </a:p>
        </p:txBody>
      </p:sp>
      <p:sp>
        <p:nvSpPr>
          <p:cNvPr id="11" name="Текст 10">
            <a:extLst>
              <a:ext uri="{FF2B5EF4-FFF2-40B4-BE49-F238E27FC236}">
                <a16:creationId xmlns:a16="http://schemas.microsoft.com/office/drawing/2014/main" id="{CC2BAEEB-4EE5-4D36-BB59-0EB6EB8BB278}"/>
              </a:ext>
            </a:extLst>
          </p:cNvPr>
          <p:cNvSpPr>
            <a:spLocks noGrp="1"/>
          </p:cNvSpPr>
          <p:nvPr>
            <p:ph type="body" sz="quarter" idx="11"/>
          </p:nvPr>
        </p:nvSpPr>
        <p:spPr/>
        <p:txBody>
          <a:bodyPr/>
          <a:lstStyle/>
          <a:p>
            <a:endParaRPr lang="ru-RU"/>
          </a:p>
        </p:txBody>
      </p:sp>
      <p:sp>
        <p:nvSpPr>
          <p:cNvPr id="216" name="Прямоугольник: скругленные углы 215">
            <a:extLst>
              <a:ext uri="{FF2B5EF4-FFF2-40B4-BE49-F238E27FC236}">
                <a16:creationId xmlns:a16="http://schemas.microsoft.com/office/drawing/2014/main" id="{5C43D883-0095-4AD7-A36E-AC856B8E181A}"/>
              </a:ext>
            </a:extLst>
          </p:cNvPr>
          <p:cNvSpPr/>
          <p:nvPr/>
        </p:nvSpPr>
        <p:spPr>
          <a:xfrm>
            <a:off x="5276120" y="1730287"/>
            <a:ext cx="3014767" cy="1068782"/>
          </a:xfrm>
          <a:prstGeom prst="roundRect">
            <a:avLst>
              <a:gd name="adj" fmla="val 0"/>
            </a:avLst>
          </a:prstGeom>
          <a:solidFill>
            <a:schemeClr val="accent1">
              <a:lumMod val="40000"/>
              <a:lumOff val="60000"/>
              <a:alpha val="2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80" name="TextBox 279">
            <a:extLst>
              <a:ext uri="{FF2B5EF4-FFF2-40B4-BE49-F238E27FC236}">
                <a16:creationId xmlns:a16="http://schemas.microsoft.com/office/drawing/2014/main" id="{487D81F6-5770-4B6D-88AC-FBFA73A7E7FA}"/>
              </a:ext>
            </a:extLst>
          </p:cNvPr>
          <p:cNvSpPr txBox="1"/>
          <p:nvPr/>
        </p:nvSpPr>
        <p:spPr>
          <a:xfrm>
            <a:off x="2034247" y="1063304"/>
            <a:ext cx="1956133" cy="781922"/>
          </a:xfrm>
          <a:prstGeom prst="rect">
            <a:avLst/>
          </a:prstGeom>
          <a:noFill/>
        </p:spPr>
        <p:txBody>
          <a:bodyPr wrap="square" lIns="180000" t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a:ea typeface="+mn-ea"/>
                <a:cs typeface="+mn-cs"/>
              </a:rPr>
              <a:t>ИЗМЕНЕНИЯ </a:t>
            </a:r>
            <a:br>
              <a:rPr kumimoji="0" lang="ru-RU" sz="16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a:ea typeface="+mn-ea"/>
                <a:cs typeface="+mn-cs"/>
              </a:rPr>
            </a:br>
            <a:r>
              <a:rPr kumimoji="0" lang="ru-RU"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СВЕРХУ»</a:t>
            </a:r>
          </a:p>
        </p:txBody>
      </p:sp>
      <p:sp>
        <p:nvSpPr>
          <p:cNvPr id="281" name="TextBox 280">
            <a:extLst>
              <a:ext uri="{FF2B5EF4-FFF2-40B4-BE49-F238E27FC236}">
                <a16:creationId xmlns:a16="http://schemas.microsoft.com/office/drawing/2014/main" id="{F0E4D6F5-A852-42F3-82F0-9FB863A028E8}"/>
              </a:ext>
            </a:extLst>
          </p:cNvPr>
          <p:cNvSpPr txBox="1"/>
          <p:nvPr/>
        </p:nvSpPr>
        <p:spPr>
          <a:xfrm>
            <a:off x="2034249" y="1746573"/>
            <a:ext cx="1943002" cy="1677552"/>
          </a:xfrm>
          <a:prstGeom prst="rect">
            <a:avLst/>
          </a:prstGeom>
          <a:noFill/>
        </p:spPr>
        <p:txBody>
          <a:bodyPr wrap="square" lIns="180000" tIns="180000" rtlCol="0">
            <a:spAutoFit/>
          </a:bodyPr>
          <a:lstStyle/>
          <a:p>
            <a:pPr marL="171450" marR="0" lvl="0" indent="-171450" algn="l" defTabSz="914400" rtl="0" eaLnBrk="1" fontAlgn="auto" latinLnBrk="0" hangingPunct="1">
              <a:lnSpc>
                <a:spcPct val="90000"/>
              </a:lnSpc>
              <a:spcBef>
                <a:spcPts val="0"/>
              </a:spcBef>
              <a:spcAft>
                <a:spcPts val="600"/>
              </a:spcAft>
              <a:buClr>
                <a:srgbClr val="FFFFFF"/>
              </a:buClr>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Работа с командой </a:t>
            </a:r>
            <a:b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b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первых</a:t>
            </a:r>
          </a:p>
          <a:p>
            <a:pPr marL="171450" marR="0" lvl="0" indent="-171450" algn="l" defTabSz="914400" rtl="0" eaLnBrk="1" fontAlgn="auto" latinLnBrk="0" hangingPunct="1">
              <a:lnSpc>
                <a:spcPct val="90000"/>
              </a:lnSpc>
              <a:spcBef>
                <a:spcPts val="0"/>
              </a:spcBef>
              <a:spcAft>
                <a:spcPts val="600"/>
              </a:spcAft>
              <a:buClr>
                <a:srgbClr val="FFFFFF"/>
              </a:buClr>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Изменение </a:t>
            </a:r>
            <a:b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b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рабочей среды</a:t>
            </a:r>
          </a:p>
          <a:p>
            <a:pPr marL="171450" marR="0" lvl="0" indent="-171450" algn="l" defTabSz="914400" rtl="0" eaLnBrk="1" fontAlgn="auto" latinLnBrk="0" hangingPunct="1">
              <a:lnSpc>
                <a:spcPct val="90000"/>
              </a:lnSpc>
              <a:spcBef>
                <a:spcPts val="0"/>
              </a:spcBef>
              <a:spcAft>
                <a:spcPts val="600"/>
              </a:spcAft>
              <a:buClr>
                <a:srgbClr val="FFFFFF"/>
              </a:buClr>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Изменение организационной </a:t>
            </a:r>
            <a:b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b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среды</a:t>
            </a:r>
          </a:p>
          <a:p>
            <a:pPr marL="171450" marR="0" lvl="0" indent="-171450" algn="l" defTabSz="914400" rtl="0" eaLnBrk="1" fontAlgn="auto" latinLnBrk="0" hangingPunct="1">
              <a:lnSpc>
                <a:spcPct val="90000"/>
              </a:lnSpc>
              <a:spcBef>
                <a:spcPts val="0"/>
              </a:spcBef>
              <a:spcAft>
                <a:spcPts val="600"/>
              </a:spcAft>
              <a:buClr>
                <a:srgbClr val="FFFFFF"/>
              </a:buClr>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Центры изменений</a:t>
            </a:r>
          </a:p>
        </p:txBody>
      </p:sp>
      <p:sp>
        <p:nvSpPr>
          <p:cNvPr id="288" name="Стрелка: пятиугольник 287">
            <a:extLst>
              <a:ext uri="{FF2B5EF4-FFF2-40B4-BE49-F238E27FC236}">
                <a16:creationId xmlns:a16="http://schemas.microsoft.com/office/drawing/2014/main" id="{2B6136E6-A97E-4F63-BBF0-3DB76AC89BE4}"/>
              </a:ext>
            </a:extLst>
          </p:cNvPr>
          <p:cNvSpPr/>
          <p:nvPr/>
        </p:nvSpPr>
        <p:spPr>
          <a:xfrm rot="16200000" flipV="1">
            <a:off x="50700" y="3797761"/>
            <a:ext cx="2978175" cy="2043753"/>
          </a:xfrm>
          <a:prstGeom prst="homePlate">
            <a:avLst>
              <a:gd name="adj" fmla="val 25583"/>
            </a:avLst>
          </a:prstGeom>
          <a:gradFill flip="none" rotWithShape="1">
            <a:gsLst>
              <a:gs pos="0">
                <a:schemeClr val="accent3">
                  <a:lumMod val="75000"/>
                </a:schemeClr>
              </a:gs>
              <a:gs pos="100000">
                <a:schemeClr val="accent3"/>
              </a:gs>
            </a:gsLst>
            <a:lin ang="13500000" scaled="1"/>
            <a:tileRect/>
          </a:gradFill>
          <a:ln>
            <a:gradFill flip="none" rotWithShape="1">
              <a:gsLst>
                <a:gs pos="0">
                  <a:schemeClr val="bg1"/>
                </a:gs>
                <a:gs pos="100000">
                  <a:schemeClr val="accent3"/>
                </a:gs>
              </a:gsLst>
              <a:lin ang="12600000" scaled="0"/>
              <a:tileRect/>
            </a:gradFill>
          </a:ln>
          <a:effectLst>
            <a:outerShdw blurRad="101600" dist="101600" dir="2700000" algn="ctr" rotWithShape="0">
              <a:srgbClr val="000000">
                <a:alpha val="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40" name="TextBox 339">
            <a:extLst>
              <a:ext uri="{FF2B5EF4-FFF2-40B4-BE49-F238E27FC236}">
                <a16:creationId xmlns:a16="http://schemas.microsoft.com/office/drawing/2014/main" id="{C3968DD2-5CBD-486F-87CF-3E07641071FF}"/>
              </a:ext>
            </a:extLst>
          </p:cNvPr>
          <p:cNvSpPr txBox="1"/>
          <p:nvPr/>
        </p:nvSpPr>
        <p:spPr>
          <a:xfrm>
            <a:off x="517912" y="4085549"/>
            <a:ext cx="1464958" cy="781922"/>
          </a:xfrm>
          <a:prstGeom prst="rect">
            <a:avLst/>
          </a:prstGeom>
          <a:noFill/>
          <a:ln>
            <a:noFill/>
          </a:ln>
        </p:spPr>
        <p:txBody>
          <a:bodyPr wrap="square" lIns="180000" t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a:ea typeface="+mn-ea"/>
                <a:cs typeface="+mn-cs"/>
              </a:rPr>
              <a:t>ИЗМЕНЕНИЯ</a:t>
            </a:r>
            <a:r>
              <a:rPr kumimoji="0" lang="ru-RU" sz="16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 </a:t>
            </a:r>
            <a:r>
              <a:rPr kumimoji="0" lang="ru-RU" sz="20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СНИЗУ»</a:t>
            </a:r>
            <a:endParaRPr kumimoji="0" lang="ru-RU" sz="16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41" name="TextBox 340">
            <a:extLst>
              <a:ext uri="{FF2B5EF4-FFF2-40B4-BE49-F238E27FC236}">
                <a16:creationId xmlns:a16="http://schemas.microsoft.com/office/drawing/2014/main" id="{111ED6BC-DF46-487B-88C4-638C36F781CF}"/>
              </a:ext>
            </a:extLst>
          </p:cNvPr>
          <p:cNvSpPr txBox="1"/>
          <p:nvPr/>
        </p:nvSpPr>
        <p:spPr>
          <a:xfrm>
            <a:off x="517912" y="4768043"/>
            <a:ext cx="2315048" cy="1372853"/>
          </a:xfrm>
          <a:prstGeom prst="rect">
            <a:avLst/>
          </a:prstGeom>
          <a:noFill/>
        </p:spPr>
        <p:txBody>
          <a:bodyPr wrap="square" lIns="180000" tIns="18000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Создание </a:t>
            </a:r>
            <a:b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b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множественных </a:t>
            </a:r>
            <a:b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b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точек изменений»:</a:t>
            </a:r>
          </a:p>
          <a:p>
            <a:pPr marL="171450" marR="0" lvl="0" indent="-171450" algn="l" defTabSz="914400" rtl="0" eaLnBrk="1" fontAlgn="auto" latinLnBrk="0" hangingPunct="1">
              <a:lnSpc>
                <a:spcPct val="90000"/>
              </a:lnSpc>
              <a:spcBef>
                <a:spcPts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Сообщества</a:t>
            </a:r>
          </a:p>
          <a:p>
            <a:pPr marL="171450" marR="0" lvl="0" indent="-171450" algn="l" defTabSz="914400" rtl="0" eaLnBrk="1" fontAlgn="auto" latinLnBrk="0" hangingPunct="1">
              <a:lnSpc>
                <a:spcPct val="90000"/>
              </a:lnSpc>
              <a:spcBef>
                <a:spcPts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err="1">
                <a:ln>
                  <a:noFill/>
                </a:ln>
                <a:solidFill>
                  <a:srgbClr val="FFFFFF"/>
                </a:solidFill>
                <a:effectLst>
                  <a:outerShdw blurRad="38100" dist="38100" dir="2700000" algn="tl">
                    <a:srgbClr val="000000">
                      <a:alpha val="43137"/>
                    </a:srgbClr>
                  </a:outerShdw>
                </a:effectLst>
                <a:uLnTx/>
                <a:uFillTx/>
                <a:latin typeface="Segoe UI Semibold"/>
                <a:ea typeface="+mn-ea"/>
                <a:cs typeface="+mn-cs"/>
              </a:rPr>
              <a:t>Оргпривычки</a:t>
            </a:r>
            <a:endPar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a:p>
            <a:pPr marL="171450" marR="0" lvl="0" indent="-171450" algn="l" defTabSz="914400" rtl="0" eaLnBrk="1" fontAlgn="auto" latinLnBrk="0" hangingPunct="1">
              <a:lnSpc>
                <a:spcPct val="90000"/>
              </a:lnSpc>
              <a:spcBef>
                <a:spcPts val="0"/>
              </a:spcBef>
              <a:spcAft>
                <a:spcPts val="600"/>
              </a:spcAft>
              <a:buClrTx/>
              <a:buSzTx/>
              <a:buFont typeface="Wingdings" panose="05000000000000000000" pitchFamily="2" charset="2"/>
              <a:buChar char="§"/>
              <a:tabLst/>
              <a:defRPr/>
            </a:pPr>
            <a:r>
              <a:rPr kumimoji="0" lang="ru-RU" sz="11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rPr>
              <a:t>Команды</a:t>
            </a:r>
          </a:p>
        </p:txBody>
      </p:sp>
      <p:sp>
        <p:nvSpPr>
          <p:cNvPr id="345" name="Стрелка: пятиугольник 344">
            <a:extLst>
              <a:ext uri="{FF2B5EF4-FFF2-40B4-BE49-F238E27FC236}">
                <a16:creationId xmlns:a16="http://schemas.microsoft.com/office/drawing/2014/main" id="{186118C0-A290-4586-A964-E17F8D97CC4C}"/>
              </a:ext>
            </a:extLst>
          </p:cNvPr>
          <p:cNvSpPr/>
          <p:nvPr/>
        </p:nvSpPr>
        <p:spPr>
          <a:xfrm rot="16200000" flipV="1">
            <a:off x="1782064" y="4968895"/>
            <a:ext cx="2040594" cy="662606"/>
          </a:xfrm>
          <a:prstGeom prst="homePlate">
            <a:avLst>
              <a:gd name="adj" fmla="val 25583"/>
            </a:avLst>
          </a:prstGeom>
          <a:gradFill flip="none" rotWithShape="1">
            <a:gsLst>
              <a:gs pos="0">
                <a:schemeClr val="accent3">
                  <a:lumMod val="40000"/>
                  <a:lumOff val="60000"/>
                </a:schemeClr>
              </a:gs>
              <a:gs pos="100000">
                <a:schemeClr val="accent3">
                  <a:lumMod val="60000"/>
                  <a:lumOff val="40000"/>
                </a:schemeClr>
              </a:gs>
            </a:gsLst>
            <a:lin ang="0" scaled="1"/>
            <a:tileRect/>
          </a:gradFill>
          <a:ln>
            <a:noFill/>
          </a:ln>
          <a:effectLst>
            <a:outerShdw blurRad="63500" dist="12700" dir="2700000" algn="ctr" rotWithShape="0">
              <a:schemeClr val="accent3">
                <a:lumMod val="7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42" name="Стрелка: пятиугольник 341">
            <a:extLst>
              <a:ext uri="{FF2B5EF4-FFF2-40B4-BE49-F238E27FC236}">
                <a16:creationId xmlns:a16="http://schemas.microsoft.com/office/drawing/2014/main" id="{761AA974-BA1B-4660-B6A6-D7C0282F42E3}"/>
              </a:ext>
            </a:extLst>
          </p:cNvPr>
          <p:cNvSpPr/>
          <p:nvPr/>
        </p:nvSpPr>
        <p:spPr>
          <a:xfrm rot="16200000" flipV="1">
            <a:off x="1951713" y="5440705"/>
            <a:ext cx="1207711" cy="551868"/>
          </a:xfrm>
          <a:prstGeom prst="homePlate">
            <a:avLst>
              <a:gd name="adj" fmla="val 25583"/>
            </a:avLst>
          </a:prstGeom>
          <a:gradFill flip="none" rotWithShape="1">
            <a:gsLst>
              <a:gs pos="0">
                <a:schemeClr val="accent3">
                  <a:lumMod val="20000"/>
                  <a:lumOff val="80000"/>
                </a:schemeClr>
              </a:gs>
              <a:gs pos="100000">
                <a:schemeClr val="accent3">
                  <a:lumMod val="40000"/>
                  <a:lumOff val="60000"/>
                </a:schemeClr>
              </a:gs>
            </a:gsLst>
            <a:lin ang="0" scaled="1"/>
            <a:tileRect/>
          </a:gradFill>
          <a:ln>
            <a:noFill/>
          </a:ln>
          <a:effectLst>
            <a:outerShdw blurRad="63500" dist="12700" dir="2700000" algn="ctr" rotWithShape="0">
              <a:schemeClr val="accent3">
                <a:lumMod val="7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46" name="TextBox 345">
            <a:extLst>
              <a:ext uri="{FF2B5EF4-FFF2-40B4-BE49-F238E27FC236}">
                <a16:creationId xmlns:a16="http://schemas.microsoft.com/office/drawing/2014/main" id="{1952228C-0680-4158-B01F-BAC987CCC4F1}"/>
              </a:ext>
            </a:extLst>
          </p:cNvPr>
          <p:cNvSpPr txBox="1"/>
          <p:nvPr/>
        </p:nvSpPr>
        <p:spPr>
          <a:xfrm>
            <a:off x="10439399" y="1299916"/>
            <a:ext cx="1300698"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Управленческая </a:t>
            </a:r>
            <a:b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b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вера ГД</a:t>
            </a:r>
          </a:p>
        </p:txBody>
      </p:sp>
      <p:sp>
        <p:nvSpPr>
          <p:cNvPr id="347" name="TextBox 346">
            <a:extLst>
              <a:ext uri="{FF2B5EF4-FFF2-40B4-BE49-F238E27FC236}">
                <a16:creationId xmlns:a16="http://schemas.microsoft.com/office/drawing/2014/main" id="{70275406-40BB-43E3-87CF-2AAEB368BA4C}"/>
              </a:ext>
            </a:extLst>
          </p:cNvPr>
          <p:cNvSpPr txBox="1"/>
          <p:nvPr/>
        </p:nvSpPr>
        <p:spPr>
          <a:xfrm>
            <a:off x="10439399" y="3102224"/>
            <a:ext cx="1351447"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Процессы и изменения, как они спроектированы</a:t>
            </a:r>
          </a:p>
        </p:txBody>
      </p:sp>
      <p:sp>
        <p:nvSpPr>
          <p:cNvPr id="348" name="TextBox 347">
            <a:extLst>
              <a:ext uri="{FF2B5EF4-FFF2-40B4-BE49-F238E27FC236}">
                <a16:creationId xmlns:a16="http://schemas.microsoft.com/office/drawing/2014/main" id="{811FD991-75E5-4087-8537-6C0B314D2EF6}"/>
              </a:ext>
            </a:extLst>
          </p:cNvPr>
          <p:cNvSpPr txBox="1"/>
          <p:nvPr/>
        </p:nvSpPr>
        <p:spPr>
          <a:xfrm>
            <a:off x="10439399" y="1905366"/>
            <a:ext cx="1193946"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Управленческая вера топ-команды</a:t>
            </a:r>
          </a:p>
        </p:txBody>
      </p:sp>
      <p:sp>
        <p:nvSpPr>
          <p:cNvPr id="349" name="TextBox 348">
            <a:extLst>
              <a:ext uri="{FF2B5EF4-FFF2-40B4-BE49-F238E27FC236}">
                <a16:creationId xmlns:a16="http://schemas.microsoft.com/office/drawing/2014/main" id="{3A601531-D448-42A6-A66E-989AC71B5F83}"/>
              </a:ext>
            </a:extLst>
          </p:cNvPr>
          <p:cNvSpPr txBox="1"/>
          <p:nvPr/>
        </p:nvSpPr>
        <p:spPr>
          <a:xfrm>
            <a:off x="10439399" y="2502477"/>
            <a:ext cx="1437770"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Корпоративные коммуникации</a:t>
            </a:r>
          </a:p>
        </p:txBody>
      </p:sp>
      <p:sp>
        <p:nvSpPr>
          <p:cNvPr id="350" name="TextBox 349">
            <a:extLst>
              <a:ext uri="{FF2B5EF4-FFF2-40B4-BE49-F238E27FC236}">
                <a16:creationId xmlns:a16="http://schemas.microsoft.com/office/drawing/2014/main" id="{FE8BD028-557F-46F4-87DA-217880ACCE45}"/>
              </a:ext>
            </a:extLst>
          </p:cNvPr>
          <p:cNvSpPr txBox="1"/>
          <p:nvPr/>
        </p:nvSpPr>
        <p:spPr>
          <a:xfrm>
            <a:off x="10439399" y="3756345"/>
            <a:ext cx="1316672" cy="461665"/>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Процессы и изменения, как они исполняются </a:t>
            </a:r>
            <a:b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b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и внедряются</a:t>
            </a:r>
          </a:p>
        </p:txBody>
      </p:sp>
      <p:sp>
        <p:nvSpPr>
          <p:cNvPr id="351" name="TextBox 350">
            <a:extLst>
              <a:ext uri="{FF2B5EF4-FFF2-40B4-BE49-F238E27FC236}">
                <a16:creationId xmlns:a16="http://schemas.microsoft.com/office/drawing/2014/main" id="{428F4098-F200-4868-B5F1-BDDB7C551ABF}"/>
              </a:ext>
            </a:extLst>
          </p:cNvPr>
          <p:cNvSpPr txBox="1"/>
          <p:nvPr/>
        </p:nvSpPr>
        <p:spPr>
          <a:xfrm>
            <a:off x="10439399" y="5381083"/>
            <a:ext cx="1300698"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Традиции </a:t>
            </a:r>
            <a:br>
              <a:rPr kumimoji="0" lang="en-US" sz="800" b="0" i="0" u="none" strike="noStrike" kern="1200" cap="none" spc="0" normalizeH="0" baseline="0" noProof="0">
                <a:ln>
                  <a:noFill/>
                </a:ln>
                <a:solidFill>
                  <a:srgbClr val="7D8696">
                    <a:lumMod val="75000"/>
                  </a:srgbClr>
                </a:solidFill>
                <a:effectLst/>
                <a:uLnTx/>
                <a:uFillTx/>
                <a:latin typeface="Segoe UI Light"/>
                <a:ea typeface="+mn-ea"/>
                <a:cs typeface="+mn-cs"/>
              </a:rPr>
            </a:b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и привычки</a:t>
            </a:r>
          </a:p>
        </p:txBody>
      </p:sp>
      <p:sp>
        <p:nvSpPr>
          <p:cNvPr id="352" name="TextBox 351">
            <a:extLst>
              <a:ext uri="{FF2B5EF4-FFF2-40B4-BE49-F238E27FC236}">
                <a16:creationId xmlns:a16="http://schemas.microsoft.com/office/drawing/2014/main" id="{BB9FB173-8358-4C00-ACE1-0F8C617F2C2A}"/>
              </a:ext>
            </a:extLst>
          </p:cNvPr>
          <p:cNvSpPr txBox="1"/>
          <p:nvPr/>
        </p:nvSpPr>
        <p:spPr>
          <a:xfrm>
            <a:off x="10438055" y="5813062"/>
            <a:ext cx="1136826"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Установки </a:t>
            </a:r>
            <a:b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b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и компетенции</a:t>
            </a:r>
          </a:p>
        </p:txBody>
      </p:sp>
      <p:sp>
        <p:nvSpPr>
          <p:cNvPr id="353" name="TextBox 352">
            <a:extLst>
              <a:ext uri="{FF2B5EF4-FFF2-40B4-BE49-F238E27FC236}">
                <a16:creationId xmlns:a16="http://schemas.microsoft.com/office/drawing/2014/main" id="{D264C513-4926-442A-B09B-9DBCACD0A47E}"/>
              </a:ext>
            </a:extLst>
          </p:cNvPr>
          <p:cNvSpPr txBox="1"/>
          <p:nvPr/>
        </p:nvSpPr>
        <p:spPr>
          <a:xfrm>
            <a:off x="10439399" y="4262107"/>
            <a:ext cx="1139647" cy="461665"/>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Система мотивации </a:t>
            </a:r>
            <a:b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b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и материального стимулирования</a:t>
            </a:r>
          </a:p>
        </p:txBody>
      </p:sp>
      <p:sp>
        <p:nvSpPr>
          <p:cNvPr id="354" name="TextBox 353">
            <a:extLst>
              <a:ext uri="{FF2B5EF4-FFF2-40B4-BE49-F238E27FC236}">
                <a16:creationId xmlns:a16="http://schemas.microsoft.com/office/drawing/2014/main" id="{8A7A1355-230A-4B40-91EA-24E3EB5091F7}"/>
              </a:ext>
            </a:extLst>
          </p:cNvPr>
          <p:cNvSpPr txBox="1"/>
          <p:nvPr/>
        </p:nvSpPr>
        <p:spPr>
          <a:xfrm>
            <a:off x="10439399" y="4830239"/>
            <a:ext cx="1369094" cy="338554"/>
          </a:xfrm>
          <a:prstGeom prst="rect">
            <a:avLst/>
          </a:prstGeom>
          <a:noFill/>
        </p:spPr>
        <p:txBody>
          <a:bodyPr wrap="square" l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a:ln>
                  <a:noFill/>
                </a:ln>
                <a:solidFill>
                  <a:srgbClr val="7D8696">
                    <a:lumMod val="75000"/>
                  </a:srgbClr>
                </a:solidFill>
                <a:effectLst/>
                <a:uLnTx/>
                <a:uFillTx/>
                <a:latin typeface="Segoe UI Light"/>
                <a:ea typeface="+mn-ea"/>
                <a:cs typeface="+mn-cs"/>
              </a:rPr>
              <a:t>Неформальные коммуникации</a:t>
            </a:r>
          </a:p>
        </p:txBody>
      </p:sp>
      <p:sp>
        <p:nvSpPr>
          <p:cNvPr id="371" name="TextBox 370">
            <a:extLst>
              <a:ext uri="{FF2B5EF4-FFF2-40B4-BE49-F238E27FC236}">
                <a16:creationId xmlns:a16="http://schemas.microsoft.com/office/drawing/2014/main" id="{F4CEF211-CCBC-49C2-967E-526C61959962}"/>
              </a:ext>
            </a:extLst>
          </p:cNvPr>
          <p:cNvSpPr txBox="1"/>
          <p:nvPr/>
        </p:nvSpPr>
        <p:spPr>
          <a:xfrm>
            <a:off x="7926730" y="5827979"/>
            <a:ext cx="1753594" cy="3970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0" cap="none" spc="0" normalizeH="0" baseline="0" noProof="0">
                <a:ln>
                  <a:noFill/>
                </a:ln>
                <a:solidFill>
                  <a:srgbClr val="56B78D"/>
                </a:solidFill>
                <a:effectLst/>
                <a:uLnTx/>
                <a:uFillTx/>
                <a:latin typeface="Segoe UI Semibold"/>
                <a:ea typeface="+mn-ea"/>
                <a:cs typeface="+mn-cs"/>
              </a:rPr>
              <a:t>КОМАНДЫ</a:t>
            </a:r>
            <a:br>
              <a:rPr kumimoji="0" lang="ru-RU" sz="1100" b="0" i="0" u="none" strike="noStrike" kern="0" cap="none" spc="0" normalizeH="0" baseline="0" noProof="0">
                <a:ln>
                  <a:noFill/>
                </a:ln>
                <a:solidFill>
                  <a:srgbClr val="56B78D"/>
                </a:solidFill>
                <a:effectLst/>
                <a:uLnTx/>
                <a:uFillTx/>
                <a:latin typeface="Segoe UI Semibold"/>
                <a:ea typeface="+mn-ea"/>
                <a:cs typeface="+mn-cs"/>
              </a:rPr>
            </a:br>
            <a:r>
              <a:rPr kumimoji="0" lang="ru-RU" sz="1100" b="0" i="0" u="none" strike="noStrike" kern="1200" cap="none" spc="0" normalizeH="0" baseline="0" noProof="0">
                <a:ln>
                  <a:noFill/>
                </a:ln>
                <a:solidFill>
                  <a:srgbClr val="7D8696">
                    <a:lumMod val="75000"/>
                  </a:srgbClr>
                </a:solidFill>
                <a:effectLst/>
                <a:uLnTx/>
                <a:uFillTx/>
                <a:latin typeface="Segoe UI Light"/>
                <a:ea typeface="+mn-ea"/>
                <a:cs typeface="+mn-cs"/>
              </a:rPr>
              <a:t>продуктовые / проектные</a:t>
            </a:r>
          </a:p>
        </p:txBody>
      </p:sp>
      <p:sp>
        <p:nvSpPr>
          <p:cNvPr id="372" name="TextBox 371">
            <a:extLst>
              <a:ext uri="{FF2B5EF4-FFF2-40B4-BE49-F238E27FC236}">
                <a16:creationId xmlns:a16="http://schemas.microsoft.com/office/drawing/2014/main" id="{38FE9D9A-E28D-4315-96B4-F4B585A5BEEA}"/>
              </a:ext>
            </a:extLst>
          </p:cNvPr>
          <p:cNvSpPr txBox="1"/>
          <p:nvPr/>
        </p:nvSpPr>
        <p:spPr>
          <a:xfrm>
            <a:off x="3896451" y="5623708"/>
            <a:ext cx="3506434" cy="244682"/>
          </a:xfrm>
          <a:prstGeom prst="rect">
            <a:avLst/>
          </a:prstGeom>
          <a:noFill/>
        </p:spPr>
        <p:txBody>
          <a:bodyPr wrap="square" rtlCol="0">
            <a:prstTxWarp prst="textArchDown">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0" cap="none" spc="0" normalizeH="0" baseline="0" noProof="0">
                <a:ln>
                  <a:noFill/>
                </a:ln>
                <a:solidFill>
                  <a:srgbClr val="56B78D"/>
                </a:solidFill>
                <a:effectLst/>
                <a:uLnTx/>
                <a:uFillTx/>
                <a:latin typeface="Segoe UI Semibold"/>
                <a:ea typeface="+mn-ea"/>
                <a:cs typeface="+mn-cs"/>
              </a:rPr>
              <a:t>ОРГПРИВЫЧКИ</a:t>
            </a:r>
            <a:endParaRPr kumimoji="0" lang="ru-RU" sz="1100" b="0" i="0" u="none" strike="noStrike" kern="1200" cap="none" spc="0" normalizeH="0" baseline="0" noProof="0">
              <a:ln>
                <a:noFill/>
              </a:ln>
              <a:solidFill>
                <a:srgbClr val="7D8696">
                  <a:lumMod val="75000"/>
                </a:srgbClr>
              </a:solidFill>
              <a:effectLst/>
              <a:uLnTx/>
              <a:uFillTx/>
              <a:latin typeface="Segoe UI Light"/>
              <a:ea typeface="+mn-ea"/>
              <a:cs typeface="+mn-cs"/>
            </a:endParaRPr>
          </a:p>
        </p:txBody>
      </p:sp>
      <p:sp>
        <p:nvSpPr>
          <p:cNvPr id="373" name="TextBox 372">
            <a:extLst>
              <a:ext uri="{FF2B5EF4-FFF2-40B4-BE49-F238E27FC236}">
                <a16:creationId xmlns:a16="http://schemas.microsoft.com/office/drawing/2014/main" id="{87F1A1A8-0CA0-4940-AC8A-64EB73EE6FC7}"/>
              </a:ext>
            </a:extLst>
          </p:cNvPr>
          <p:cNvSpPr txBox="1"/>
          <p:nvPr/>
        </p:nvSpPr>
        <p:spPr>
          <a:xfrm>
            <a:off x="6548262" y="3379584"/>
            <a:ext cx="1068504" cy="3970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0" cap="none" spc="0" normalizeH="0" baseline="0" noProof="0">
                <a:ln>
                  <a:noFill/>
                </a:ln>
                <a:solidFill>
                  <a:srgbClr val="3A5BA7"/>
                </a:solidFill>
                <a:effectLst/>
                <a:uLnTx/>
                <a:uFillTx/>
                <a:latin typeface="Segoe UI Semibold"/>
                <a:ea typeface="+mn-ea"/>
                <a:cs typeface="+mn-cs"/>
              </a:rPr>
              <a:t>ЦЕНТРЫ ИЗМЕНЕНИЙ</a:t>
            </a:r>
          </a:p>
        </p:txBody>
      </p:sp>
      <p:sp>
        <p:nvSpPr>
          <p:cNvPr id="374" name="TextBox 373">
            <a:extLst>
              <a:ext uri="{FF2B5EF4-FFF2-40B4-BE49-F238E27FC236}">
                <a16:creationId xmlns:a16="http://schemas.microsoft.com/office/drawing/2014/main" id="{FBC4838B-B02C-4440-9AAE-5F8FDEB97B37}"/>
              </a:ext>
            </a:extLst>
          </p:cNvPr>
          <p:cNvSpPr txBox="1"/>
          <p:nvPr/>
        </p:nvSpPr>
        <p:spPr>
          <a:xfrm>
            <a:off x="7159869" y="4894567"/>
            <a:ext cx="1591890" cy="3970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0" cap="none" spc="0" normalizeH="0" baseline="0" noProof="0">
                <a:ln>
                  <a:noFill/>
                </a:ln>
                <a:solidFill>
                  <a:srgbClr val="56B78D"/>
                </a:solidFill>
                <a:effectLst/>
                <a:uLnTx/>
                <a:uFillTx/>
                <a:latin typeface="Segoe UI Semibold"/>
                <a:ea typeface="+mn-ea"/>
                <a:cs typeface="+mn-cs"/>
              </a:rPr>
              <a:t>СООБЩЕСТВА </a:t>
            </a:r>
            <a:br>
              <a:rPr kumimoji="0" lang="ru-RU" sz="1100" b="0" i="0" u="none" strike="noStrike" kern="0" cap="none" spc="0" normalizeH="0" baseline="0" noProof="0">
                <a:ln>
                  <a:noFill/>
                </a:ln>
                <a:solidFill>
                  <a:srgbClr val="56B78D"/>
                </a:solidFill>
                <a:effectLst/>
                <a:uLnTx/>
                <a:uFillTx/>
                <a:latin typeface="Segoe UI Semibold"/>
                <a:ea typeface="+mn-ea"/>
                <a:cs typeface="+mn-cs"/>
              </a:rPr>
            </a:br>
            <a:r>
              <a:rPr kumimoji="0" lang="ru-RU" sz="1100" b="0" i="0" u="none" strike="noStrike" kern="1200" cap="none" spc="0" normalizeH="0" baseline="0" noProof="0">
                <a:ln>
                  <a:noFill/>
                </a:ln>
                <a:solidFill>
                  <a:srgbClr val="7D8696">
                    <a:lumMod val="75000"/>
                  </a:srgbClr>
                </a:solidFill>
                <a:effectLst/>
                <a:uLnTx/>
                <a:uFillTx/>
                <a:latin typeface="Segoe UI Light"/>
                <a:ea typeface="+mn-ea"/>
                <a:cs typeface="+mn-cs"/>
              </a:rPr>
              <a:t>агенты изменений</a:t>
            </a:r>
          </a:p>
        </p:txBody>
      </p:sp>
      <p:sp>
        <p:nvSpPr>
          <p:cNvPr id="375" name="TextBox 374">
            <a:extLst>
              <a:ext uri="{FF2B5EF4-FFF2-40B4-BE49-F238E27FC236}">
                <a16:creationId xmlns:a16="http://schemas.microsoft.com/office/drawing/2014/main" id="{E5031CBB-E2B7-4520-A704-52BA7B36FB13}"/>
              </a:ext>
            </a:extLst>
          </p:cNvPr>
          <p:cNvSpPr txBox="1"/>
          <p:nvPr/>
        </p:nvSpPr>
        <p:spPr>
          <a:xfrm>
            <a:off x="4229265" y="1063304"/>
            <a:ext cx="2789548" cy="504923"/>
          </a:xfrm>
          <a:prstGeom prst="rect">
            <a:avLst/>
          </a:prstGeom>
          <a:noFill/>
        </p:spPr>
        <p:txBody>
          <a:bodyPr wrap="square" t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a:ln>
                  <a:noFill/>
                </a:ln>
                <a:solidFill>
                  <a:srgbClr val="000000"/>
                </a:solidFill>
                <a:effectLst/>
                <a:uLnTx/>
                <a:uFillTx/>
                <a:latin typeface="Helvetica Neue"/>
                <a:ea typeface="+mn-ea"/>
                <a:cs typeface="+mn-cs"/>
              </a:rPr>
              <a:t> </a:t>
            </a:r>
            <a:r>
              <a:rPr kumimoji="0" lang="ru-RU" sz="1800" b="1" i="0" u="none" strike="noStrike" kern="1200" cap="none" spc="0" normalizeH="0" baseline="0" noProof="0">
                <a:ln>
                  <a:noFill/>
                </a:ln>
                <a:solidFill>
                  <a:srgbClr val="3A5BA7"/>
                </a:solidFill>
                <a:effectLst/>
                <a:uLnTx/>
                <a:uFillTx/>
                <a:latin typeface="Segoe UI Semibold"/>
                <a:ea typeface="+mn-ea"/>
                <a:cs typeface="+mn-cs"/>
              </a:rPr>
              <a:t>РЫЧАГИ ИЗМЕНЕНИЙ </a:t>
            </a: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211" name="Овал 210">
            <a:extLst>
              <a:ext uri="{FF2B5EF4-FFF2-40B4-BE49-F238E27FC236}">
                <a16:creationId xmlns:a16="http://schemas.microsoft.com/office/drawing/2014/main" id="{9B918AC1-5625-417C-853E-FCBC729D32CC}"/>
              </a:ext>
            </a:extLst>
          </p:cNvPr>
          <p:cNvSpPr/>
          <p:nvPr/>
        </p:nvSpPr>
        <p:spPr>
          <a:xfrm>
            <a:off x="6545498" y="1866992"/>
            <a:ext cx="460614" cy="460614"/>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12" name="Овал 211">
            <a:extLst>
              <a:ext uri="{FF2B5EF4-FFF2-40B4-BE49-F238E27FC236}">
                <a16:creationId xmlns:a16="http://schemas.microsoft.com/office/drawing/2014/main" id="{026EE6FA-5568-4550-AE18-40800910181F}"/>
              </a:ext>
            </a:extLst>
          </p:cNvPr>
          <p:cNvSpPr/>
          <p:nvPr/>
        </p:nvSpPr>
        <p:spPr>
          <a:xfrm>
            <a:off x="6599500" y="1920994"/>
            <a:ext cx="352611" cy="352611"/>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23" name="Группа 222">
            <a:extLst>
              <a:ext uri="{FF2B5EF4-FFF2-40B4-BE49-F238E27FC236}">
                <a16:creationId xmlns:a16="http://schemas.microsoft.com/office/drawing/2014/main" id="{1B31FE91-D9C0-41D9-AE78-98C1998C5AD9}"/>
              </a:ext>
            </a:extLst>
          </p:cNvPr>
          <p:cNvGrpSpPr/>
          <p:nvPr/>
        </p:nvGrpSpPr>
        <p:grpSpPr>
          <a:xfrm>
            <a:off x="7124715" y="2377791"/>
            <a:ext cx="343140" cy="343140"/>
            <a:chOff x="5928871" y="2336889"/>
            <a:chExt cx="384042" cy="384042"/>
          </a:xfrm>
        </p:grpSpPr>
        <p:sp>
          <p:nvSpPr>
            <p:cNvPr id="224" name="Овал 223">
              <a:extLst>
                <a:ext uri="{FF2B5EF4-FFF2-40B4-BE49-F238E27FC236}">
                  <a16:creationId xmlns:a16="http://schemas.microsoft.com/office/drawing/2014/main" id="{F7CF6AE1-7672-4D6B-98D7-3538563B0D4D}"/>
                </a:ext>
              </a:extLst>
            </p:cNvPr>
            <p:cNvSpPr/>
            <p:nvPr/>
          </p:nvSpPr>
          <p:spPr>
            <a:xfrm>
              <a:off x="5928871" y="2336889"/>
              <a:ext cx="384042" cy="384042"/>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25" name="Овал 224">
              <a:extLst>
                <a:ext uri="{FF2B5EF4-FFF2-40B4-BE49-F238E27FC236}">
                  <a16:creationId xmlns:a16="http://schemas.microsoft.com/office/drawing/2014/main" id="{DE1F9844-3A1D-47B8-B29F-5D391AD08FE7}"/>
                </a:ext>
              </a:extLst>
            </p:cNvPr>
            <p:cNvSpPr/>
            <p:nvPr/>
          </p:nvSpPr>
          <p:spPr>
            <a:xfrm>
              <a:off x="5973896" y="2381914"/>
              <a:ext cx="293993" cy="293993"/>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226" name="Группа 225">
            <a:extLst>
              <a:ext uri="{FF2B5EF4-FFF2-40B4-BE49-F238E27FC236}">
                <a16:creationId xmlns:a16="http://schemas.microsoft.com/office/drawing/2014/main" id="{4AC8B960-108C-46E6-8472-0F443E72A159}"/>
              </a:ext>
            </a:extLst>
          </p:cNvPr>
          <p:cNvGrpSpPr/>
          <p:nvPr/>
        </p:nvGrpSpPr>
        <p:grpSpPr>
          <a:xfrm>
            <a:off x="7642660" y="2377791"/>
            <a:ext cx="343140" cy="343140"/>
            <a:chOff x="5928871" y="2336889"/>
            <a:chExt cx="384042" cy="384042"/>
          </a:xfrm>
        </p:grpSpPr>
        <p:sp>
          <p:nvSpPr>
            <p:cNvPr id="227" name="Овал 226">
              <a:extLst>
                <a:ext uri="{FF2B5EF4-FFF2-40B4-BE49-F238E27FC236}">
                  <a16:creationId xmlns:a16="http://schemas.microsoft.com/office/drawing/2014/main" id="{14C63265-54D6-4575-8D08-6827B36A5E3C}"/>
                </a:ext>
              </a:extLst>
            </p:cNvPr>
            <p:cNvSpPr/>
            <p:nvPr/>
          </p:nvSpPr>
          <p:spPr>
            <a:xfrm>
              <a:off x="5928871" y="2336889"/>
              <a:ext cx="384042" cy="384042"/>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28" name="Овал 227">
              <a:extLst>
                <a:ext uri="{FF2B5EF4-FFF2-40B4-BE49-F238E27FC236}">
                  <a16:creationId xmlns:a16="http://schemas.microsoft.com/office/drawing/2014/main" id="{493798DB-2247-40B0-A4ED-A665697C7280}"/>
                </a:ext>
              </a:extLst>
            </p:cNvPr>
            <p:cNvSpPr/>
            <p:nvPr/>
          </p:nvSpPr>
          <p:spPr>
            <a:xfrm>
              <a:off x="5973896" y="2381914"/>
              <a:ext cx="293993" cy="293993"/>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220" name="Группа 219">
            <a:extLst>
              <a:ext uri="{FF2B5EF4-FFF2-40B4-BE49-F238E27FC236}">
                <a16:creationId xmlns:a16="http://schemas.microsoft.com/office/drawing/2014/main" id="{8E7B8D8A-60A9-43F1-B754-7F70E80AE707}"/>
              </a:ext>
            </a:extLst>
          </p:cNvPr>
          <p:cNvGrpSpPr/>
          <p:nvPr/>
        </p:nvGrpSpPr>
        <p:grpSpPr>
          <a:xfrm>
            <a:off x="6606769" y="2377791"/>
            <a:ext cx="343140" cy="343140"/>
            <a:chOff x="5928871" y="2336889"/>
            <a:chExt cx="384042" cy="384042"/>
          </a:xfrm>
        </p:grpSpPr>
        <p:sp>
          <p:nvSpPr>
            <p:cNvPr id="221" name="Овал 220">
              <a:extLst>
                <a:ext uri="{FF2B5EF4-FFF2-40B4-BE49-F238E27FC236}">
                  <a16:creationId xmlns:a16="http://schemas.microsoft.com/office/drawing/2014/main" id="{57D74C4F-26AA-4F1C-9CEC-6D5CFE94D3F1}"/>
                </a:ext>
              </a:extLst>
            </p:cNvPr>
            <p:cNvSpPr/>
            <p:nvPr/>
          </p:nvSpPr>
          <p:spPr>
            <a:xfrm>
              <a:off x="5928871" y="2336889"/>
              <a:ext cx="384042" cy="384042"/>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22" name="Овал 221">
              <a:extLst>
                <a:ext uri="{FF2B5EF4-FFF2-40B4-BE49-F238E27FC236}">
                  <a16:creationId xmlns:a16="http://schemas.microsoft.com/office/drawing/2014/main" id="{FEB4174F-49F0-42BF-AB91-6999516D1C05}"/>
                </a:ext>
              </a:extLst>
            </p:cNvPr>
            <p:cNvSpPr/>
            <p:nvPr/>
          </p:nvSpPr>
          <p:spPr>
            <a:xfrm>
              <a:off x="5973896" y="2381914"/>
              <a:ext cx="293993" cy="293993"/>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299" name="Группа 298">
            <a:extLst>
              <a:ext uri="{FF2B5EF4-FFF2-40B4-BE49-F238E27FC236}">
                <a16:creationId xmlns:a16="http://schemas.microsoft.com/office/drawing/2014/main" id="{9D5BC36C-6CE6-4309-8CF6-E83AD5905821}"/>
              </a:ext>
            </a:extLst>
          </p:cNvPr>
          <p:cNvGrpSpPr/>
          <p:nvPr/>
        </p:nvGrpSpPr>
        <p:grpSpPr>
          <a:xfrm>
            <a:off x="6088823" y="2377791"/>
            <a:ext cx="343140" cy="343140"/>
            <a:chOff x="5928871" y="2336889"/>
            <a:chExt cx="384042" cy="384042"/>
          </a:xfrm>
        </p:grpSpPr>
        <p:sp>
          <p:nvSpPr>
            <p:cNvPr id="309" name="Овал 308">
              <a:extLst>
                <a:ext uri="{FF2B5EF4-FFF2-40B4-BE49-F238E27FC236}">
                  <a16:creationId xmlns:a16="http://schemas.microsoft.com/office/drawing/2014/main" id="{A6AFE2DA-912C-43E0-B932-44262C793391}"/>
                </a:ext>
              </a:extLst>
            </p:cNvPr>
            <p:cNvSpPr/>
            <p:nvPr/>
          </p:nvSpPr>
          <p:spPr>
            <a:xfrm>
              <a:off x="5928871" y="2336889"/>
              <a:ext cx="384042" cy="384042"/>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10" name="Овал 309">
              <a:extLst>
                <a:ext uri="{FF2B5EF4-FFF2-40B4-BE49-F238E27FC236}">
                  <a16:creationId xmlns:a16="http://schemas.microsoft.com/office/drawing/2014/main" id="{2221EF7A-B4AB-4604-9BB5-FC612E727640}"/>
                </a:ext>
              </a:extLst>
            </p:cNvPr>
            <p:cNvSpPr/>
            <p:nvPr/>
          </p:nvSpPr>
          <p:spPr>
            <a:xfrm>
              <a:off x="5973896" y="2381914"/>
              <a:ext cx="293993" cy="293993"/>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326" name="Группа 325">
            <a:extLst>
              <a:ext uri="{FF2B5EF4-FFF2-40B4-BE49-F238E27FC236}">
                <a16:creationId xmlns:a16="http://schemas.microsoft.com/office/drawing/2014/main" id="{2DCC0AF9-3F37-4FA9-B333-1B0245DA94FB}"/>
              </a:ext>
            </a:extLst>
          </p:cNvPr>
          <p:cNvGrpSpPr/>
          <p:nvPr/>
        </p:nvGrpSpPr>
        <p:grpSpPr>
          <a:xfrm>
            <a:off x="5570878" y="2377791"/>
            <a:ext cx="343140" cy="343140"/>
            <a:chOff x="5928871" y="2336889"/>
            <a:chExt cx="384042" cy="384042"/>
          </a:xfrm>
        </p:grpSpPr>
        <p:sp>
          <p:nvSpPr>
            <p:cNvPr id="336" name="Овал 335">
              <a:extLst>
                <a:ext uri="{FF2B5EF4-FFF2-40B4-BE49-F238E27FC236}">
                  <a16:creationId xmlns:a16="http://schemas.microsoft.com/office/drawing/2014/main" id="{57BE13B2-A805-41EC-99AB-B298F656E776}"/>
                </a:ext>
              </a:extLst>
            </p:cNvPr>
            <p:cNvSpPr/>
            <p:nvPr/>
          </p:nvSpPr>
          <p:spPr>
            <a:xfrm>
              <a:off x="5928871" y="2336889"/>
              <a:ext cx="384042" cy="384042"/>
            </a:xfrm>
            <a:prstGeom prst="ellipse">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37" name="Овал 336">
              <a:extLst>
                <a:ext uri="{FF2B5EF4-FFF2-40B4-BE49-F238E27FC236}">
                  <a16:creationId xmlns:a16="http://schemas.microsoft.com/office/drawing/2014/main" id="{49343E9A-3F9E-4EE3-B291-3B51E85FA8D1}"/>
                </a:ext>
              </a:extLst>
            </p:cNvPr>
            <p:cNvSpPr/>
            <p:nvPr/>
          </p:nvSpPr>
          <p:spPr>
            <a:xfrm>
              <a:off x="5973896" y="2381914"/>
              <a:ext cx="293993" cy="293993"/>
            </a:xfrm>
            <a:prstGeom prst="ellipse">
              <a:avLst/>
            </a:prstGeom>
            <a:gradFill>
              <a:gsLst>
                <a:gs pos="0">
                  <a:schemeClr val="tx2"/>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grpSp>
      <p:grpSp>
        <p:nvGrpSpPr>
          <p:cNvPr id="459" name="Группа 458">
            <a:extLst>
              <a:ext uri="{FF2B5EF4-FFF2-40B4-BE49-F238E27FC236}">
                <a16:creationId xmlns:a16="http://schemas.microsoft.com/office/drawing/2014/main" id="{A43AF5F2-0E61-4A42-8F11-AE8D62129B22}"/>
              </a:ext>
            </a:extLst>
          </p:cNvPr>
          <p:cNvGrpSpPr/>
          <p:nvPr/>
        </p:nvGrpSpPr>
        <p:grpSpPr>
          <a:xfrm>
            <a:off x="6169069" y="3519734"/>
            <a:ext cx="343140" cy="343140"/>
            <a:chOff x="5928871" y="2336889"/>
            <a:chExt cx="384042" cy="384042"/>
          </a:xfrm>
        </p:grpSpPr>
        <p:sp>
          <p:nvSpPr>
            <p:cNvPr id="465" name="Овал 464">
              <a:extLst>
                <a:ext uri="{FF2B5EF4-FFF2-40B4-BE49-F238E27FC236}">
                  <a16:creationId xmlns:a16="http://schemas.microsoft.com/office/drawing/2014/main" id="{60DAB160-BCE7-4819-9EE3-1671734837A8}"/>
                </a:ext>
              </a:extLst>
            </p:cNvPr>
            <p:cNvSpPr/>
            <p:nvPr/>
          </p:nvSpPr>
          <p:spPr>
            <a:xfrm>
              <a:off x="5928871" y="2336889"/>
              <a:ext cx="384042" cy="384042"/>
            </a:xfrm>
            <a:prstGeom prst="ellipse">
              <a:avLst/>
            </a:prstGeom>
            <a:gradFill>
              <a:gsLst>
                <a:gs pos="0">
                  <a:schemeClr val="accent1">
                    <a:alpha val="20000"/>
                  </a:schemeClr>
                </a:gs>
                <a:gs pos="100000">
                  <a:schemeClr val="accent3">
                    <a:alpha val="20000"/>
                  </a:schemeClr>
                </a:gs>
              </a:gsLst>
              <a:lin ang="33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66" name="Овал 465">
              <a:extLst>
                <a:ext uri="{FF2B5EF4-FFF2-40B4-BE49-F238E27FC236}">
                  <a16:creationId xmlns:a16="http://schemas.microsoft.com/office/drawing/2014/main" id="{2ABA1D81-927B-43D3-AFA4-96D361F3DBB6}"/>
                </a:ext>
              </a:extLst>
            </p:cNvPr>
            <p:cNvSpPr/>
            <p:nvPr/>
          </p:nvSpPr>
          <p:spPr>
            <a:xfrm>
              <a:off x="5973896" y="2381914"/>
              <a:ext cx="293993" cy="293993"/>
            </a:xfrm>
            <a:prstGeom prst="ellipse">
              <a:avLst/>
            </a:prstGeom>
            <a:gradFill>
              <a:gsLst>
                <a:gs pos="0">
                  <a:schemeClr val="accent1"/>
                </a:gs>
                <a:gs pos="100000">
                  <a:schemeClr val="accent3"/>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77" name="Группа 476">
            <a:extLst>
              <a:ext uri="{FF2B5EF4-FFF2-40B4-BE49-F238E27FC236}">
                <a16:creationId xmlns:a16="http://schemas.microsoft.com/office/drawing/2014/main" id="{9A89F85B-77C0-4176-91EB-E5557D177920}"/>
              </a:ext>
            </a:extLst>
          </p:cNvPr>
          <p:cNvGrpSpPr/>
          <p:nvPr/>
        </p:nvGrpSpPr>
        <p:grpSpPr>
          <a:xfrm>
            <a:off x="6169069" y="3974056"/>
            <a:ext cx="161606" cy="161606"/>
            <a:chOff x="5928871" y="2336889"/>
            <a:chExt cx="384042" cy="384042"/>
          </a:xfrm>
        </p:grpSpPr>
        <p:sp>
          <p:nvSpPr>
            <p:cNvPr id="483" name="Овал 482">
              <a:extLst>
                <a:ext uri="{FF2B5EF4-FFF2-40B4-BE49-F238E27FC236}">
                  <a16:creationId xmlns:a16="http://schemas.microsoft.com/office/drawing/2014/main" id="{6AC483B4-B77E-47DE-8973-FF697EDA5416}"/>
                </a:ext>
              </a:extLst>
            </p:cNvPr>
            <p:cNvSpPr/>
            <p:nvPr/>
          </p:nvSpPr>
          <p:spPr>
            <a:xfrm>
              <a:off x="5928871" y="2336889"/>
              <a:ext cx="384042" cy="384042"/>
            </a:xfrm>
            <a:prstGeom prst="ellipse">
              <a:avLst/>
            </a:prstGeom>
            <a:gradFill>
              <a:gsLst>
                <a:gs pos="0">
                  <a:schemeClr val="accent1">
                    <a:alpha val="20000"/>
                  </a:schemeClr>
                </a:gs>
                <a:gs pos="100000">
                  <a:schemeClr val="accent3">
                    <a:alpha val="20000"/>
                  </a:schemeClr>
                </a:gs>
              </a:gsLst>
              <a:lin ang="33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84" name="Овал 483">
              <a:extLst>
                <a:ext uri="{FF2B5EF4-FFF2-40B4-BE49-F238E27FC236}">
                  <a16:creationId xmlns:a16="http://schemas.microsoft.com/office/drawing/2014/main" id="{86FCB764-CE5F-4F33-A349-8950B7C1C98A}"/>
                </a:ext>
              </a:extLst>
            </p:cNvPr>
            <p:cNvSpPr/>
            <p:nvPr/>
          </p:nvSpPr>
          <p:spPr>
            <a:xfrm>
              <a:off x="5973896" y="2381914"/>
              <a:ext cx="293993" cy="293993"/>
            </a:xfrm>
            <a:prstGeom prst="ellipse">
              <a:avLst/>
            </a:prstGeom>
            <a:gradFill>
              <a:gsLst>
                <a:gs pos="0">
                  <a:schemeClr val="accent1"/>
                </a:gs>
                <a:gs pos="100000">
                  <a:schemeClr val="accent3"/>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85" name="Группа 484">
            <a:extLst>
              <a:ext uri="{FF2B5EF4-FFF2-40B4-BE49-F238E27FC236}">
                <a16:creationId xmlns:a16="http://schemas.microsoft.com/office/drawing/2014/main" id="{B7B21CB7-4EA1-4ED8-B541-11C652D4CC54}"/>
              </a:ext>
            </a:extLst>
          </p:cNvPr>
          <p:cNvGrpSpPr/>
          <p:nvPr/>
        </p:nvGrpSpPr>
        <p:grpSpPr>
          <a:xfrm>
            <a:off x="6350603" y="4116499"/>
            <a:ext cx="161606" cy="161606"/>
            <a:chOff x="5928871" y="2336889"/>
            <a:chExt cx="384042" cy="384042"/>
          </a:xfrm>
        </p:grpSpPr>
        <p:sp>
          <p:nvSpPr>
            <p:cNvPr id="486" name="Овал 485">
              <a:extLst>
                <a:ext uri="{FF2B5EF4-FFF2-40B4-BE49-F238E27FC236}">
                  <a16:creationId xmlns:a16="http://schemas.microsoft.com/office/drawing/2014/main" id="{ED5D7BD7-4890-4B96-8ADF-DE8FBC327AD8}"/>
                </a:ext>
              </a:extLst>
            </p:cNvPr>
            <p:cNvSpPr/>
            <p:nvPr/>
          </p:nvSpPr>
          <p:spPr>
            <a:xfrm>
              <a:off x="5928871" y="2336889"/>
              <a:ext cx="384042" cy="384042"/>
            </a:xfrm>
            <a:prstGeom prst="ellipse">
              <a:avLst/>
            </a:prstGeom>
            <a:gradFill>
              <a:gsLst>
                <a:gs pos="0">
                  <a:schemeClr val="accent1">
                    <a:alpha val="20000"/>
                  </a:schemeClr>
                </a:gs>
                <a:gs pos="100000">
                  <a:schemeClr val="accent3">
                    <a:alpha val="20000"/>
                  </a:schemeClr>
                </a:gs>
              </a:gsLst>
              <a:lin ang="33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87" name="Овал 486">
              <a:extLst>
                <a:ext uri="{FF2B5EF4-FFF2-40B4-BE49-F238E27FC236}">
                  <a16:creationId xmlns:a16="http://schemas.microsoft.com/office/drawing/2014/main" id="{E1AC49DB-3E07-4457-8287-69CB6017A698}"/>
                </a:ext>
              </a:extLst>
            </p:cNvPr>
            <p:cNvSpPr/>
            <p:nvPr/>
          </p:nvSpPr>
          <p:spPr>
            <a:xfrm>
              <a:off x="5973896" y="2381914"/>
              <a:ext cx="293993" cy="293993"/>
            </a:xfrm>
            <a:prstGeom prst="ellipse">
              <a:avLst/>
            </a:prstGeom>
            <a:gradFill>
              <a:gsLst>
                <a:gs pos="0">
                  <a:schemeClr val="accent1"/>
                </a:gs>
                <a:gs pos="100000">
                  <a:schemeClr val="accent3"/>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91" name="Группа 490">
            <a:extLst>
              <a:ext uri="{FF2B5EF4-FFF2-40B4-BE49-F238E27FC236}">
                <a16:creationId xmlns:a16="http://schemas.microsoft.com/office/drawing/2014/main" id="{78569464-6EDB-485C-B37A-1F4FBA00B6C6}"/>
              </a:ext>
            </a:extLst>
          </p:cNvPr>
          <p:cNvGrpSpPr/>
          <p:nvPr/>
        </p:nvGrpSpPr>
        <p:grpSpPr>
          <a:xfrm>
            <a:off x="6169069" y="4258941"/>
            <a:ext cx="161606" cy="161606"/>
            <a:chOff x="5928871" y="2336889"/>
            <a:chExt cx="384042" cy="384042"/>
          </a:xfrm>
        </p:grpSpPr>
        <p:sp>
          <p:nvSpPr>
            <p:cNvPr id="492" name="Овал 491">
              <a:extLst>
                <a:ext uri="{FF2B5EF4-FFF2-40B4-BE49-F238E27FC236}">
                  <a16:creationId xmlns:a16="http://schemas.microsoft.com/office/drawing/2014/main" id="{9F219E80-CE6D-4CE9-986D-C118B2A43F93}"/>
                </a:ext>
              </a:extLst>
            </p:cNvPr>
            <p:cNvSpPr/>
            <p:nvPr/>
          </p:nvSpPr>
          <p:spPr>
            <a:xfrm>
              <a:off x="5928871" y="2336889"/>
              <a:ext cx="384042" cy="384042"/>
            </a:xfrm>
            <a:prstGeom prst="ellipse">
              <a:avLst/>
            </a:prstGeom>
            <a:gradFill>
              <a:gsLst>
                <a:gs pos="0">
                  <a:schemeClr val="accent1">
                    <a:alpha val="20000"/>
                  </a:schemeClr>
                </a:gs>
                <a:gs pos="100000">
                  <a:schemeClr val="accent3">
                    <a:alpha val="20000"/>
                  </a:schemeClr>
                </a:gs>
              </a:gsLst>
              <a:lin ang="33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93" name="Овал 492">
              <a:extLst>
                <a:ext uri="{FF2B5EF4-FFF2-40B4-BE49-F238E27FC236}">
                  <a16:creationId xmlns:a16="http://schemas.microsoft.com/office/drawing/2014/main" id="{870DB244-CC3C-4D15-BD67-412A56D87A21}"/>
                </a:ext>
              </a:extLst>
            </p:cNvPr>
            <p:cNvSpPr/>
            <p:nvPr/>
          </p:nvSpPr>
          <p:spPr>
            <a:xfrm>
              <a:off x="5973896" y="2381914"/>
              <a:ext cx="293993" cy="293993"/>
            </a:xfrm>
            <a:prstGeom prst="ellipse">
              <a:avLst/>
            </a:prstGeom>
            <a:gradFill>
              <a:gsLst>
                <a:gs pos="0">
                  <a:schemeClr val="accent1"/>
                </a:gs>
                <a:gs pos="100000">
                  <a:schemeClr val="accent3"/>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cxnSp>
        <p:nvCxnSpPr>
          <p:cNvPr id="494" name="Прямая соединительная линия 493">
            <a:extLst>
              <a:ext uri="{FF2B5EF4-FFF2-40B4-BE49-F238E27FC236}">
                <a16:creationId xmlns:a16="http://schemas.microsoft.com/office/drawing/2014/main" id="{3F85E011-EE58-4813-AF1E-4680E16B5074}"/>
              </a:ext>
            </a:extLst>
          </p:cNvPr>
          <p:cNvCxnSpPr>
            <a:cxnSpLocks/>
          </p:cNvCxnSpPr>
          <p:nvPr/>
        </p:nvCxnSpPr>
        <p:spPr>
          <a:xfrm>
            <a:off x="7740992" y="2798449"/>
            <a:ext cx="0" cy="892855"/>
          </a:xfrm>
          <a:prstGeom prst="line">
            <a:avLst/>
          </a:prstGeom>
          <a:ln w="136525">
            <a:gradFill flip="none" rotWithShape="1">
              <a:gsLst>
                <a:gs pos="0">
                  <a:schemeClr val="accent3">
                    <a:alpha val="20000"/>
                  </a:schemeClr>
                </a:gs>
                <a:gs pos="100000">
                  <a:schemeClr val="accent2">
                    <a:alpha val="20000"/>
                  </a:schemeClr>
                </a:gs>
              </a:gsLst>
              <a:lin ang="16200000" scaled="1"/>
              <a:tileRect/>
            </a:gradFill>
            <a:prstDash val="solid"/>
          </a:ln>
        </p:spPr>
        <p:style>
          <a:lnRef idx="1">
            <a:schemeClr val="accent1"/>
          </a:lnRef>
          <a:fillRef idx="0">
            <a:schemeClr val="accent1"/>
          </a:fillRef>
          <a:effectRef idx="0">
            <a:schemeClr val="accent1"/>
          </a:effectRef>
          <a:fontRef idx="minor">
            <a:schemeClr val="tx1"/>
          </a:fontRef>
        </p:style>
      </p:cxnSp>
      <p:cxnSp>
        <p:nvCxnSpPr>
          <p:cNvPr id="496" name="Прямая соединительная линия 495">
            <a:extLst>
              <a:ext uri="{FF2B5EF4-FFF2-40B4-BE49-F238E27FC236}">
                <a16:creationId xmlns:a16="http://schemas.microsoft.com/office/drawing/2014/main" id="{1CEF73A0-B929-4752-93D4-447D99BC5826}"/>
              </a:ext>
            </a:extLst>
          </p:cNvPr>
          <p:cNvCxnSpPr>
            <a:cxnSpLocks/>
          </p:cNvCxnSpPr>
          <p:nvPr/>
        </p:nvCxnSpPr>
        <p:spPr>
          <a:xfrm>
            <a:off x="7740992" y="2798449"/>
            <a:ext cx="0" cy="900000"/>
          </a:xfrm>
          <a:prstGeom prst="line">
            <a:avLst/>
          </a:prstGeom>
          <a:ln w="9525">
            <a:gradFill flip="none" rotWithShape="1">
              <a:gsLst>
                <a:gs pos="0">
                  <a:schemeClr val="accent3"/>
                </a:gs>
                <a:gs pos="100000">
                  <a:schemeClr val="accent1"/>
                </a:gs>
              </a:gsLst>
              <a:lin ang="16200000" scaled="1"/>
              <a:tileRect/>
            </a:gradFill>
            <a:prstDash val="solid"/>
            <a:headEnd w="sm" len="sm"/>
            <a:tailEnd type="arrow"/>
          </a:ln>
        </p:spPr>
        <p:style>
          <a:lnRef idx="1">
            <a:schemeClr val="accent1"/>
          </a:lnRef>
          <a:fillRef idx="0">
            <a:schemeClr val="accent1"/>
          </a:fillRef>
          <a:effectRef idx="0">
            <a:schemeClr val="accent1"/>
          </a:effectRef>
          <a:fontRef idx="minor">
            <a:schemeClr val="tx1"/>
          </a:fontRef>
        </p:style>
      </p:cxnSp>
      <p:sp>
        <p:nvSpPr>
          <p:cNvPr id="284" name="TextBox 283">
            <a:extLst>
              <a:ext uri="{FF2B5EF4-FFF2-40B4-BE49-F238E27FC236}">
                <a16:creationId xmlns:a16="http://schemas.microsoft.com/office/drawing/2014/main" id="{1B76E9B8-3983-4112-8854-F93682F26121}"/>
              </a:ext>
            </a:extLst>
          </p:cNvPr>
          <p:cNvSpPr txBox="1"/>
          <p:nvPr/>
        </p:nvSpPr>
        <p:spPr>
          <a:xfrm>
            <a:off x="7789413" y="2970185"/>
            <a:ext cx="2196022" cy="7017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1200" cap="none" spc="0" normalizeH="0" baseline="0" noProof="0">
                <a:ln>
                  <a:noFill/>
                </a:ln>
                <a:solidFill>
                  <a:srgbClr val="3A5BA7"/>
                </a:solidFill>
                <a:effectLst/>
                <a:uLnTx/>
                <a:uFillTx/>
                <a:latin typeface="Segoe UI Semibold"/>
                <a:ea typeface="+mn-ea"/>
                <a:cs typeface="+mn-cs"/>
              </a:rPr>
              <a:t>ОРГАНИЗАЦИОННАЯ СРЕДА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ru-RU" sz="1100" b="0" i="0" u="none" strike="noStrike" kern="1200" cap="none" spc="0" normalizeH="0" baseline="0" noProof="0" err="1">
                <a:ln>
                  <a:noFill/>
                </a:ln>
                <a:solidFill>
                  <a:srgbClr val="7D8696">
                    <a:lumMod val="75000"/>
                  </a:srgbClr>
                </a:solidFill>
                <a:effectLst/>
                <a:uLnTx/>
                <a:uFillTx/>
                <a:latin typeface="Segoe UI Light"/>
                <a:ea typeface="+mn-ea"/>
                <a:cs typeface="+mn-cs"/>
              </a:rPr>
              <a:t>оргмодель</a:t>
            </a:r>
            <a:r>
              <a:rPr kumimoji="0" lang="ru-RU" sz="1100" b="0" i="0" u="none" strike="noStrike" kern="1200" cap="none" spc="0" normalizeH="0" baseline="0" noProof="0">
                <a:ln>
                  <a:noFill/>
                </a:ln>
                <a:solidFill>
                  <a:srgbClr val="7D8696">
                    <a:lumMod val="75000"/>
                  </a:srgbClr>
                </a:solidFill>
                <a:effectLst/>
                <a:uLnTx/>
                <a:uFillTx/>
                <a:latin typeface="Segoe UI Light"/>
                <a:ea typeface="+mn-ea"/>
                <a:cs typeface="+mn-cs"/>
              </a:rPr>
              <a:t>, культура и ценности, цифровое и физическое пространство</a:t>
            </a:r>
          </a:p>
        </p:txBody>
      </p:sp>
      <p:sp>
        <p:nvSpPr>
          <p:cNvPr id="513" name="Дуга 512">
            <a:extLst>
              <a:ext uri="{FF2B5EF4-FFF2-40B4-BE49-F238E27FC236}">
                <a16:creationId xmlns:a16="http://schemas.microsoft.com/office/drawing/2014/main" id="{83A45737-8726-4E46-89E8-8A020AA410BB}"/>
              </a:ext>
            </a:extLst>
          </p:cNvPr>
          <p:cNvSpPr/>
          <p:nvPr/>
        </p:nvSpPr>
        <p:spPr>
          <a:xfrm flipH="1">
            <a:off x="3485155" y="3835052"/>
            <a:ext cx="5386032" cy="478336"/>
          </a:xfrm>
          <a:prstGeom prst="arc">
            <a:avLst>
              <a:gd name="adj1" fmla="val 12765740"/>
              <a:gd name="adj2" fmla="val 10208490"/>
            </a:avLst>
          </a:prstGeom>
          <a:ln w="136525" cap="sq">
            <a:gradFill flip="none" rotWithShape="1">
              <a:gsLst>
                <a:gs pos="25000">
                  <a:schemeClr val="accent3">
                    <a:lumMod val="20000"/>
                    <a:lumOff val="80000"/>
                    <a:alpha val="0"/>
                  </a:schemeClr>
                </a:gs>
                <a:gs pos="73000">
                  <a:schemeClr val="accent3">
                    <a:alpha val="50000"/>
                  </a:schemeClr>
                </a:gs>
                <a:gs pos="100000">
                  <a:schemeClr val="accent3">
                    <a:lumMod val="60000"/>
                    <a:lumOff val="40000"/>
                    <a:alpha val="0"/>
                  </a:schemeClr>
                </a:gs>
              </a:gsLst>
              <a:lin ang="0" scaled="1"/>
              <a:tileRect/>
            </a:gra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cxnSp>
        <p:nvCxnSpPr>
          <p:cNvPr id="571" name="Прямая соединительная линия 570">
            <a:extLst>
              <a:ext uri="{FF2B5EF4-FFF2-40B4-BE49-F238E27FC236}">
                <a16:creationId xmlns:a16="http://schemas.microsoft.com/office/drawing/2014/main" id="{96F426C3-4574-42BC-BE2C-6EFF607B2BAC}"/>
              </a:ext>
            </a:extLst>
          </p:cNvPr>
          <p:cNvCxnSpPr>
            <a:cxnSpLocks/>
            <a:stCxn id="560" idx="2"/>
            <a:endCxn id="554" idx="5"/>
          </p:cNvCxnSpPr>
          <p:nvPr/>
        </p:nvCxnSpPr>
        <p:spPr>
          <a:xfrm flipH="1" flipV="1">
            <a:off x="5790385" y="4758639"/>
            <a:ext cx="549829" cy="38568"/>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75" name="Прямая соединительная линия 574">
            <a:extLst>
              <a:ext uri="{FF2B5EF4-FFF2-40B4-BE49-F238E27FC236}">
                <a16:creationId xmlns:a16="http://schemas.microsoft.com/office/drawing/2014/main" id="{512C3221-E3BF-4ADA-80E6-EE2A3B0189EA}"/>
              </a:ext>
            </a:extLst>
          </p:cNvPr>
          <p:cNvCxnSpPr>
            <a:cxnSpLocks/>
          </p:cNvCxnSpPr>
          <p:nvPr/>
        </p:nvCxnSpPr>
        <p:spPr>
          <a:xfrm flipV="1">
            <a:off x="6193097" y="4840946"/>
            <a:ext cx="165234" cy="12217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76" name="Прямая соединительная линия 575">
            <a:extLst>
              <a:ext uri="{FF2B5EF4-FFF2-40B4-BE49-F238E27FC236}">
                <a16:creationId xmlns:a16="http://schemas.microsoft.com/office/drawing/2014/main" id="{79CE5DF8-F244-4F1D-8515-1174E232E559}"/>
              </a:ext>
            </a:extLst>
          </p:cNvPr>
          <p:cNvCxnSpPr>
            <a:cxnSpLocks/>
          </p:cNvCxnSpPr>
          <p:nvPr/>
        </p:nvCxnSpPr>
        <p:spPr>
          <a:xfrm>
            <a:off x="6216764" y="5020255"/>
            <a:ext cx="277015" cy="66362"/>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77" name="Прямая соединительная линия 576">
            <a:extLst>
              <a:ext uri="{FF2B5EF4-FFF2-40B4-BE49-F238E27FC236}">
                <a16:creationId xmlns:a16="http://schemas.microsoft.com/office/drawing/2014/main" id="{EDEA7805-FB82-495D-BBEB-EC3B5AFB6FE1}"/>
              </a:ext>
            </a:extLst>
          </p:cNvPr>
          <p:cNvCxnSpPr>
            <a:cxnSpLocks/>
          </p:cNvCxnSpPr>
          <p:nvPr/>
        </p:nvCxnSpPr>
        <p:spPr>
          <a:xfrm>
            <a:off x="6459206" y="4854342"/>
            <a:ext cx="96430" cy="170418"/>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601" name="Рисунок 1">
            <a:extLst>
              <a:ext uri="{FF2B5EF4-FFF2-40B4-BE49-F238E27FC236}">
                <a16:creationId xmlns:a16="http://schemas.microsoft.com/office/drawing/2014/main" id="{A4D88FC5-A610-418B-BEBD-02C18B1988FB}"/>
              </a:ext>
            </a:extLst>
          </p:cNvPr>
          <p:cNvGrpSpPr/>
          <p:nvPr/>
        </p:nvGrpSpPr>
        <p:grpSpPr>
          <a:xfrm>
            <a:off x="10117184" y="3189981"/>
            <a:ext cx="166658" cy="166658"/>
            <a:chOff x="635248" y="4824029"/>
            <a:chExt cx="417848" cy="417848"/>
          </a:xfrm>
          <a:solidFill>
            <a:schemeClr val="accent1"/>
          </a:solidFill>
          <a:effectLst/>
        </p:grpSpPr>
        <p:sp>
          <p:nvSpPr>
            <p:cNvPr id="602" name="Полилиния: фигура 601">
              <a:extLst>
                <a:ext uri="{FF2B5EF4-FFF2-40B4-BE49-F238E27FC236}">
                  <a16:creationId xmlns:a16="http://schemas.microsoft.com/office/drawing/2014/main" id="{81A4D506-71D0-46EB-8E63-D6A8655A0F17}"/>
                </a:ext>
              </a:extLst>
            </p:cNvPr>
            <p:cNvSpPr/>
            <p:nvPr/>
          </p:nvSpPr>
          <p:spPr>
            <a:xfrm>
              <a:off x="733598" y="4922474"/>
              <a:ext cx="221241" cy="221241"/>
            </a:xfrm>
            <a:custGeom>
              <a:avLst/>
              <a:gdLst>
                <a:gd name="connsiteX0" fmla="*/ 110621 w 221241"/>
                <a:gd name="connsiteY0" fmla="*/ 221242 h 221241"/>
                <a:gd name="connsiteX1" fmla="*/ 0 w 221241"/>
                <a:gd name="connsiteY1" fmla="*/ 110621 h 221241"/>
                <a:gd name="connsiteX2" fmla="*/ 110621 w 221241"/>
                <a:gd name="connsiteY2" fmla="*/ 0 h 221241"/>
                <a:gd name="connsiteX3" fmla="*/ 221242 w 221241"/>
                <a:gd name="connsiteY3" fmla="*/ 110621 h 221241"/>
                <a:gd name="connsiteX4" fmla="*/ 110621 w 221241"/>
                <a:gd name="connsiteY4" fmla="*/ 221242 h 221241"/>
                <a:gd name="connsiteX5" fmla="*/ 110621 w 221241"/>
                <a:gd name="connsiteY5" fmla="*/ 13592 h 221241"/>
                <a:gd name="connsiteX6" fmla="*/ 13592 w 221241"/>
                <a:gd name="connsiteY6" fmla="*/ 110621 h 221241"/>
                <a:gd name="connsiteX7" fmla="*/ 110621 w 221241"/>
                <a:gd name="connsiteY7" fmla="*/ 207556 h 221241"/>
                <a:gd name="connsiteX8" fmla="*/ 207556 w 221241"/>
                <a:gd name="connsiteY8" fmla="*/ 110621 h 221241"/>
                <a:gd name="connsiteX9" fmla="*/ 110621 w 221241"/>
                <a:gd name="connsiteY9" fmla="*/ 13592 h 22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241" h="221241">
                  <a:moveTo>
                    <a:pt x="110621" y="221242"/>
                  </a:moveTo>
                  <a:cubicBezTo>
                    <a:pt x="49647" y="221242"/>
                    <a:pt x="0" y="171595"/>
                    <a:pt x="0" y="110621"/>
                  </a:cubicBezTo>
                  <a:cubicBezTo>
                    <a:pt x="0" y="49647"/>
                    <a:pt x="49647" y="0"/>
                    <a:pt x="110621" y="0"/>
                  </a:cubicBezTo>
                  <a:cubicBezTo>
                    <a:pt x="171595" y="0"/>
                    <a:pt x="221242" y="49647"/>
                    <a:pt x="221242" y="110621"/>
                  </a:cubicBezTo>
                  <a:cubicBezTo>
                    <a:pt x="221242" y="171595"/>
                    <a:pt x="171595" y="221242"/>
                    <a:pt x="110621" y="221242"/>
                  </a:cubicBezTo>
                  <a:close/>
                  <a:moveTo>
                    <a:pt x="110621" y="13592"/>
                  </a:moveTo>
                  <a:cubicBezTo>
                    <a:pt x="57104" y="13592"/>
                    <a:pt x="13592" y="57104"/>
                    <a:pt x="13592" y="110621"/>
                  </a:cubicBezTo>
                  <a:cubicBezTo>
                    <a:pt x="13592" y="164138"/>
                    <a:pt x="57104" y="207556"/>
                    <a:pt x="110621" y="207556"/>
                  </a:cubicBezTo>
                  <a:cubicBezTo>
                    <a:pt x="164138" y="207556"/>
                    <a:pt x="207556" y="164044"/>
                    <a:pt x="207556" y="110621"/>
                  </a:cubicBezTo>
                  <a:cubicBezTo>
                    <a:pt x="207556" y="57104"/>
                    <a:pt x="164138" y="13592"/>
                    <a:pt x="110621" y="13592"/>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03" name="Полилиния: фигура 602">
              <a:extLst>
                <a:ext uri="{FF2B5EF4-FFF2-40B4-BE49-F238E27FC236}">
                  <a16:creationId xmlns:a16="http://schemas.microsoft.com/office/drawing/2014/main" id="{9E6732A8-5D23-47BB-8268-687DD9BDD6DD}"/>
                </a:ext>
              </a:extLst>
            </p:cNvPr>
            <p:cNvSpPr/>
            <p:nvPr/>
          </p:nvSpPr>
          <p:spPr>
            <a:xfrm>
              <a:off x="635248" y="4824029"/>
              <a:ext cx="417848" cy="417848"/>
            </a:xfrm>
            <a:custGeom>
              <a:avLst/>
              <a:gdLst>
                <a:gd name="connsiteX0" fmla="*/ 220864 w 417848"/>
                <a:gd name="connsiteY0" fmla="*/ 417849 h 417848"/>
                <a:gd name="connsiteX1" fmla="*/ 196985 w 417848"/>
                <a:gd name="connsiteY1" fmla="*/ 417849 h 417848"/>
                <a:gd name="connsiteX2" fmla="*/ 165837 w 417848"/>
                <a:gd name="connsiteY2" fmla="*/ 386701 h 417848"/>
                <a:gd name="connsiteX3" fmla="*/ 165837 w 417848"/>
                <a:gd name="connsiteY3" fmla="*/ 366220 h 417848"/>
                <a:gd name="connsiteX4" fmla="*/ 128082 w 417848"/>
                <a:gd name="connsiteY4" fmla="*/ 350646 h 417848"/>
                <a:gd name="connsiteX5" fmla="*/ 113641 w 417848"/>
                <a:gd name="connsiteY5" fmla="*/ 365087 h 417848"/>
                <a:gd name="connsiteX6" fmla="*/ 69657 w 417848"/>
                <a:gd name="connsiteY6" fmla="*/ 365087 h 417848"/>
                <a:gd name="connsiteX7" fmla="*/ 52762 w 417848"/>
                <a:gd name="connsiteY7" fmla="*/ 348192 h 417848"/>
                <a:gd name="connsiteX8" fmla="*/ 43607 w 417848"/>
                <a:gd name="connsiteY8" fmla="*/ 326200 h 417848"/>
                <a:gd name="connsiteX9" fmla="*/ 52762 w 417848"/>
                <a:gd name="connsiteY9" fmla="*/ 304208 h 417848"/>
                <a:gd name="connsiteX10" fmla="*/ 67203 w 417848"/>
                <a:gd name="connsiteY10" fmla="*/ 289767 h 417848"/>
                <a:gd name="connsiteX11" fmla="*/ 51629 w 417848"/>
                <a:gd name="connsiteY11" fmla="*/ 252012 h 417848"/>
                <a:gd name="connsiteX12" fmla="*/ 31148 w 417848"/>
                <a:gd name="connsiteY12" fmla="*/ 252012 h 417848"/>
                <a:gd name="connsiteX13" fmla="*/ 0 w 417848"/>
                <a:gd name="connsiteY13" fmla="*/ 220864 h 417848"/>
                <a:gd name="connsiteX14" fmla="*/ 0 w 417848"/>
                <a:gd name="connsiteY14" fmla="*/ 196984 h 417848"/>
                <a:gd name="connsiteX15" fmla="*/ 31148 w 417848"/>
                <a:gd name="connsiteY15" fmla="*/ 165837 h 417848"/>
                <a:gd name="connsiteX16" fmla="*/ 51629 w 417848"/>
                <a:gd name="connsiteY16" fmla="*/ 165837 h 417848"/>
                <a:gd name="connsiteX17" fmla="*/ 67203 w 417848"/>
                <a:gd name="connsiteY17" fmla="*/ 128082 h 417848"/>
                <a:gd name="connsiteX18" fmla="*/ 52762 w 417848"/>
                <a:gd name="connsiteY18" fmla="*/ 113641 h 417848"/>
                <a:gd name="connsiteX19" fmla="*/ 52762 w 417848"/>
                <a:gd name="connsiteY19" fmla="*/ 69657 h 417848"/>
                <a:gd name="connsiteX20" fmla="*/ 69657 w 417848"/>
                <a:gd name="connsiteY20" fmla="*/ 52762 h 417848"/>
                <a:gd name="connsiteX21" fmla="*/ 113641 w 417848"/>
                <a:gd name="connsiteY21" fmla="*/ 52762 h 417848"/>
                <a:gd name="connsiteX22" fmla="*/ 128082 w 417848"/>
                <a:gd name="connsiteY22" fmla="*/ 67203 h 417848"/>
                <a:gd name="connsiteX23" fmla="*/ 165837 w 417848"/>
                <a:gd name="connsiteY23" fmla="*/ 51629 h 417848"/>
                <a:gd name="connsiteX24" fmla="*/ 165837 w 417848"/>
                <a:gd name="connsiteY24" fmla="*/ 31148 h 417848"/>
                <a:gd name="connsiteX25" fmla="*/ 196985 w 417848"/>
                <a:gd name="connsiteY25" fmla="*/ 0 h 417848"/>
                <a:gd name="connsiteX26" fmla="*/ 220864 w 417848"/>
                <a:gd name="connsiteY26" fmla="*/ 0 h 417848"/>
                <a:gd name="connsiteX27" fmla="*/ 252012 w 417848"/>
                <a:gd name="connsiteY27" fmla="*/ 31148 h 417848"/>
                <a:gd name="connsiteX28" fmla="*/ 252012 w 417848"/>
                <a:gd name="connsiteY28" fmla="*/ 51629 h 417848"/>
                <a:gd name="connsiteX29" fmla="*/ 289766 w 417848"/>
                <a:gd name="connsiteY29" fmla="*/ 67203 h 417848"/>
                <a:gd name="connsiteX30" fmla="*/ 304208 w 417848"/>
                <a:gd name="connsiteY30" fmla="*/ 52762 h 417848"/>
                <a:gd name="connsiteX31" fmla="*/ 348192 w 417848"/>
                <a:gd name="connsiteY31" fmla="*/ 52762 h 417848"/>
                <a:gd name="connsiteX32" fmla="*/ 365087 w 417848"/>
                <a:gd name="connsiteY32" fmla="*/ 69657 h 417848"/>
                <a:gd name="connsiteX33" fmla="*/ 365087 w 417848"/>
                <a:gd name="connsiteY33" fmla="*/ 113641 h 417848"/>
                <a:gd name="connsiteX34" fmla="*/ 350646 w 417848"/>
                <a:gd name="connsiteY34" fmla="*/ 128082 h 417848"/>
                <a:gd name="connsiteX35" fmla="*/ 366219 w 417848"/>
                <a:gd name="connsiteY35" fmla="*/ 165837 h 417848"/>
                <a:gd name="connsiteX36" fmla="*/ 386701 w 417848"/>
                <a:gd name="connsiteY36" fmla="*/ 165837 h 417848"/>
                <a:gd name="connsiteX37" fmla="*/ 417849 w 417848"/>
                <a:gd name="connsiteY37" fmla="*/ 196984 h 417848"/>
                <a:gd name="connsiteX38" fmla="*/ 417849 w 417848"/>
                <a:gd name="connsiteY38" fmla="*/ 220864 h 417848"/>
                <a:gd name="connsiteX39" fmla="*/ 386701 w 417848"/>
                <a:gd name="connsiteY39" fmla="*/ 252012 h 417848"/>
                <a:gd name="connsiteX40" fmla="*/ 366219 w 417848"/>
                <a:gd name="connsiteY40" fmla="*/ 252012 h 417848"/>
                <a:gd name="connsiteX41" fmla="*/ 350646 w 417848"/>
                <a:gd name="connsiteY41" fmla="*/ 289767 h 417848"/>
                <a:gd name="connsiteX42" fmla="*/ 365087 w 417848"/>
                <a:gd name="connsiteY42" fmla="*/ 304208 h 417848"/>
                <a:gd name="connsiteX43" fmla="*/ 365087 w 417848"/>
                <a:gd name="connsiteY43" fmla="*/ 348192 h 417848"/>
                <a:gd name="connsiteX44" fmla="*/ 348192 w 417848"/>
                <a:gd name="connsiteY44" fmla="*/ 365087 h 417848"/>
                <a:gd name="connsiteX45" fmla="*/ 304208 w 417848"/>
                <a:gd name="connsiteY45" fmla="*/ 365087 h 417848"/>
                <a:gd name="connsiteX46" fmla="*/ 289766 w 417848"/>
                <a:gd name="connsiteY46" fmla="*/ 350646 h 417848"/>
                <a:gd name="connsiteX47" fmla="*/ 252012 w 417848"/>
                <a:gd name="connsiteY47" fmla="*/ 366220 h 417848"/>
                <a:gd name="connsiteX48" fmla="*/ 252012 w 417848"/>
                <a:gd name="connsiteY48" fmla="*/ 386701 h 417848"/>
                <a:gd name="connsiteX49" fmla="*/ 220864 w 417848"/>
                <a:gd name="connsiteY49" fmla="*/ 417849 h 417848"/>
                <a:gd name="connsiteX50" fmla="*/ 127139 w 417848"/>
                <a:gd name="connsiteY50" fmla="*/ 335261 h 417848"/>
                <a:gd name="connsiteX51" fmla="*/ 130725 w 417848"/>
                <a:gd name="connsiteY51" fmla="*/ 336299 h 417848"/>
                <a:gd name="connsiteX52" fmla="*/ 174332 w 417848"/>
                <a:gd name="connsiteY52" fmla="*/ 354327 h 417848"/>
                <a:gd name="connsiteX53" fmla="*/ 179617 w 417848"/>
                <a:gd name="connsiteY53" fmla="*/ 360934 h 417848"/>
                <a:gd name="connsiteX54" fmla="*/ 179617 w 417848"/>
                <a:gd name="connsiteY54" fmla="*/ 386701 h 417848"/>
                <a:gd name="connsiteX55" fmla="*/ 197079 w 417848"/>
                <a:gd name="connsiteY55" fmla="*/ 404163 h 417848"/>
                <a:gd name="connsiteX56" fmla="*/ 220959 w 417848"/>
                <a:gd name="connsiteY56" fmla="*/ 404163 h 417848"/>
                <a:gd name="connsiteX57" fmla="*/ 238420 w 417848"/>
                <a:gd name="connsiteY57" fmla="*/ 386701 h 417848"/>
                <a:gd name="connsiteX58" fmla="*/ 238420 w 417848"/>
                <a:gd name="connsiteY58" fmla="*/ 360934 h 417848"/>
                <a:gd name="connsiteX59" fmla="*/ 243706 w 417848"/>
                <a:gd name="connsiteY59" fmla="*/ 354327 h 417848"/>
                <a:gd name="connsiteX60" fmla="*/ 287312 w 417848"/>
                <a:gd name="connsiteY60" fmla="*/ 336299 h 417848"/>
                <a:gd name="connsiteX61" fmla="*/ 296090 w 417848"/>
                <a:gd name="connsiteY61" fmla="*/ 337715 h 417848"/>
                <a:gd name="connsiteX62" fmla="*/ 313835 w 417848"/>
                <a:gd name="connsiteY62" fmla="*/ 355554 h 417848"/>
                <a:gd name="connsiteX63" fmla="*/ 338470 w 417848"/>
                <a:gd name="connsiteY63" fmla="*/ 355554 h 417848"/>
                <a:gd name="connsiteX64" fmla="*/ 355365 w 417848"/>
                <a:gd name="connsiteY64" fmla="*/ 338659 h 417848"/>
                <a:gd name="connsiteX65" fmla="*/ 355365 w 417848"/>
                <a:gd name="connsiteY65" fmla="*/ 314024 h 417848"/>
                <a:gd name="connsiteX66" fmla="*/ 337526 w 417848"/>
                <a:gd name="connsiteY66" fmla="*/ 296185 h 417848"/>
                <a:gd name="connsiteX67" fmla="*/ 335544 w 417848"/>
                <a:gd name="connsiteY67" fmla="*/ 288539 h 417848"/>
                <a:gd name="connsiteX68" fmla="*/ 336110 w 417848"/>
                <a:gd name="connsiteY68" fmla="*/ 287312 h 417848"/>
                <a:gd name="connsiteX69" fmla="*/ 336110 w 417848"/>
                <a:gd name="connsiteY69" fmla="*/ 287312 h 417848"/>
                <a:gd name="connsiteX70" fmla="*/ 354138 w 417848"/>
                <a:gd name="connsiteY70" fmla="*/ 243706 h 417848"/>
                <a:gd name="connsiteX71" fmla="*/ 360745 w 417848"/>
                <a:gd name="connsiteY71" fmla="*/ 238420 h 417848"/>
                <a:gd name="connsiteX72" fmla="*/ 386513 w 417848"/>
                <a:gd name="connsiteY72" fmla="*/ 238420 h 417848"/>
                <a:gd name="connsiteX73" fmla="*/ 403974 w 417848"/>
                <a:gd name="connsiteY73" fmla="*/ 220959 h 417848"/>
                <a:gd name="connsiteX74" fmla="*/ 403974 w 417848"/>
                <a:gd name="connsiteY74" fmla="*/ 197079 h 417848"/>
                <a:gd name="connsiteX75" fmla="*/ 386513 w 417848"/>
                <a:gd name="connsiteY75" fmla="*/ 179617 h 417848"/>
                <a:gd name="connsiteX76" fmla="*/ 360745 w 417848"/>
                <a:gd name="connsiteY76" fmla="*/ 179617 h 417848"/>
                <a:gd name="connsiteX77" fmla="*/ 354138 w 417848"/>
                <a:gd name="connsiteY77" fmla="*/ 174332 h 417848"/>
                <a:gd name="connsiteX78" fmla="*/ 336110 w 417848"/>
                <a:gd name="connsiteY78" fmla="*/ 130725 h 417848"/>
                <a:gd name="connsiteX79" fmla="*/ 337054 w 417848"/>
                <a:gd name="connsiteY79" fmla="*/ 122325 h 417848"/>
                <a:gd name="connsiteX80" fmla="*/ 355271 w 417848"/>
                <a:gd name="connsiteY80" fmla="*/ 104108 h 417848"/>
                <a:gd name="connsiteX81" fmla="*/ 355271 w 417848"/>
                <a:gd name="connsiteY81" fmla="*/ 79474 h 417848"/>
                <a:gd name="connsiteX82" fmla="*/ 338375 w 417848"/>
                <a:gd name="connsiteY82" fmla="*/ 62578 h 417848"/>
                <a:gd name="connsiteX83" fmla="*/ 313741 w 417848"/>
                <a:gd name="connsiteY83" fmla="*/ 62578 h 417848"/>
                <a:gd name="connsiteX84" fmla="*/ 295524 w 417848"/>
                <a:gd name="connsiteY84" fmla="*/ 80795 h 417848"/>
                <a:gd name="connsiteX85" fmla="*/ 287124 w 417848"/>
                <a:gd name="connsiteY85" fmla="*/ 81739 h 417848"/>
                <a:gd name="connsiteX86" fmla="*/ 243517 w 417848"/>
                <a:gd name="connsiteY86" fmla="*/ 63711 h 417848"/>
                <a:gd name="connsiteX87" fmla="*/ 238231 w 417848"/>
                <a:gd name="connsiteY87" fmla="*/ 57104 h 417848"/>
                <a:gd name="connsiteX88" fmla="*/ 238231 w 417848"/>
                <a:gd name="connsiteY88" fmla="*/ 31336 h 417848"/>
                <a:gd name="connsiteX89" fmla="*/ 220770 w 417848"/>
                <a:gd name="connsiteY89" fmla="*/ 13875 h 417848"/>
                <a:gd name="connsiteX90" fmla="*/ 196890 w 417848"/>
                <a:gd name="connsiteY90" fmla="*/ 13875 h 417848"/>
                <a:gd name="connsiteX91" fmla="*/ 179429 w 417848"/>
                <a:gd name="connsiteY91" fmla="*/ 31336 h 417848"/>
                <a:gd name="connsiteX92" fmla="*/ 179429 w 417848"/>
                <a:gd name="connsiteY92" fmla="*/ 57104 h 417848"/>
                <a:gd name="connsiteX93" fmla="*/ 174143 w 417848"/>
                <a:gd name="connsiteY93" fmla="*/ 63711 h 417848"/>
                <a:gd name="connsiteX94" fmla="*/ 130536 w 417848"/>
                <a:gd name="connsiteY94" fmla="*/ 81739 h 417848"/>
                <a:gd name="connsiteX95" fmla="*/ 122136 w 417848"/>
                <a:gd name="connsiteY95" fmla="*/ 80795 h 417848"/>
                <a:gd name="connsiteX96" fmla="*/ 103919 w 417848"/>
                <a:gd name="connsiteY96" fmla="*/ 62578 h 417848"/>
                <a:gd name="connsiteX97" fmla="*/ 79285 w 417848"/>
                <a:gd name="connsiteY97" fmla="*/ 62578 h 417848"/>
                <a:gd name="connsiteX98" fmla="*/ 62389 w 417848"/>
                <a:gd name="connsiteY98" fmla="*/ 79474 h 417848"/>
                <a:gd name="connsiteX99" fmla="*/ 62389 w 417848"/>
                <a:gd name="connsiteY99" fmla="*/ 104108 h 417848"/>
                <a:gd name="connsiteX100" fmla="*/ 80606 w 417848"/>
                <a:gd name="connsiteY100" fmla="*/ 122325 h 417848"/>
                <a:gd name="connsiteX101" fmla="*/ 81550 w 417848"/>
                <a:gd name="connsiteY101" fmla="*/ 130725 h 417848"/>
                <a:gd name="connsiteX102" fmla="*/ 63522 w 417848"/>
                <a:gd name="connsiteY102" fmla="*/ 174332 h 417848"/>
                <a:gd name="connsiteX103" fmla="*/ 56915 w 417848"/>
                <a:gd name="connsiteY103" fmla="*/ 179617 h 417848"/>
                <a:gd name="connsiteX104" fmla="*/ 31148 w 417848"/>
                <a:gd name="connsiteY104" fmla="*/ 179617 h 417848"/>
                <a:gd name="connsiteX105" fmla="*/ 13686 w 417848"/>
                <a:gd name="connsiteY105" fmla="*/ 197079 h 417848"/>
                <a:gd name="connsiteX106" fmla="*/ 13686 w 417848"/>
                <a:gd name="connsiteY106" fmla="*/ 220959 h 417848"/>
                <a:gd name="connsiteX107" fmla="*/ 31148 w 417848"/>
                <a:gd name="connsiteY107" fmla="*/ 238420 h 417848"/>
                <a:gd name="connsiteX108" fmla="*/ 56915 w 417848"/>
                <a:gd name="connsiteY108" fmla="*/ 238420 h 417848"/>
                <a:gd name="connsiteX109" fmla="*/ 63522 w 417848"/>
                <a:gd name="connsiteY109" fmla="*/ 243706 h 417848"/>
                <a:gd name="connsiteX110" fmla="*/ 81550 w 417848"/>
                <a:gd name="connsiteY110" fmla="*/ 287312 h 417848"/>
                <a:gd name="connsiteX111" fmla="*/ 81833 w 417848"/>
                <a:gd name="connsiteY111" fmla="*/ 287879 h 417848"/>
                <a:gd name="connsiteX112" fmla="*/ 80134 w 417848"/>
                <a:gd name="connsiteY112" fmla="*/ 296185 h 417848"/>
                <a:gd name="connsiteX113" fmla="*/ 62295 w 417848"/>
                <a:gd name="connsiteY113" fmla="*/ 314024 h 417848"/>
                <a:gd name="connsiteX114" fmla="*/ 57198 w 417848"/>
                <a:gd name="connsiteY114" fmla="*/ 326389 h 417848"/>
                <a:gd name="connsiteX115" fmla="*/ 62295 w 417848"/>
                <a:gd name="connsiteY115" fmla="*/ 338753 h 417848"/>
                <a:gd name="connsiteX116" fmla="*/ 79190 w 417848"/>
                <a:gd name="connsiteY116" fmla="*/ 355648 h 417848"/>
                <a:gd name="connsiteX117" fmla="*/ 103825 w 417848"/>
                <a:gd name="connsiteY117" fmla="*/ 355648 h 417848"/>
                <a:gd name="connsiteX118" fmla="*/ 121759 w 417848"/>
                <a:gd name="connsiteY118" fmla="*/ 337715 h 417848"/>
                <a:gd name="connsiteX119" fmla="*/ 127139 w 417848"/>
                <a:gd name="connsiteY119" fmla="*/ 335261 h 4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417848" h="417848">
                  <a:moveTo>
                    <a:pt x="220864" y="417849"/>
                  </a:moveTo>
                  <a:lnTo>
                    <a:pt x="196985" y="417849"/>
                  </a:lnTo>
                  <a:cubicBezTo>
                    <a:pt x="179806" y="417849"/>
                    <a:pt x="165837" y="403880"/>
                    <a:pt x="165837" y="386701"/>
                  </a:cubicBezTo>
                  <a:lnTo>
                    <a:pt x="165837" y="366220"/>
                  </a:lnTo>
                  <a:cubicBezTo>
                    <a:pt x="152623" y="362633"/>
                    <a:pt x="139975" y="357347"/>
                    <a:pt x="128082" y="350646"/>
                  </a:cubicBezTo>
                  <a:lnTo>
                    <a:pt x="113641" y="365087"/>
                  </a:lnTo>
                  <a:cubicBezTo>
                    <a:pt x="101465" y="377263"/>
                    <a:pt x="81739" y="377263"/>
                    <a:pt x="69657" y="365087"/>
                  </a:cubicBezTo>
                  <a:lnTo>
                    <a:pt x="52762" y="348192"/>
                  </a:lnTo>
                  <a:cubicBezTo>
                    <a:pt x="46910" y="342340"/>
                    <a:pt x="43607" y="334506"/>
                    <a:pt x="43607" y="326200"/>
                  </a:cubicBezTo>
                  <a:cubicBezTo>
                    <a:pt x="43607" y="317894"/>
                    <a:pt x="46816" y="310060"/>
                    <a:pt x="52762" y="304208"/>
                  </a:cubicBezTo>
                  <a:lnTo>
                    <a:pt x="67203" y="289767"/>
                  </a:lnTo>
                  <a:cubicBezTo>
                    <a:pt x="60407" y="277874"/>
                    <a:pt x="55216" y="265226"/>
                    <a:pt x="51629" y="252012"/>
                  </a:cubicBezTo>
                  <a:lnTo>
                    <a:pt x="31148" y="252012"/>
                  </a:lnTo>
                  <a:cubicBezTo>
                    <a:pt x="13969" y="252012"/>
                    <a:pt x="0" y="238043"/>
                    <a:pt x="0" y="220864"/>
                  </a:cubicBezTo>
                  <a:lnTo>
                    <a:pt x="0" y="196984"/>
                  </a:lnTo>
                  <a:cubicBezTo>
                    <a:pt x="0" y="179806"/>
                    <a:pt x="13969" y="165837"/>
                    <a:pt x="31148" y="165837"/>
                  </a:cubicBezTo>
                  <a:lnTo>
                    <a:pt x="51629" y="165837"/>
                  </a:lnTo>
                  <a:cubicBezTo>
                    <a:pt x="55216" y="152623"/>
                    <a:pt x="60502" y="139975"/>
                    <a:pt x="67203" y="128082"/>
                  </a:cubicBezTo>
                  <a:lnTo>
                    <a:pt x="52762" y="113641"/>
                  </a:lnTo>
                  <a:cubicBezTo>
                    <a:pt x="40586" y="101465"/>
                    <a:pt x="40586" y="81739"/>
                    <a:pt x="52762" y="69657"/>
                  </a:cubicBezTo>
                  <a:lnTo>
                    <a:pt x="69657" y="52762"/>
                  </a:lnTo>
                  <a:cubicBezTo>
                    <a:pt x="81833" y="40586"/>
                    <a:pt x="101560" y="40586"/>
                    <a:pt x="113641" y="52762"/>
                  </a:cubicBezTo>
                  <a:lnTo>
                    <a:pt x="128082" y="67203"/>
                  </a:lnTo>
                  <a:cubicBezTo>
                    <a:pt x="139975" y="60407"/>
                    <a:pt x="152623" y="55216"/>
                    <a:pt x="165837" y="51629"/>
                  </a:cubicBezTo>
                  <a:lnTo>
                    <a:pt x="165837" y="31148"/>
                  </a:lnTo>
                  <a:cubicBezTo>
                    <a:pt x="165837" y="13969"/>
                    <a:pt x="179806" y="0"/>
                    <a:pt x="196985" y="0"/>
                  </a:cubicBezTo>
                  <a:lnTo>
                    <a:pt x="220864" y="0"/>
                  </a:lnTo>
                  <a:cubicBezTo>
                    <a:pt x="238043" y="0"/>
                    <a:pt x="252012" y="13969"/>
                    <a:pt x="252012" y="31148"/>
                  </a:cubicBezTo>
                  <a:lnTo>
                    <a:pt x="252012" y="51629"/>
                  </a:lnTo>
                  <a:cubicBezTo>
                    <a:pt x="265226" y="55216"/>
                    <a:pt x="277874" y="60502"/>
                    <a:pt x="289766" y="67203"/>
                  </a:cubicBezTo>
                  <a:lnTo>
                    <a:pt x="304208" y="52762"/>
                  </a:lnTo>
                  <a:cubicBezTo>
                    <a:pt x="316383" y="40586"/>
                    <a:pt x="336110" y="40586"/>
                    <a:pt x="348192" y="52762"/>
                  </a:cubicBezTo>
                  <a:lnTo>
                    <a:pt x="365087" y="69657"/>
                  </a:lnTo>
                  <a:cubicBezTo>
                    <a:pt x="377263" y="81833"/>
                    <a:pt x="377263" y="101560"/>
                    <a:pt x="365087" y="113641"/>
                  </a:cubicBezTo>
                  <a:lnTo>
                    <a:pt x="350646" y="128082"/>
                  </a:lnTo>
                  <a:cubicBezTo>
                    <a:pt x="357441" y="139975"/>
                    <a:pt x="362633" y="152623"/>
                    <a:pt x="366219" y="165837"/>
                  </a:cubicBezTo>
                  <a:lnTo>
                    <a:pt x="386701" y="165837"/>
                  </a:lnTo>
                  <a:cubicBezTo>
                    <a:pt x="403880" y="165837"/>
                    <a:pt x="417849" y="179806"/>
                    <a:pt x="417849" y="196984"/>
                  </a:cubicBezTo>
                  <a:lnTo>
                    <a:pt x="417849" y="220864"/>
                  </a:lnTo>
                  <a:cubicBezTo>
                    <a:pt x="417849" y="238043"/>
                    <a:pt x="403880" y="252012"/>
                    <a:pt x="386701" y="252012"/>
                  </a:cubicBezTo>
                  <a:lnTo>
                    <a:pt x="366219" y="252012"/>
                  </a:lnTo>
                  <a:cubicBezTo>
                    <a:pt x="362633" y="265226"/>
                    <a:pt x="357347" y="277874"/>
                    <a:pt x="350646" y="289767"/>
                  </a:cubicBezTo>
                  <a:lnTo>
                    <a:pt x="365087" y="304208"/>
                  </a:lnTo>
                  <a:cubicBezTo>
                    <a:pt x="377263" y="316384"/>
                    <a:pt x="377263" y="336110"/>
                    <a:pt x="365087" y="348192"/>
                  </a:cubicBezTo>
                  <a:lnTo>
                    <a:pt x="348192" y="365087"/>
                  </a:lnTo>
                  <a:cubicBezTo>
                    <a:pt x="336016" y="377263"/>
                    <a:pt x="316289" y="377263"/>
                    <a:pt x="304208" y="365087"/>
                  </a:cubicBezTo>
                  <a:lnTo>
                    <a:pt x="289766" y="350646"/>
                  </a:lnTo>
                  <a:cubicBezTo>
                    <a:pt x="277874" y="357441"/>
                    <a:pt x="265226" y="362633"/>
                    <a:pt x="252012" y="366220"/>
                  </a:cubicBezTo>
                  <a:lnTo>
                    <a:pt x="252012" y="386701"/>
                  </a:lnTo>
                  <a:cubicBezTo>
                    <a:pt x="252012" y="403880"/>
                    <a:pt x="238043" y="417849"/>
                    <a:pt x="220864" y="417849"/>
                  </a:cubicBezTo>
                  <a:close/>
                  <a:moveTo>
                    <a:pt x="127139" y="335261"/>
                  </a:moveTo>
                  <a:cubicBezTo>
                    <a:pt x="128366" y="335261"/>
                    <a:pt x="129593" y="335544"/>
                    <a:pt x="130725" y="336299"/>
                  </a:cubicBezTo>
                  <a:cubicBezTo>
                    <a:pt x="144222" y="344605"/>
                    <a:pt x="158852" y="350740"/>
                    <a:pt x="174332" y="354327"/>
                  </a:cubicBezTo>
                  <a:cubicBezTo>
                    <a:pt x="177447" y="355082"/>
                    <a:pt x="179617" y="357819"/>
                    <a:pt x="179617" y="360934"/>
                  </a:cubicBezTo>
                  <a:lnTo>
                    <a:pt x="179617" y="386701"/>
                  </a:lnTo>
                  <a:cubicBezTo>
                    <a:pt x="179617" y="396329"/>
                    <a:pt x="187451" y="404163"/>
                    <a:pt x="197079" y="404163"/>
                  </a:cubicBezTo>
                  <a:lnTo>
                    <a:pt x="220959" y="404163"/>
                  </a:lnTo>
                  <a:cubicBezTo>
                    <a:pt x="230586" y="404163"/>
                    <a:pt x="238420" y="396329"/>
                    <a:pt x="238420" y="386701"/>
                  </a:cubicBezTo>
                  <a:lnTo>
                    <a:pt x="238420" y="360934"/>
                  </a:lnTo>
                  <a:cubicBezTo>
                    <a:pt x="238420" y="357725"/>
                    <a:pt x="240591" y="354988"/>
                    <a:pt x="243706" y="354327"/>
                  </a:cubicBezTo>
                  <a:cubicBezTo>
                    <a:pt x="259185" y="350646"/>
                    <a:pt x="273909" y="344605"/>
                    <a:pt x="287312" y="336299"/>
                  </a:cubicBezTo>
                  <a:cubicBezTo>
                    <a:pt x="290238" y="334506"/>
                    <a:pt x="294014" y="335166"/>
                    <a:pt x="296090" y="337715"/>
                  </a:cubicBezTo>
                  <a:lnTo>
                    <a:pt x="313835" y="355554"/>
                  </a:lnTo>
                  <a:cubicBezTo>
                    <a:pt x="320631" y="362350"/>
                    <a:pt x="331674" y="362350"/>
                    <a:pt x="338470" y="355554"/>
                  </a:cubicBezTo>
                  <a:lnTo>
                    <a:pt x="355365" y="338659"/>
                  </a:lnTo>
                  <a:cubicBezTo>
                    <a:pt x="362161" y="331863"/>
                    <a:pt x="362161" y="320820"/>
                    <a:pt x="355365" y="314024"/>
                  </a:cubicBezTo>
                  <a:lnTo>
                    <a:pt x="337526" y="296185"/>
                  </a:lnTo>
                  <a:cubicBezTo>
                    <a:pt x="335355" y="294391"/>
                    <a:pt x="334506" y="291371"/>
                    <a:pt x="335544" y="288539"/>
                  </a:cubicBezTo>
                  <a:cubicBezTo>
                    <a:pt x="335733" y="288162"/>
                    <a:pt x="335921" y="287690"/>
                    <a:pt x="336110" y="287312"/>
                  </a:cubicBezTo>
                  <a:lnTo>
                    <a:pt x="336110" y="287312"/>
                  </a:lnTo>
                  <a:cubicBezTo>
                    <a:pt x="344416" y="273815"/>
                    <a:pt x="350551" y="259185"/>
                    <a:pt x="354138" y="243706"/>
                  </a:cubicBezTo>
                  <a:cubicBezTo>
                    <a:pt x="354893" y="240591"/>
                    <a:pt x="357630" y="238420"/>
                    <a:pt x="360745" y="238420"/>
                  </a:cubicBezTo>
                  <a:lnTo>
                    <a:pt x="386513" y="238420"/>
                  </a:lnTo>
                  <a:cubicBezTo>
                    <a:pt x="396140" y="238420"/>
                    <a:pt x="403974" y="230586"/>
                    <a:pt x="403974" y="220959"/>
                  </a:cubicBezTo>
                  <a:lnTo>
                    <a:pt x="403974" y="197079"/>
                  </a:lnTo>
                  <a:cubicBezTo>
                    <a:pt x="403974" y="187452"/>
                    <a:pt x="396140" y="179617"/>
                    <a:pt x="386513" y="179617"/>
                  </a:cubicBezTo>
                  <a:lnTo>
                    <a:pt x="360745" y="179617"/>
                  </a:lnTo>
                  <a:cubicBezTo>
                    <a:pt x="357536" y="179617"/>
                    <a:pt x="354799" y="177447"/>
                    <a:pt x="354138" y="174332"/>
                  </a:cubicBezTo>
                  <a:cubicBezTo>
                    <a:pt x="350457" y="158853"/>
                    <a:pt x="344416" y="144222"/>
                    <a:pt x="336110" y="130725"/>
                  </a:cubicBezTo>
                  <a:cubicBezTo>
                    <a:pt x="334411" y="127988"/>
                    <a:pt x="334883" y="124590"/>
                    <a:pt x="337054" y="122325"/>
                  </a:cubicBezTo>
                  <a:lnTo>
                    <a:pt x="355271" y="104108"/>
                  </a:lnTo>
                  <a:cubicBezTo>
                    <a:pt x="362066" y="97312"/>
                    <a:pt x="362066" y="86269"/>
                    <a:pt x="355271" y="79474"/>
                  </a:cubicBezTo>
                  <a:lnTo>
                    <a:pt x="338375" y="62578"/>
                  </a:lnTo>
                  <a:cubicBezTo>
                    <a:pt x="331580" y="55782"/>
                    <a:pt x="320536" y="55782"/>
                    <a:pt x="313741" y="62578"/>
                  </a:cubicBezTo>
                  <a:lnTo>
                    <a:pt x="295524" y="80795"/>
                  </a:lnTo>
                  <a:cubicBezTo>
                    <a:pt x="293259" y="83060"/>
                    <a:pt x="289766" y="83438"/>
                    <a:pt x="287124" y="81739"/>
                  </a:cubicBezTo>
                  <a:cubicBezTo>
                    <a:pt x="273626" y="73433"/>
                    <a:pt x="258996" y="67392"/>
                    <a:pt x="243517" y="63711"/>
                  </a:cubicBezTo>
                  <a:cubicBezTo>
                    <a:pt x="240402" y="62956"/>
                    <a:pt x="238231" y="60219"/>
                    <a:pt x="238231" y="57104"/>
                  </a:cubicBezTo>
                  <a:lnTo>
                    <a:pt x="238231" y="31336"/>
                  </a:lnTo>
                  <a:cubicBezTo>
                    <a:pt x="238231" y="21709"/>
                    <a:pt x="230397" y="13875"/>
                    <a:pt x="220770" y="13875"/>
                  </a:cubicBezTo>
                  <a:lnTo>
                    <a:pt x="196890" y="13875"/>
                  </a:lnTo>
                  <a:cubicBezTo>
                    <a:pt x="187263" y="13875"/>
                    <a:pt x="179429" y="21709"/>
                    <a:pt x="179429" y="31336"/>
                  </a:cubicBezTo>
                  <a:lnTo>
                    <a:pt x="179429" y="57104"/>
                  </a:lnTo>
                  <a:cubicBezTo>
                    <a:pt x="179429" y="60313"/>
                    <a:pt x="177258" y="63050"/>
                    <a:pt x="174143" y="63711"/>
                  </a:cubicBezTo>
                  <a:cubicBezTo>
                    <a:pt x="158664" y="67392"/>
                    <a:pt x="144034" y="73433"/>
                    <a:pt x="130536" y="81739"/>
                  </a:cubicBezTo>
                  <a:cubicBezTo>
                    <a:pt x="127799" y="83343"/>
                    <a:pt x="124307" y="82966"/>
                    <a:pt x="122136" y="80795"/>
                  </a:cubicBezTo>
                  <a:lnTo>
                    <a:pt x="103919" y="62578"/>
                  </a:lnTo>
                  <a:cubicBezTo>
                    <a:pt x="97124" y="55782"/>
                    <a:pt x="86080" y="55782"/>
                    <a:pt x="79285" y="62578"/>
                  </a:cubicBezTo>
                  <a:lnTo>
                    <a:pt x="62389" y="79474"/>
                  </a:lnTo>
                  <a:cubicBezTo>
                    <a:pt x="55594" y="86269"/>
                    <a:pt x="55594" y="97312"/>
                    <a:pt x="62389" y="104108"/>
                  </a:cubicBezTo>
                  <a:lnTo>
                    <a:pt x="80606" y="122325"/>
                  </a:lnTo>
                  <a:cubicBezTo>
                    <a:pt x="82871" y="124590"/>
                    <a:pt x="83249" y="128082"/>
                    <a:pt x="81550" y="130725"/>
                  </a:cubicBezTo>
                  <a:cubicBezTo>
                    <a:pt x="73244" y="144222"/>
                    <a:pt x="67203" y="158853"/>
                    <a:pt x="63522" y="174332"/>
                  </a:cubicBezTo>
                  <a:cubicBezTo>
                    <a:pt x="62767" y="177447"/>
                    <a:pt x="60030" y="179617"/>
                    <a:pt x="56915" y="179617"/>
                  </a:cubicBezTo>
                  <a:lnTo>
                    <a:pt x="31148" y="179617"/>
                  </a:lnTo>
                  <a:cubicBezTo>
                    <a:pt x="21520" y="179617"/>
                    <a:pt x="13686" y="187452"/>
                    <a:pt x="13686" y="197079"/>
                  </a:cubicBezTo>
                  <a:lnTo>
                    <a:pt x="13686" y="220959"/>
                  </a:lnTo>
                  <a:cubicBezTo>
                    <a:pt x="13686" y="230586"/>
                    <a:pt x="21520" y="238420"/>
                    <a:pt x="31148" y="238420"/>
                  </a:cubicBezTo>
                  <a:lnTo>
                    <a:pt x="56915" y="238420"/>
                  </a:lnTo>
                  <a:cubicBezTo>
                    <a:pt x="60124" y="238420"/>
                    <a:pt x="62861" y="240591"/>
                    <a:pt x="63522" y="243706"/>
                  </a:cubicBezTo>
                  <a:cubicBezTo>
                    <a:pt x="67203" y="259185"/>
                    <a:pt x="73244" y="273910"/>
                    <a:pt x="81550" y="287312"/>
                  </a:cubicBezTo>
                  <a:cubicBezTo>
                    <a:pt x="81644" y="287501"/>
                    <a:pt x="81739" y="287690"/>
                    <a:pt x="81833" y="287879"/>
                  </a:cubicBezTo>
                  <a:cubicBezTo>
                    <a:pt x="83249" y="290710"/>
                    <a:pt x="82494" y="294108"/>
                    <a:pt x="80134" y="296185"/>
                  </a:cubicBezTo>
                  <a:lnTo>
                    <a:pt x="62295" y="314024"/>
                  </a:lnTo>
                  <a:cubicBezTo>
                    <a:pt x="58992" y="317327"/>
                    <a:pt x="57198" y="321669"/>
                    <a:pt x="57198" y="326389"/>
                  </a:cubicBezTo>
                  <a:cubicBezTo>
                    <a:pt x="57198" y="331013"/>
                    <a:pt x="58992" y="335450"/>
                    <a:pt x="62295" y="338753"/>
                  </a:cubicBezTo>
                  <a:lnTo>
                    <a:pt x="79190" y="355648"/>
                  </a:lnTo>
                  <a:cubicBezTo>
                    <a:pt x="85986" y="362444"/>
                    <a:pt x="97029" y="362444"/>
                    <a:pt x="103825" y="355648"/>
                  </a:cubicBezTo>
                  <a:lnTo>
                    <a:pt x="121759" y="337715"/>
                  </a:lnTo>
                  <a:cubicBezTo>
                    <a:pt x="123269" y="336016"/>
                    <a:pt x="125156" y="335261"/>
                    <a:pt x="127139" y="335261"/>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04" name="Рисунок 1">
            <a:extLst>
              <a:ext uri="{FF2B5EF4-FFF2-40B4-BE49-F238E27FC236}">
                <a16:creationId xmlns:a16="http://schemas.microsoft.com/office/drawing/2014/main" id="{64C6B677-8F6B-4975-AE4B-B9516F71E0AF}"/>
              </a:ext>
            </a:extLst>
          </p:cNvPr>
          <p:cNvGrpSpPr/>
          <p:nvPr/>
        </p:nvGrpSpPr>
        <p:grpSpPr>
          <a:xfrm>
            <a:off x="10122148" y="4429932"/>
            <a:ext cx="156730" cy="129404"/>
            <a:chOff x="10262758" y="2910518"/>
            <a:chExt cx="423314" cy="349509"/>
          </a:xfrm>
          <a:solidFill>
            <a:schemeClr val="accent3"/>
          </a:solidFill>
          <a:effectLst/>
        </p:grpSpPr>
        <p:sp>
          <p:nvSpPr>
            <p:cNvPr id="605" name="Полилиния: фигура 604">
              <a:extLst>
                <a:ext uri="{FF2B5EF4-FFF2-40B4-BE49-F238E27FC236}">
                  <a16:creationId xmlns:a16="http://schemas.microsoft.com/office/drawing/2014/main" id="{4FE0BF82-B6C4-41FE-8698-D71669F2F88B}"/>
                </a:ext>
              </a:extLst>
            </p:cNvPr>
            <p:cNvSpPr/>
            <p:nvPr/>
          </p:nvSpPr>
          <p:spPr>
            <a:xfrm>
              <a:off x="10372576" y="3118484"/>
              <a:ext cx="67017" cy="141543"/>
            </a:xfrm>
            <a:custGeom>
              <a:avLst/>
              <a:gdLst>
                <a:gd name="connsiteX0" fmla="*/ 42613 w 67017"/>
                <a:gd name="connsiteY0" fmla="*/ 141543 h 141543"/>
                <a:gd name="connsiteX1" fmla="*/ 24311 w 67017"/>
                <a:gd name="connsiteY1" fmla="*/ 141543 h 141543"/>
                <a:gd name="connsiteX2" fmla="*/ 0 w 67017"/>
                <a:gd name="connsiteY2" fmla="*/ 117233 h 141543"/>
                <a:gd name="connsiteX3" fmla="*/ 0 w 67017"/>
                <a:gd name="connsiteY3" fmla="*/ 6570 h 141543"/>
                <a:gd name="connsiteX4" fmla="*/ 6571 w 67017"/>
                <a:gd name="connsiteY4" fmla="*/ 0 h 141543"/>
                <a:gd name="connsiteX5" fmla="*/ 60447 w 67017"/>
                <a:gd name="connsiteY5" fmla="*/ 0 h 141543"/>
                <a:gd name="connsiteX6" fmla="*/ 67017 w 67017"/>
                <a:gd name="connsiteY6" fmla="*/ 6570 h 141543"/>
                <a:gd name="connsiteX7" fmla="*/ 67017 w 67017"/>
                <a:gd name="connsiteY7" fmla="*/ 117233 h 141543"/>
                <a:gd name="connsiteX8" fmla="*/ 42613 w 67017"/>
                <a:gd name="connsiteY8" fmla="*/ 141543 h 141543"/>
                <a:gd name="connsiteX9" fmla="*/ 13047 w 67017"/>
                <a:gd name="connsiteY9" fmla="*/ 13047 h 141543"/>
                <a:gd name="connsiteX10" fmla="*/ 13047 w 67017"/>
                <a:gd name="connsiteY10" fmla="*/ 117233 h 141543"/>
                <a:gd name="connsiteX11" fmla="*/ 24311 w 67017"/>
                <a:gd name="connsiteY11" fmla="*/ 128496 h 141543"/>
                <a:gd name="connsiteX12" fmla="*/ 42613 w 67017"/>
                <a:gd name="connsiteY12" fmla="*/ 128496 h 141543"/>
                <a:gd name="connsiteX13" fmla="*/ 53876 w 67017"/>
                <a:gd name="connsiteY13" fmla="*/ 117233 h 141543"/>
                <a:gd name="connsiteX14" fmla="*/ 53876 w 67017"/>
                <a:gd name="connsiteY14" fmla="*/ 13047 h 141543"/>
                <a:gd name="connsiteX15" fmla="*/ 13047 w 67017"/>
                <a:gd name="connsiteY15" fmla="*/ 13047 h 1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17" h="141543">
                  <a:moveTo>
                    <a:pt x="42613" y="141543"/>
                  </a:moveTo>
                  <a:lnTo>
                    <a:pt x="24311" y="141543"/>
                  </a:lnTo>
                  <a:cubicBezTo>
                    <a:pt x="10888" y="141543"/>
                    <a:pt x="0" y="130655"/>
                    <a:pt x="0" y="117233"/>
                  </a:cubicBezTo>
                  <a:lnTo>
                    <a:pt x="0" y="6570"/>
                  </a:lnTo>
                  <a:cubicBezTo>
                    <a:pt x="0" y="2910"/>
                    <a:pt x="2910" y="0"/>
                    <a:pt x="6571" y="0"/>
                  </a:cubicBezTo>
                  <a:lnTo>
                    <a:pt x="60447" y="0"/>
                  </a:lnTo>
                  <a:cubicBezTo>
                    <a:pt x="64108" y="0"/>
                    <a:pt x="67017" y="2910"/>
                    <a:pt x="67017" y="6570"/>
                  </a:cubicBezTo>
                  <a:lnTo>
                    <a:pt x="67017" y="117233"/>
                  </a:lnTo>
                  <a:cubicBezTo>
                    <a:pt x="66923" y="130561"/>
                    <a:pt x="56036" y="141543"/>
                    <a:pt x="42613" y="141543"/>
                  </a:cubicBezTo>
                  <a:close/>
                  <a:moveTo>
                    <a:pt x="13047" y="13047"/>
                  </a:moveTo>
                  <a:lnTo>
                    <a:pt x="13047" y="117233"/>
                  </a:lnTo>
                  <a:cubicBezTo>
                    <a:pt x="13047" y="123428"/>
                    <a:pt x="18116" y="128496"/>
                    <a:pt x="24311" y="128496"/>
                  </a:cubicBezTo>
                  <a:lnTo>
                    <a:pt x="42613" y="128496"/>
                  </a:lnTo>
                  <a:cubicBezTo>
                    <a:pt x="48809" y="128496"/>
                    <a:pt x="53876" y="123428"/>
                    <a:pt x="53876" y="117233"/>
                  </a:cubicBezTo>
                  <a:lnTo>
                    <a:pt x="53876" y="13047"/>
                  </a:lnTo>
                  <a:lnTo>
                    <a:pt x="13047" y="13047"/>
                  </a:lnTo>
                  <a:close/>
                </a:path>
              </a:pathLst>
            </a:custGeom>
            <a:grpFill/>
            <a:ln w="9381"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06" name="Полилиния: фигура 605">
              <a:extLst>
                <a:ext uri="{FF2B5EF4-FFF2-40B4-BE49-F238E27FC236}">
                  <a16:creationId xmlns:a16="http://schemas.microsoft.com/office/drawing/2014/main" id="{8ED8DAE4-CF0B-451E-A08E-0B3AE2FC30B7}"/>
                </a:ext>
              </a:extLst>
            </p:cNvPr>
            <p:cNvSpPr/>
            <p:nvPr/>
          </p:nvSpPr>
          <p:spPr>
            <a:xfrm>
              <a:off x="10262758" y="2982761"/>
              <a:ext cx="216631" cy="148770"/>
            </a:xfrm>
            <a:custGeom>
              <a:avLst/>
              <a:gdLst>
                <a:gd name="connsiteX0" fmla="*/ 210062 w 216631"/>
                <a:gd name="connsiteY0" fmla="*/ 148770 h 148770"/>
                <a:gd name="connsiteX1" fmla="*/ 39141 w 216631"/>
                <a:gd name="connsiteY1" fmla="*/ 148770 h 148770"/>
                <a:gd name="connsiteX2" fmla="*/ 0 w 216631"/>
                <a:gd name="connsiteY2" fmla="*/ 109630 h 148770"/>
                <a:gd name="connsiteX3" fmla="*/ 0 w 216631"/>
                <a:gd name="connsiteY3" fmla="*/ 39140 h 148770"/>
                <a:gd name="connsiteX4" fmla="*/ 39141 w 216631"/>
                <a:gd name="connsiteY4" fmla="*/ 0 h 148770"/>
                <a:gd name="connsiteX5" fmla="*/ 210062 w 216631"/>
                <a:gd name="connsiteY5" fmla="*/ 0 h 148770"/>
                <a:gd name="connsiteX6" fmla="*/ 216632 w 216631"/>
                <a:gd name="connsiteY6" fmla="*/ 6570 h 148770"/>
                <a:gd name="connsiteX7" fmla="*/ 216632 w 216631"/>
                <a:gd name="connsiteY7" fmla="*/ 142200 h 148770"/>
                <a:gd name="connsiteX8" fmla="*/ 210062 w 216631"/>
                <a:gd name="connsiteY8" fmla="*/ 148770 h 148770"/>
                <a:gd name="connsiteX9" fmla="*/ 39141 w 216631"/>
                <a:gd name="connsiteY9" fmla="*/ 13141 h 148770"/>
                <a:gd name="connsiteX10" fmla="*/ 13141 w 216631"/>
                <a:gd name="connsiteY10" fmla="*/ 39140 h 148770"/>
                <a:gd name="connsiteX11" fmla="*/ 13141 w 216631"/>
                <a:gd name="connsiteY11" fmla="*/ 109630 h 148770"/>
                <a:gd name="connsiteX12" fmla="*/ 39141 w 216631"/>
                <a:gd name="connsiteY12" fmla="*/ 135630 h 148770"/>
                <a:gd name="connsiteX13" fmla="*/ 203492 w 216631"/>
                <a:gd name="connsiteY13" fmla="*/ 135630 h 148770"/>
                <a:gd name="connsiteX14" fmla="*/ 203492 w 216631"/>
                <a:gd name="connsiteY14" fmla="*/ 13047 h 148770"/>
                <a:gd name="connsiteX15" fmla="*/ 39141 w 216631"/>
                <a:gd name="connsiteY15" fmla="*/ 13047 h 14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6631" h="148770">
                  <a:moveTo>
                    <a:pt x="210062" y="148770"/>
                  </a:moveTo>
                  <a:lnTo>
                    <a:pt x="39141" y="148770"/>
                  </a:lnTo>
                  <a:cubicBezTo>
                    <a:pt x="17552" y="148770"/>
                    <a:pt x="0" y="131218"/>
                    <a:pt x="0" y="109630"/>
                  </a:cubicBezTo>
                  <a:lnTo>
                    <a:pt x="0" y="39140"/>
                  </a:lnTo>
                  <a:cubicBezTo>
                    <a:pt x="0" y="17552"/>
                    <a:pt x="17552" y="0"/>
                    <a:pt x="39141" y="0"/>
                  </a:cubicBezTo>
                  <a:lnTo>
                    <a:pt x="210062" y="0"/>
                  </a:lnTo>
                  <a:cubicBezTo>
                    <a:pt x="213723" y="0"/>
                    <a:pt x="216632" y="2910"/>
                    <a:pt x="216632" y="6570"/>
                  </a:cubicBezTo>
                  <a:lnTo>
                    <a:pt x="216632" y="142200"/>
                  </a:lnTo>
                  <a:cubicBezTo>
                    <a:pt x="216632" y="145767"/>
                    <a:pt x="213629" y="148770"/>
                    <a:pt x="210062" y="148770"/>
                  </a:cubicBezTo>
                  <a:close/>
                  <a:moveTo>
                    <a:pt x="39141" y="13141"/>
                  </a:moveTo>
                  <a:cubicBezTo>
                    <a:pt x="24780" y="13141"/>
                    <a:pt x="13141" y="24779"/>
                    <a:pt x="13141" y="39140"/>
                  </a:cubicBezTo>
                  <a:lnTo>
                    <a:pt x="13141" y="109630"/>
                  </a:lnTo>
                  <a:cubicBezTo>
                    <a:pt x="13141" y="123991"/>
                    <a:pt x="24780" y="135630"/>
                    <a:pt x="39141" y="135630"/>
                  </a:cubicBezTo>
                  <a:lnTo>
                    <a:pt x="203492" y="135630"/>
                  </a:lnTo>
                  <a:lnTo>
                    <a:pt x="203492" y="13047"/>
                  </a:lnTo>
                  <a:lnTo>
                    <a:pt x="39141" y="13047"/>
                  </a:lnTo>
                  <a:close/>
                </a:path>
              </a:pathLst>
            </a:custGeom>
            <a:grpFill/>
            <a:ln w="9381"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07" name="Полилиния: фигура 606">
              <a:extLst>
                <a:ext uri="{FF2B5EF4-FFF2-40B4-BE49-F238E27FC236}">
                  <a16:creationId xmlns:a16="http://schemas.microsoft.com/office/drawing/2014/main" id="{036DE829-C18C-4A81-93FE-D4603C24D283}"/>
                </a:ext>
              </a:extLst>
            </p:cNvPr>
            <p:cNvSpPr/>
            <p:nvPr/>
          </p:nvSpPr>
          <p:spPr>
            <a:xfrm>
              <a:off x="10466250" y="2910518"/>
              <a:ext cx="219822" cy="292066"/>
            </a:xfrm>
            <a:custGeom>
              <a:avLst/>
              <a:gdLst>
                <a:gd name="connsiteX0" fmla="*/ 213347 w 219822"/>
                <a:gd name="connsiteY0" fmla="*/ 292066 h 292066"/>
                <a:gd name="connsiteX1" fmla="*/ 211188 w 219822"/>
                <a:gd name="connsiteY1" fmla="*/ 291691 h 292066"/>
                <a:gd name="connsiteX2" fmla="*/ 4411 w 219822"/>
                <a:gd name="connsiteY2" fmla="*/ 220544 h 292066"/>
                <a:gd name="connsiteX3" fmla="*/ 0 w 219822"/>
                <a:gd name="connsiteY3" fmla="*/ 214349 h 292066"/>
                <a:gd name="connsiteX4" fmla="*/ 0 w 219822"/>
                <a:gd name="connsiteY4" fmla="*/ 78625 h 292066"/>
                <a:gd name="connsiteX5" fmla="*/ 4411 w 219822"/>
                <a:gd name="connsiteY5" fmla="*/ 72430 h 292066"/>
                <a:gd name="connsiteX6" fmla="*/ 211188 w 219822"/>
                <a:gd name="connsiteY6" fmla="*/ 345 h 292066"/>
                <a:gd name="connsiteX7" fmla="*/ 217102 w 219822"/>
                <a:gd name="connsiteY7" fmla="*/ 1190 h 292066"/>
                <a:gd name="connsiteX8" fmla="*/ 219823 w 219822"/>
                <a:gd name="connsiteY8" fmla="*/ 6540 h 292066"/>
                <a:gd name="connsiteX9" fmla="*/ 219823 w 219822"/>
                <a:gd name="connsiteY9" fmla="*/ 285496 h 292066"/>
                <a:gd name="connsiteX10" fmla="*/ 217102 w 219822"/>
                <a:gd name="connsiteY10" fmla="*/ 290846 h 292066"/>
                <a:gd name="connsiteX11" fmla="*/ 213347 w 219822"/>
                <a:gd name="connsiteY11" fmla="*/ 292066 h 292066"/>
                <a:gd name="connsiteX12" fmla="*/ 13140 w 219822"/>
                <a:gd name="connsiteY12" fmla="*/ 209750 h 292066"/>
                <a:gd name="connsiteX13" fmla="*/ 206776 w 219822"/>
                <a:gd name="connsiteY13" fmla="*/ 276298 h 292066"/>
                <a:gd name="connsiteX14" fmla="*/ 206776 w 219822"/>
                <a:gd name="connsiteY14" fmla="*/ 15738 h 292066"/>
                <a:gd name="connsiteX15" fmla="*/ 13140 w 219822"/>
                <a:gd name="connsiteY15" fmla="*/ 83318 h 292066"/>
                <a:gd name="connsiteX16" fmla="*/ 13140 w 219822"/>
                <a:gd name="connsiteY16" fmla="*/ 209750 h 29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822" h="292066">
                  <a:moveTo>
                    <a:pt x="213347" y="292066"/>
                  </a:moveTo>
                  <a:cubicBezTo>
                    <a:pt x="212595" y="292066"/>
                    <a:pt x="211939" y="291972"/>
                    <a:pt x="211188" y="291691"/>
                  </a:cubicBezTo>
                  <a:lnTo>
                    <a:pt x="4411" y="220544"/>
                  </a:lnTo>
                  <a:cubicBezTo>
                    <a:pt x="1783" y="219605"/>
                    <a:pt x="0" y="217165"/>
                    <a:pt x="0" y="214349"/>
                  </a:cubicBezTo>
                  <a:lnTo>
                    <a:pt x="0" y="78625"/>
                  </a:lnTo>
                  <a:cubicBezTo>
                    <a:pt x="0" y="75810"/>
                    <a:pt x="1783" y="73369"/>
                    <a:pt x="4411" y="72430"/>
                  </a:cubicBezTo>
                  <a:lnTo>
                    <a:pt x="211188" y="345"/>
                  </a:lnTo>
                  <a:cubicBezTo>
                    <a:pt x="213159" y="-312"/>
                    <a:pt x="215412" y="-30"/>
                    <a:pt x="217102" y="1190"/>
                  </a:cubicBezTo>
                  <a:cubicBezTo>
                    <a:pt x="218790" y="2410"/>
                    <a:pt x="219823" y="4381"/>
                    <a:pt x="219823" y="6540"/>
                  </a:cubicBezTo>
                  <a:lnTo>
                    <a:pt x="219823" y="285496"/>
                  </a:lnTo>
                  <a:cubicBezTo>
                    <a:pt x="219823" y="287655"/>
                    <a:pt x="218790" y="289626"/>
                    <a:pt x="217102" y="290846"/>
                  </a:cubicBezTo>
                  <a:cubicBezTo>
                    <a:pt x="216068" y="291691"/>
                    <a:pt x="214661" y="292066"/>
                    <a:pt x="213347" y="292066"/>
                  </a:cubicBezTo>
                  <a:close/>
                  <a:moveTo>
                    <a:pt x="13140" y="209750"/>
                  </a:moveTo>
                  <a:lnTo>
                    <a:pt x="206776" y="276298"/>
                  </a:lnTo>
                  <a:lnTo>
                    <a:pt x="206776" y="15738"/>
                  </a:lnTo>
                  <a:lnTo>
                    <a:pt x="13140" y="83318"/>
                  </a:lnTo>
                  <a:lnTo>
                    <a:pt x="13140" y="209750"/>
                  </a:lnTo>
                  <a:close/>
                </a:path>
              </a:pathLst>
            </a:custGeom>
            <a:grpFill/>
            <a:ln w="9381"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08" name="Рисунок 1">
            <a:extLst>
              <a:ext uri="{FF2B5EF4-FFF2-40B4-BE49-F238E27FC236}">
                <a16:creationId xmlns:a16="http://schemas.microsoft.com/office/drawing/2014/main" id="{91A198A2-985B-460C-A333-EB87CB7649B6}"/>
              </a:ext>
            </a:extLst>
          </p:cNvPr>
          <p:cNvGrpSpPr/>
          <p:nvPr/>
        </p:nvGrpSpPr>
        <p:grpSpPr>
          <a:xfrm>
            <a:off x="10120774" y="4918991"/>
            <a:ext cx="159478" cy="119094"/>
            <a:chOff x="8486337" y="4857925"/>
            <a:chExt cx="472216" cy="352637"/>
          </a:xfrm>
          <a:solidFill>
            <a:schemeClr val="accent3"/>
          </a:solidFill>
          <a:effectLst/>
        </p:grpSpPr>
        <p:sp>
          <p:nvSpPr>
            <p:cNvPr id="609" name="Полилиния: фигура 608">
              <a:extLst>
                <a:ext uri="{FF2B5EF4-FFF2-40B4-BE49-F238E27FC236}">
                  <a16:creationId xmlns:a16="http://schemas.microsoft.com/office/drawing/2014/main" id="{AFEB6D01-B74D-48E6-8E2D-0F63CA8575DF}"/>
                </a:ext>
              </a:extLst>
            </p:cNvPr>
            <p:cNvSpPr/>
            <p:nvPr/>
          </p:nvSpPr>
          <p:spPr>
            <a:xfrm>
              <a:off x="8639237" y="4857925"/>
              <a:ext cx="319316" cy="262718"/>
            </a:xfrm>
            <a:custGeom>
              <a:avLst/>
              <a:gdLst>
                <a:gd name="connsiteX0" fmla="*/ 250797 w 319316"/>
                <a:gd name="connsiteY0" fmla="*/ 262718 h 262718"/>
                <a:gd name="connsiteX1" fmla="*/ 240566 w 319316"/>
                <a:gd name="connsiteY1" fmla="*/ 258495 h 262718"/>
                <a:gd name="connsiteX2" fmla="*/ 205462 w 319316"/>
                <a:gd name="connsiteY2" fmla="*/ 223390 h 262718"/>
                <a:gd name="connsiteX3" fmla="*/ 39140 w 319316"/>
                <a:gd name="connsiteY3" fmla="*/ 223390 h 262718"/>
                <a:gd name="connsiteX4" fmla="*/ 0 w 319316"/>
                <a:gd name="connsiteY4" fmla="*/ 184250 h 262718"/>
                <a:gd name="connsiteX5" fmla="*/ 0 w 319316"/>
                <a:gd name="connsiteY5" fmla="*/ 39140 h 262718"/>
                <a:gd name="connsiteX6" fmla="*/ 39140 w 319316"/>
                <a:gd name="connsiteY6" fmla="*/ 0 h 262718"/>
                <a:gd name="connsiteX7" fmla="*/ 280176 w 319316"/>
                <a:gd name="connsiteY7" fmla="*/ 0 h 262718"/>
                <a:gd name="connsiteX8" fmla="*/ 319316 w 319316"/>
                <a:gd name="connsiteY8" fmla="*/ 39140 h 262718"/>
                <a:gd name="connsiteX9" fmla="*/ 319316 w 319316"/>
                <a:gd name="connsiteY9" fmla="*/ 184250 h 262718"/>
                <a:gd name="connsiteX10" fmla="*/ 280176 w 319316"/>
                <a:gd name="connsiteY10" fmla="*/ 223390 h 262718"/>
                <a:gd name="connsiteX11" fmla="*/ 265346 w 319316"/>
                <a:gd name="connsiteY11" fmla="*/ 223390 h 262718"/>
                <a:gd name="connsiteX12" fmla="*/ 265346 w 319316"/>
                <a:gd name="connsiteY12" fmla="*/ 248264 h 262718"/>
                <a:gd name="connsiteX13" fmla="*/ 256429 w 319316"/>
                <a:gd name="connsiteY13" fmla="*/ 261592 h 262718"/>
                <a:gd name="connsiteX14" fmla="*/ 250797 w 319316"/>
                <a:gd name="connsiteY14" fmla="*/ 262718 h 262718"/>
                <a:gd name="connsiteX15" fmla="*/ 39140 w 319316"/>
                <a:gd name="connsiteY15" fmla="*/ 13516 h 262718"/>
                <a:gd name="connsiteX16" fmla="*/ 13609 w 319316"/>
                <a:gd name="connsiteY16" fmla="*/ 39046 h 262718"/>
                <a:gd name="connsiteX17" fmla="*/ 13609 w 319316"/>
                <a:gd name="connsiteY17" fmla="*/ 184156 h 262718"/>
                <a:gd name="connsiteX18" fmla="*/ 39140 w 319316"/>
                <a:gd name="connsiteY18" fmla="*/ 209687 h 262718"/>
                <a:gd name="connsiteX19" fmla="*/ 208278 w 319316"/>
                <a:gd name="connsiteY19" fmla="*/ 209687 h 262718"/>
                <a:gd name="connsiteX20" fmla="*/ 213065 w 319316"/>
                <a:gd name="connsiteY20" fmla="*/ 211658 h 262718"/>
                <a:gd name="connsiteX21" fmla="*/ 250140 w 319316"/>
                <a:gd name="connsiteY21" fmla="*/ 248733 h 262718"/>
                <a:gd name="connsiteX22" fmla="*/ 251079 w 319316"/>
                <a:gd name="connsiteY22" fmla="*/ 248921 h 262718"/>
                <a:gd name="connsiteX23" fmla="*/ 251643 w 319316"/>
                <a:gd name="connsiteY23" fmla="*/ 248076 h 262718"/>
                <a:gd name="connsiteX24" fmla="*/ 251643 w 319316"/>
                <a:gd name="connsiteY24" fmla="*/ 216444 h 262718"/>
                <a:gd name="connsiteX25" fmla="*/ 258400 w 319316"/>
                <a:gd name="connsiteY25" fmla="*/ 209687 h 262718"/>
                <a:gd name="connsiteX26" fmla="*/ 280082 w 319316"/>
                <a:gd name="connsiteY26" fmla="*/ 209687 h 262718"/>
                <a:gd name="connsiteX27" fmla="*/ 305613 w 319316"/>
                <a:gd name="connsiteY27" fmla="*/ 184156 h 262718"/>
                <a:gd name="connsiteX28" fmla="*/ 305613 w 319316"/>
                <a:gd name="connsiteY28" fmla="*/ 39046 h 262718"/>
                <a:gd name="connsiteX29" fmla="*/ 280082 w 319316"/>
                <a:gd name="connsiteY29" fmla="*/ 13516 h 262718"/>
                <a:gd name="connsiteX30" fmla="*/ 39140 w 319316"/>
                <a:gd name="connsiteY30" fmla="*/ 13516 h 26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9316" h="262718">
                  <a:moveTo>
                    <a:pt x="250797" y="262718"/>
                  </a:moveTo>
                  <a:cubicBezTo>
                    <a:pt x="247043" y="262718"/>
                    <a:pt x="243383" y="261217"/>
                    <a:pt x="240566" y="258495"/>
                  </a:cubicBezTo>
                  <a:lnTo>
                    <a:pt x="205462" y="223390"/>
                  </a:lnTo>
                  <a:lnTo>
                    <a:pt x="39140" y="223390"/>
                  </a:lnTo>
                  <a:cubicBezTo>
                    <a:pt x="17552" y="223390"/>
                    <a:pt x="0" y="205838"/>
                    <a:pt x="0" y="184250"/>
                  </a:cubicBezTo>
                  <a:lnTo>
                    <a:pt x="0" y="39140"/>
                  </a:lnTo>
                  <a:cubicBezTo>
                    <a:pt x="0" y="17552"/>
                    <a:pt x="17552" y="0"/>
                    <a:pt x="39140" y="0"/>
                  </a:cubicBezTo>
                  <a:lnTo>
                    <a:pt x="280176" y="0"/>
                  </a:lnTo>
                  <a:cubicBezTo>
                    <a:pt x="301764" y="0"/>
                    <a:pt x="319316" y="17552"/>
                    <a:pt x="319316" y="39140"/>
                  </a:cubicBezTo>
                  <a:lnTo>
                    <a:pt x="319316" y="184250"/>
                  </a:lnTo>
                  <a:cubicBezTo>
                    <a:pt x="319316" y="205838"/>
                    <a:pt x="301764" y="223390"/>
                    <a:pt x="280176" y="223390"/>
                  </a:cubicBezTo>
                  <a:lnTo>
                    <a:pt x="265346" y="223390"/>
                  </a:lnTo>
                  <a:lnTo>
                    <a:pt x="265346" y="248264"/>
                  </a:lnTo>
                  <a:cubicBezTo>
                    <a:pt x="265346" y="254177"/>
                    <a:pt x="261873" y="259433"/>
                    <a:pt x="256429" y="261592"/>
                  </a:cubicBezTo>
                  <a:cubicBezTo>
                    <a:pt x="254552" y="262343"/>
                    <a:pt x="252675" y="262718"/>
                    <a:pt x="250797" y="262718"/>
                  </a:cubicBezTo>
                  <a:close/>
                  <a:moveTo>
                    <a:pt x="39140" y="13516"/>
                  </a:moveTo>
                  <a:cubicBezTo>
                    <a:pt x="25061" y="13516"/>
                    <a:pt x="13609" y="24967"/>
                    <a:pt x="13609" y="39046"/>
                  </a:cubicBezTo>
                  <a:lnTo>
                    <a:pt x="13609" y="184156"/>
                  </a:lnTo>
                  <a:cubicBezTo>
                    <a:pt x="13609" y="198236"/>
                    <a:pt x="25061" y="209687"/>
                    <a:pt x="39140" y="209687"/>
                  </a:cubicBezTo>
                  <a:lnTo>
                    <a:pt x="208278" y="209687"/>
                  </a:lnTo>
                  <a:cubicBezTo>
                    <a:pt x="210061" y="209687"/>
                    <a:pt x="211845" y="210438"/>
                    <a:pt x="213065" y="211658"/>
                  </a:cubicBezTo>
                  <a:lnTo>
                    <a:pt x="250140" y="248733"/>
                  </a:lnTo>
                  <a:cubicBezTo>
                    <a:pt x="250234" y="248827"/>
                    <a:pt x="250516" y="249108"/>
                    <a:pt x="251079" y="248921"/>
                  </a:cubicBezTo>
                  <a:cubicBezTo>
                    <a:pt x="251643" y="248733"/>
                    <a:pt x="251643" y="248264"/>
                    <a:pt x="251643" y="248076"/>
                  </a:cubicBezTo>
                  <a:lnTo>
                    <a:pt x="251643" y="216444"/>
                  </a:lnTo>
                  <a:cubicBezTo>
                    <a:pt x="251643" y="212690"/>
                    <a:pt x="254646" y="209687"/>
                    <a:pt x="258400" y="209687"/>
                  </a:cubicBezTo>
                  <a:lnTo>
                    <a:pt x="280082" y="209687"/>
                  </a:lnTo>
                  <a:cubicBezTo>
                    <a:pt x="294161" y="209687"/>
                    <a:pt x="305613" y="198236"/>
                    <a:pt x="305613" y="184156"/>
                  </a:cubicBezTo>
                  <a:lnTo>
                    <a:pt x="305613" y="39046"/>
                  </a:lnTo>
                  <a:cubicBezTo>
                    <a:pt x="305613" y="24967"/>
                    <a:pt x="294161" y="13516"/>
                    <a:pt x="280082" y="13516"/>
                  </a:cubicBezTo>
                  <a:lnTo>
                    <a:pt x="39140" y="13516"/>
                  </a:lnTo>
                  <a:close/>
                </a:path>
              </a:pathLst>
            </a:custGeom>
            <a:grpFill/>
            <a:ln w="9381"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10" name="Полилиния: фигура 609">
              <a:extLst>
                <a:ext uri="{FF2B5EF4-FFF2-40B4-BE49-F238E27FC236}">
                  <a16:creationId xmlns:a16="http://schemas.microsoft.com/office/drawing/2014/main" id="{37B20C48-F35A-47A4-85F4-54E617A1E93B}"/>
                </a:ext>
              </a:extLst>
            </p:cNvPr>
            <p:cNvSpPr/>
            <p:nvPr/>
          </p:nvSpPr>
          <p:spPr>
            <a:xfrm>
              <a:off x="8486337" y="4947844"/>
              <a:ext cx="319128" cy="262718"/>
            </a:xfrm>
            <a:custGeom>
              <a:avLst/>
              <a:gdLst>
                <a:gd name="connsiteX0" fmla="*/ 68425 w 319128"/>
                <a:gd name="connsiteY0" fmla="*/ 262718 h 262718"/>
                <a:gd name="connsiteX1" fmla="*/ 62887 w 319128"/>
                <a:gd name="connsiteY1" fmla="*/ 261592 h 262718"/>
                <a:gd name="connsiteX2" fmla="*/ 53970 w 319128"/>
                <a:gd name="connsiteY2" fmla="*/ 248263 h 262718"/>
                <a:gd name="connsiteX3" fmla="*/ 53970 w 319128"/>
                <a:gd name="connsiteY3" fmla="*/ 223390 h 262718"/>
                <a:gd name="connsiteX4" fmla="*/ 39140 w 319128"/>
                <a:gd name="connsiteY4" fmla="*/ 223390 h 262718"/>
                <a:gd name="connsiteX5" fmla="*/ 0 w 319128"/>
                <a:gd name="connsiteY5" fmla="*/ 184250 h 262718"/>
                <a:gd name="connsiteX6" fmla="*/ 0 w 319128"/>
                <a:gd name="connsiteY6" fmla="*/ 39140 h 262718"/>
                <a:gd name="connsiteX7" fmla="*/ 39140 w 319128"/>
                <a:gd name="connsiteY7" fmla="*/ 0 h 262718"/>
                <a:gd name="connsiteX8" fmla="*/ 155153 w 319128"/>
                <a:gd name="connsiteY8" fmla="*/ 0 h 262718"/>
                <a:gd name="connsiteX9" fmla="*/ 161911 w 319128"/>
                <a:gd name="connsiteY9" fmla="*/ 6758 h 262718"/>
                <a:gd name="connsiteX10" fmla="*/ 155153 w 319128"/>
                <a:gd name="connsiteY10" fmla="*/ 13516 h 262718"/>
                <a:gd name="connsiteX11" fmla="*/ 39140 w 319128"/>
                <a:gd name="connsiteY11" fmla="*/ 13516 h 262718"/>
                <a:gd name="connsiteX12" fmla="*/ 13610 w 319128"/>
                <a:gd name="connsiteY12" fmla="*/ 39046 h 262718"/>
                <a:gd name="connsiteX13" fmla="*/ 13610 w 319128"/>
                <a:gd name="connsiteY13" fmla="*/ 184156 h 262718"/>
                <a:gd name="connsiteX14" fmla="*/ 39140 w 319128"/>
                <a:gd name="connsiteY14" fmla="*/ 209686 h 262718"/>
                <a:gd name="connsiteX15" fmla="*/ 60822 w 319128"/>
                <a:gd name="connsiteY15" fmla="*/ 209686 h 262718"/>
                <a:gd name="connsiteX16" fmla="*/ 67580 w 319128"/>
                <a:gd name="connsiteY16" fmla="*/ 216444 h 262718"/>
                <a:gd name="connsiteX17" fmla="*/ 67580 w 319128"/>
                <a:gd name="connsiteY17" fmla="*/ 248170 h 262718"/>
                <a:gd name="connsiteX18" fmla="*/ 68143 w 319128"/>
                <a:gd name="connsiteY18" fmla="*/ 249014 h 262718"/>
                <a:gd name="connsiteX19" fmla="*/ 69082 w 319128"/>
                <a:gd name="connsiteY19" fmla="*/ 248827 h 262718"/>
                <a:gd name="connsiteX20" fmla="*/ 106157 w 319128"/>
                <a:gd name="connsiteY20" fmla="*/ 211751 h 262718"/>
                <a:gd name="connsiteX21" fmla="*/ 110944 w 319128"/>
                <a:gd name="connsiteY21" fmla="*/ 209780 h 262718"/>
                <a:gd name="connsiteX22" fmla="*/ 280083 w 319128"/>
                <a:gd name="connsiteY22" fmla="*/ 209780 h 262718"/>
                <a:gd name="connsiteX23" fmla="*/ 305613 w 319128"/>
                <a:gd name="connsiteY23" fmla="*/ 184250 h 262718"/>
                <a:gd name="connsiteX24" fmla="*/ 305613 w 319128"/>
                <a:gd name="connsiteY24" fmla="*/ 131406 h 262718"/>
                <a:gd name="connsiteX25" fmla="*/ 312371 w 319128"/>
                <a:gd name="connsiteY25" fmla="*/ 124648 h 262718"/>
                <a:gd name="connsiteX26" fmla="*/ 319129 w 319128"/>
                <a:gd name="connsiteY26" fmla="*/ 131406 h 262718"/>
                <a:gd name="connsiteX27" fmla="*/ 319129 w 319128"/>
                <a:gd name="connsiteY27" fmla="*/ 184250 h 262718"/>
                <a:gd name="connsiteX28" fmla="*/ 279989 w 319128"/>
                <a:gd name="connsiteY28" fmla="*/ 223390 h 262718"/>
                <a:gd name="connsiteX29" fmla="*/ 113666 w 319128"/>
                <a:gd name="connsiteY29" fmla="*/ 223390 h 262718"/>
                <a:gd name="connsiteX30" fmla="*/ 78562 w 319128"/>
                <a:gd name="connsiteY30" fmla="*/ 258495 h 262718"/>
                <a:gd name="connsiteX31" fmla="*/ 68425 w 319128"/>
                <a:gd name="connsiteY31" fmla="*/ 262718 h 26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9128" h="262718">
                  <a:moveTo>
                    <a:pt x="68425" y="262718"/>
                  </a:moveTo>
                  <a:cubicBezTo>
                    <a:pt x="66548" y="262718"/>
                    <a:pt x="64671" y="262343"/>
                    <a:pt x="62887" y="261592"/>
                  </a:cubicBezTo>
                  <a:cubicBezTo>
                    <a:pt x="57443" y="259339"/>
                    <a:pt x="53970" y="254083"/>
                    <a:pt x="53970" y="248263"/>
                  </a:cubicBezTo>
                  <a:lnTo>
                    <a:pt x="53970" y="223390"/>
                  </a:lnTo>
                  <a:lnTo>
                    <a:pt x="39140" y="223390"/>
                  </a:lnTo>
                  <a:cubicBezTo>
                    <a:pt x="17552" y="223390"/>
                    <a:pt x="0" y="205838"/>
                    <a:pt x="0" y="184250"/>
                  </a:cubicBezTo>
                  <a:lnTo>
                    <a:pt x="0" y="39140"/>
                  </a:lnTo>
                  <a:cubicBezTo>
                    <a:pt x="0" y="17552"/>
                    <a:pt x="17552" y="0"/>
                    <a:pt x="39140" y="0"/>
                  </a:cubicBezTo>
                  <a:lnTo>
                    <a:pt x="155153" y="0"/>
                  </a:lnTo>
                  <a:cubicBezTo>
                    <a:pt x="158907" y="0"/>
                    <a:pt x="161911" y="3004"/>
                    <a:pt x="161911" y="6758"/>
                  </a:cubicBezTo>
                  <a:cubicBezTo>
                    <a:pt x="161911" y="10512"/>
                    <a:pt x="158907" y="13516"/>
                    <a:pt x="155153" y="13516"/>
                  </a:cubicBezTo>
                  <a:lnTo>
                    <a:pt x="39140" y="13516"/>
                  </a:lnTo>
                  <a:cubicBezTo>
                    <a:pt x="25061" y="13516"/>
                    <a:pt x="13610" y="24967"/>
                    <a:pt x="13610" y="39046"/>
                  </a:cubicBezTo>
                  <a:lnTo>
                    <a:pt x="13610" y="184156"/>
                  </a:lnTo>
                  <a:cubicBezTo>
                    <a:pt x="13610" y="198235"/>
                    <a:pt x="25061" y="209686"/>
                    <a:pt x="39140" y="209686"/>
                  </a:cubicBezTo>
                  <a:lnTo>
                    <a:pt x="60822" y="209686"/>
                  </a:lnTo>
                  <a:cubicBezTo>
                    <a:pt x="64577" y="209686"/>
                    <a:pt x="67580" y="212690"/>
                    <a:pt x="67580" y="216444"/>
                  </a:cubicBezTo>
                  <a:lnTo>
                    <a:pt x="67580" y="248170"/>
                  </a:lnTo>
                  <a:cubicBezTo>
                    <a:pt x="67580" y="248357"/>
                    <a:pt x="67580" y="248733"/>
                    <a:pt x="68143" y="249014"/>
                  </a:cubicBezTo>
                  <a:cubicBezTo>
                    <a:pt x="68707" y="249202"/>
                    <a:pt x="68989" y="248920"/>
                    <a:pt x="69082" y="248827"/>
                  </a:cubicBezTo>
                  <a:lnTo>
                    <a:pt x="106157" y="211751"/>
                  </a:lnTo>
                  <a:cubicBezTo>
                    <a:pt x="107471" y="210437"/>
                    <a:pt x="109161" y="209780"/>
                    <a:pt x="110944" y="209780"/>
                  </a:cubicBezTo>
                  <a:lnTo>
                    <a:pt x="280083" y="209780"/>
                  </a:lnTo>
                  <a:cubicBezTo>
                    <a:pt x="294162" y="209780"/>
                    <a:pt x="305613" y="198329"/>
                    <a:pt x="305613" y="184250"/>
                  </a:cubicBezTo>
                  <a:lnTo>
                    <a:pt x="305613" y="131406"/>
                  </a:lnTo>
                  <a:cubicBezTo>
                    <a:pt x="305613" y="127652"/>
                    <a:pt x="308616" y="124648"/>
                    <a:pt x="312371" y="124648"/>
                  </a:cubicBezTo>
                  <a:cubicBezTo>
                    <a:pt x="316125" y="124648"/>
                    <a:pt x="319129" y="127652"/>
                    <a:pt x="319129" y="131406"/>
                  </a:cubicBezTo>
                  <a:lnTo>
                    <a:pt x="319129" y="184250"/>
                  </a:lnTo>
                  <a:cubicBezTo>
                    <a:pt x="319129" y="205838"/>
                    <a:pt x="301577" y="223390"/>
                    <a:pt x="279989" y="223390"/>
                  </a:cubicBezTo>
                  <a:lnTo>
                    <a:pt x="113666" y="223390"/>
                  </a:lnTo>
                  <a:lnTo>
                    <a:pt x="78562" y="258495"/>
                  </a:lnTo>
                  <a:cubicBezTo>
                    <a:pt x="75934" y="261216"/>
                    <a:pt x="72179" y="262718"/>
                    <a:pt x="68425" y="262718"/>
                  </a:cubicBezTo>
                  <a:close/>
                </a:path>
              </a:pathLst>
            </a:custGeom>
            <a:grpFill/>
            <a:ln w="9381"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11" name="Рисунок 1">
            <a:extLst>
              <a:ext uri="{FF2B5EF4-FFF2-40B4-BE49-F238E27FC236}">
                <a16:creationId xmlns:a16="http://schemas.microsoft.com/office/drawing/2014/main" id="{22E71D85-8707-4272-8A3B-1F3B2C846721}"/>
              </a:ext>
            </a:extLst>
          </p:cNvPr>
          <p:cNvGrpSpPr/>
          <p:nvPr/>
        </p:nvGrpSpPr>
        <p:grpSpPr>
          <a:xfrm>
            <a:off x="10132758" y="5931606"/>
            <a:ext cx="135510" cy="135534"/>
            <a:chOff x="646752" y="3850915"/>
            <a:chExt cx="402382" cy="402453"/>
          </a:xfrm>
          <a:solidFill>
            <a:schemeClr val="accent3"/>
          </a:solidFill>
          <a:effectLst/>
        </p:grpSpPr>
        <p:grpSp>
          <p:nvGrpSpPr>
            <p:cNvPr id="612" name="Рисунок 1">
              <a:extLst>
                <a:ext uri="{FF2B5EF4-FFF2-40B4-BE49-F238E27FC236}">
                  <a16:creationId xmlns:a16="http://schemas.microsoft.com/office/drawing/2014/main" id="{A8392BEF-87FB-4E38-B2E6-3D4AE4C98071}"/>
                </a:ext>
              </a:extLst>
            </p:cNvPr>
            <p:cNvGrpSpPr/>
            <p:nvPr/>
          </p:nvGrpSpPr>
          <p:grpSpPr>
            <a:xfrm>
              <a:off x="646752" y="3851930"/>
              <a:ext cx="402382" cy="400305"/>
              <a:chOff x="646752" y="3851930"/>
              <a:chExt cx="402382" cy="400305"/>
            </a:xfrm>
            <a:grpFill/>
          </p:grpSpPr>
          <p:sp>
            <p:nvSpPr>
              <p:cNvPr id="614" name="Полилиния: фигура 613">
                <a:extLst>
                  <a:ext uri="{FF2B5EF4-FFF2-40B4-BE49-F238E27FC236}">
                    <a16:creationId xmlns:a16="http://schemas.microsoft.com/office/drawing/2014/main" id="{79EEDDE8-4B13-4801-8D08-2FCC05DC4EFA}"/>
                  </a:ext>
                </a:extLst>
              </p:cNvPr>
              <p:cNvSpPr/>
              <p:nvPr/>
            </p:nvSpPr>
            <p:spPr>
              <a:xfrm>
                <a:off x="646752" y="3851930"/>
                <a:ext cx="207967" cy="206341"/>
              </a:xfrm>
              <a:custGeom>
                <a:avLst/>
                <a:gdLst>
                  <a:gd name="connsiteX0" fmla="*/ 157070 w 207967"/>
                  <a:gd name="connsiteY0" fmla="*/ 206342 h 206341"/>
                  <a:gd name="connsiteX1" fmla="*/ 152445 w 207967"/>
                  <a:gd name="connsiteY1" fmla="*/ 204454 h 206341"/>
                  <a:gd name="connsiteX2" fmla="*/ 88073 w 207967"/>
                  <a:gd name="connsiteY2" fmla="*/ 139894 h 206341"/>
                  <a:gd name="connsiteX3" fmla="*/ 83448 w 207967"/>
                  <a:gd name="connsiteY3" fmla="*/ 138667 h 206341"/>
                  <a:gd name="connsiteX4" fmla="*/ 38803 w 207967"/>
                  <a:gd name="connsiteY4" fmla="*/ 137156 h 206341"/>
                  <a:gd name="connsiteX5" fmla="*/ 2087 w 207967"/>
                  <a:gd name="connsiteY5" fmla="*/ 88264 h 206341"/>
                  <a:gd name="connsiteX6" fmla="*/ 8033 w 207967"/>
                  <a:gd name="connsiteY6" fmla="*/ 43619 h 206341"/>
                  <a:gd name="connsiteX7" fmla="*/ 17944 w 207967"/>
                  <a:gd name="connsiteY7" fmla="*/ 35880 h 206341"/>
                  <a:gd name="connsiteX8" fmla="*/ 18038 w 207967"/>
                  <a:gd name="connsiteY8" fmla="*/ 35880 h 206341"/>
                  <a:gd name="connsiteX9" fmla="*/ 27855 w 207967"/>
                  <a:gd name="connsiteY9" fmla="*/ 43148 h 206341"/>
                  <a:gd name="connsiteX10" fmla="*/ 30403 w 207967"/>
                  <a:gd name="connsiteY10" fmla="*/ 47489 h 206341"/>
                  <a:gd name="connsiteX11" fmla="*/ 58625 w 207967"/>
                  <a:gd name="connsiteY11" fmla="*/ 76560 h 206341"/>
                  <a:gd name="connsiteX12" fmla="*/ 78823 w 207967"/>
                  <a:gd name="connsiteY12" fmla="*/ 69387 h 206341"/>
                  <a:gd name="connsiteX13" fmla="*/ 88356 w 207967"/>
                  <a:gd name="connsiteY13" fmla="*/ 54663 h 206341"/>
                  <a:gd name="connsiteX14" fmla="*/ 73632 w 207967"/>
                  <a:gd name="connsiteY14" fmla="*/ 27385 h 206341"/>
                  <a:gd name="connsiteX15" fmla="*/ 65704 w 207967"/>
                  <a:gd name="connsiteY15" fmla="*/ 17286 h 206341"/>
                  <a:gd name="connsiteX16" fmla="*/ 64193 w 207967"/>
                  <a:gd name="connsiteY16" fmla="*/ 7281 h 206341"/>
                  <a:gd name="connsiteX17" fmla="*/ 71933 w 207967"/>
                  <a:gd name="connsiteY17" fmla="*/ 1617 h 206341"/>
                  <a:gd name="connsiteX18" fmla="*/ 116295 w 207967"/>
                  <a:gd name="connsiteY18" fmla="*/ 8885 h 206341"/>
                  <a:gd name="connsiteX19" fmla="*/ 139891 w 207967"/>
                  <a:gd name="connsiteY19" fmla="*/ 83356 h 206341"/>
                  <a:gd name="connsiteX20" fmla="*/ 139514 w 207967"/>
                  <a:gd name="connsiteY20" fmla="*/ 84772 h 206341"/>
                  <a:gd name="connsiteX21" fmla="*/ 140646 w 207967"/>
                  <a:gd name="connsiteY21" fmla="*/ 86188 h 206341"/>
                  <a:gd name="connsiteX22" fmla="*/ 206056 w 207967"/>
                  <a:gd name="connsiteY22" fmla="*/ 151503 h 206341"/>
                  <a:gd name="connsiteX23" fmla="*/ 206056 w 207967"/>
                  <a:gd name="connsiteY23" fmla="*/ 160847 h 206341"/>
                  <a:gd name="connsiteX24" fmla="*/ 196712 w 207967"/>
                  <a:gd name="connsiteY24" fmla="*/ 160847 h 206341"/>
                  <a:gd name="connsiteX25" fmla="*/ 131302 w 207967"/>
                  <a:gd name="connsiteY25" fmla="*/ 95532 h 206341"/>
                  <a:gd name="connsiteX26" fmla="*/ 127810 w 207967"/>
                  <a:gd name="connsiteY26" fmla="*/ 77976 h 206341"/>
                  <a:gd name="connsiteX27" fmla="*/ 109027 w 207967"/>
                  <a:gd name="connsiteY27" fmla="*/ 19740 h 206341"/>
                  <a:gd name="connsiteX28" fmla="*/ 79578 w 207967"/>
                  <a:gd name="connsiteY28" fmla="*/ 13510 h 206341"/>
                  <a:gd name="connsiteX29" fmla="*/ 83826 w 207967"/>
                  <a:gd name="connsiteY29" fmla="*/ 18513 h 206341"/>
                  <a:gd name="connsiteX30" fmla="*/ 101759 w 207967"/>
                  <a:gd name="connsiteY30" fmla="*/ 55512 h 206341"/>
                  <a:gd name="connsiteX31" fmla="*/ 87507 w 207967"/>
                  <a:gd name="connsiteY31" fmla="*/ 79297 h 206341"/>
                  <a:gd name="connsiteX32" fmla="*/ 56548 w 207967"/>
                  <a:gd name="connsiteY32" fmla="*/ 89208 h 206341"/>
                  <a:gd name="connsiteX33" fmla="*/ 19265 w 207967"/>
                  <a:gd name="connsiteY33" fmla="*/ 53624 h 206341"/>
                  <a:gd name="connsiteX34" fmla="*/ 18416 w 207967"/>
                  <a:gd name="connsiteY34" fmla="*/ 52114 h 206341"/>
                  <a:gd name="connsiteX35" fmla="*/ 15207 w 207967"/>
                  <a:gd name="connsiteY35" fmla="*/ 84678 h 206341"/>
                  <a:gd name="connsiteX36" fmla="*/ 44939 w 207967"/>
                  <a:gd name="connsiteY36" fmla="*/ 124886 h 206341"/>
                  <a:gd name="connsiteX37" fmla="*/ 78635 w 207967"/>
                  <a:gd name="connsiteY37" fmla="*/ 126113 h 206341"/>
                  <a:gd name="connsiteX38" fmla="*/ 97795 w 207967"/>
                  <a:gd name="connsiteY38" fmla="*/ 130172 h 206341"/>
                  <a:gd name="connsiteX39" fmla="*/ 162167 w 207967"/>
                  <a:gd name="connsiteY39" fmla="*/ 194732 h 206341"/>
                  <a:gd name="connsiteX40" fmla="*/ 162167 w 207967"/>
                  <a:gd name="connsiteY40" fmla="*/ 204076 h 206341"/>
                  <a:gd name="connsiteX41" fmla="*/ 157070 w 207967"/>
                  <a:gd name="connsiteY41" fmla="*/ 206342 h 20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07967" h="206341">
                    <a:moveTo>
                      <a:pt x="157070" y="206342"/>
                    </a:moveTo>
                    <a:cubicBezTo>
                      <a:pt x="155371" y="206342"/>
                      <a:pt x="153672" y="205681"/>
                      <a:pt x="152445" y="204454"/>
                    </a:cubicBezTo>
                    <a:cubicBezTo>
                      <a:pt x="130925" y="182934"/>
                      <a:pt x="109499" y="161414"/>
                      <a:pt x="88073" y="139894"/>
                    </a:cubicBezTo>
                    <a:cubicBezTo>
                      <a:pt x="85808" y="137628"/>
                      <a:pt x="85525" y="137817"/>
                      <a:pt x="83448" y="138667"/>
                    </a:cubicBezTo>
                    <a:cubicBezTo>
                      <a:pt x="69479" y="144613"/>
                      <a:pt x="52773" y="144047"/>
                      <a:pt x="38803" y="137156"/>
                    </a:cubicBezTo>
                    <a:cubicBezTo>
                      <a:pt x="20021" y="127906"/>
                      <a:pt x="8033" y="111955"/>
                      <a:pt x="2087" y="88264"/>
                    </a:cubicBezTo>
                    <a:cubicBezTo>
                      <a:pt x="-2066" y="71841"/>
                      <a:pt x="11" y="56833"/>
                      <a:pt x="8033" y="43619"/>
                    </a:cubicBezTo>
                    <a:cubicBezTo>
                      <a:pt x="9921" y="40505"/>
                      <a:pt x="12753" y="35880"/>
                      <a:pt x="17944" y="35880"/>
                    </a:cubicBezTo>
                    <a:cubicBezTo>
                      <a:pt x="17944" y="35880"/>
                      <a:pt x="18038" y="35880"/>
                      <a:pt x="18038" y="35880"/>
                    </a:cubicBezTo>
                    <a:cubicBezTo>
                      <a:pt x="23230" y="35880"/>
                      <a:pt x="26156" y="40410"/>
                      <a:pt x="27855" y="43148"/>
                    </a:cubicBezTo>
                    <a:cubicBezTo>
                      <a:pt x="28515" y="44186"/>
                      <a:pt x="29365" y="45696"/>
                      <a:pt x="30403" y="47489"/>
                    </a:cubicBezTo>
                    <a:cubicBezTo>
                      <a:pt x="35217" y="56078"/>
                      <a:pt x="45316" y="74106"/>
                      <a:pt x="58625" y="76560"/>
                    </a:cubicBezTo>
                    <a:cubicBezTo>
                      <a:pt x="64948" y="77693"/>
                      <a:pt x="71556" y="75428"/>
                      <a:pt x="78823" y="69387"/>
                    </a:cubicBezTo>
                    <a:cubicBezTo>
                      <a:pt x="84770" y="64479"/>
                      <a:pt x="87884" y="59665"/>
                      <a:pt x="88356" y="54663"/>
                    </a:cubicBezTo>
                    <a:cubicBezTo>
                      <a:pt x="89111" y="45413"/>
                      <a:pt x="80522" y="35408"/>
                      <a:pt x="73632" y="27385"/>
                    </a:cubicBezTo>
                    <a:cubicBezTo>
                      <a:pt x="70612" y="23798"/>
                      <a:pt x="67686" y="20495"/>
                      <a:pt x="65704" y="17286"/>
                    </a:cubicBezTo>
                    <a:cubicBezTo>
                      <a:pt x="63438" y="13699"/>
                      <a:pt x="62872" y="10301"/>
                      <a:pt x="64193" y="7281"/>
                    </a:cubicBezTo>
                    <a:cubicBezTo>
                      <a:pt x="65043" y="5204"/>
                      <a:pt x="67119" y="2656"/>
                      <a:pt x="71933" y="1617"/>
                    </a:cubicBezTo>
                    <a:cubicBezTo>
                      <a:pt x="89111" y="-1969"/>
                      <a:pt x="103553" y="390"/>
                      <a:pt x="116295" y="8885"/>
                    </a:cubicBezTo>
                    <a:cubicBezTo>
                      <a:pt x="140363" y="25025"/>
                      <a:pt x="150840" y="58438"/>
                      <a:pt x="139891" y="83356"/>
                    </a:cubicBezTo>
                    <a:cubicBezTo>
                      <a:pt x="139419" y="84394"/>
                      <a:pt x="139514" y="84772"/>
                      <a:pt x="139514" y="84772"/>
                    </a:cubicBezTo>
                    <a:cubicBezTo>
                      <a:pt x="139514" y="84772"/>
                      <a:pt x="139608" y="85244"/>
                      <a:pt x="140646" y="86188"/>
                    </a:cubicBezTo>
                    <a:cubicBezTo>
                      <a:pt x="162450" y="107991"/>
                      <a:pt x="184253" y="129700"/>
                      <a:pt x="206056" y="151503"/>
                    </a:cubicBezTo>
                    <a:cubicBezTo>
                      <a:pt x="208605" y="154052"/>
                      <a:pt x="208605" y="158205"/>
                      <a:pt x="206056" y="160847"/>
                    </a:cubicBezTo>
                    <a:cubicBezTo>
                      <a:pt x="203508" y="163396"/>
                      <a:pt x="199355" y="163396"/>
                      <a:pt x="196712" y="160847"/>
                    </a:cubicBezTo>
                    <a:cubicBezTo>
                      <a:pt x="174909" y="139044"/>
                      <a:pt x="153105" y="117335"/>
                      <a:pt x="131302" y="95532"/>
                    </a:cubicBezTo>
                    <a:cubicBezTo>
                      <a:pt x="126111" y="90435"/>
                      <a:pt x="124978" y="84489"/>
                      <a:pt x="127810" y="77976"/>
                    </a:cubicBezTo>
                    <a:cubicBezTo>
                      <a:pt x="136399" y="58627"/>
                      <a:pt x="127904" y="32482"/>
                      <a:pt x="109027" y="19740"/>
                    </a:cubicBezTo>
                    <a:cubicBezTo>
                      <a:pt x="100438" y="13982"/>
                      <a:pt x="90999" y="12000"/>
                      <a:pt x="79578" y="13510"/>
                    </a:cubicBezTo>
                    <a:cubicBezTo>
                      <a:pt x="80805" y="15115"/>
                      <a:pt x="82316" y="16814"/>
                      <a:pt x="83826" y="18513"/>
                    </a:cubicBezTo>
                    <a:cubicBezTo>
                      <a:pt x="92415" y="28423"/>
                      <a:pt x="102986" y="40788"/>
                      <a:pt x="101759" y="55512"/>
                    </a:cubicBezTo>
                    <a:cubicBezTo>
                      <a:pt x="101004" y="64101"/>
                      <a:pt x="96190" y="72124"/>
                      <a:pt x="87507" y="79297"/>
                    </a:cubicBezTo>
                    <a:cubicBezTo>
                      <a:pt x="77219" y="87792"/>
                      <a:pt x="66742" y="91096"/>
                      <a:pt x="56548" y="89208"/>
                    </a:cubicBezTo>
                    <a:cubicBezTo>
                      <a:pt x="37199" y="85621"/>
                      <a:pt x="25023" y="64007"/>
                      <a:pt x="19265" y="53624"/>
                    </a:cubicBezTo>
                    <a:cubicBezTo>
                      <a:pt x="18982" y="53058"/>
                      <a:pt x="18699" y="52586"/>
                      <a:pt x="18416" y="52114"/>
                    </a:cubicBezTo>
                    <a:cubicBezTo>
                      <a:pt x="13130" y="61836"/>
                      <a:pt x="12092" y="72502"/>
                      <a:pt x="15207" y="84678"/>
                    </a:cubicBezTo>
                    <a:cubicBezTo>
                      <a:pt x="20115" y="104310"/>
                      <a:pt x="29837" y="117524"/>
                      <a:pt x="44939" y="124886"/>
                    </a:cubicBezTo>
                    <a:cubicBezTo>
                      <a:pt x="55510" y="130077"/>
                      <a:pt x="68063" y="130549"/>
                      <a:pt x="78635" y="126113"/>
                    </a:cubicBezTo>
                    <a:cubicBezTo>
                      <a:pt x="88168" y="122054"/>
                      <a:pt x="94114" y="126491"/>
                      <a:pt x="97795" y="130172"/>
                    </a:cubicBezTo>
                    <a:cubicBezTo>
                      <a:pt x="119221" y="151692"/>
                      <a:pt x="140741" y="173212"/>
                      <a:pt x="162167" y="194732"/>
                    </a:cubicBezTo>
                    <a:cubicBezTo>
                      <a:pt x="164715" y="197281"/>
                      <a:pt x="164715" y="201528"/>
                      <a:pt x="162167" y="204076"/>
                    </a:cubicBezTo>
                    <a:cubicBezTo>
                      <a:pt x="160468" y="205681"/>
                      <a:pt x="158769" y="206342"/>
                      <a:pt x="157070" y="206342"/>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15" name="Полилиния: фигура 614">
                <a:extLst>
                  <a:ext uri="{FF2B5EF4-FFF2-40B4-BE49-F238E27FC236}">
                    <a16:creationId xmlns:a16="http://schemas.microsoft.com/office/drawing/2014/main" id="{48F04901-C4BE-4735-A50E-06E721B48493}"/>
                  </a:ext>
                </a:extLst>
              </p:cNvPr>
              <p:cNvSpPr/>
              <p:nvPr/>
            </p:nvSpPr>
            <p:spPr>
              <a:xfrm>
                <a:off x="841647" y="4045506"/>
                <a:ext cx="207487" cy="206729"/>
              </a:xfrm>
              <a:custGeom>
                <a:avLst/>
                <a:gdLst>
                  <a:gd name="connsiteX0" fmla="*/ 120649 w 207487"/>
                  <a:gd name="connsiteY0" fmla="*/ 206730 h 206729"/>
                  <a:gd name="connsiteX1" fmla="*/ 94693 w 207487"/>
                  <a:gd name="connsiteY1" fmla="*/ 199651 h 206729"/>
                  <a:gd name="connsiteX2" fmla="*/ 63357 w 207487"/>
                  <a:gd name="connsiteY2" fmla="*/ 142264 h 206729"/>
                  <a:gd name="connsiteX3" fmla="*/ 63546 w 207487"/>
                  <a:gd name="connsiteY3" fmla="*/ 140282 h 206729"/>
                  <a:gd name="connsiteX4" fmla="*/ 64301 w 207487"/>
                  <a:gd name="connsiteY4" fmla="*/ 137073 h 206729"/>
                  <a:gd name="connsiteX5" fmla="*/ 67887 w 207487"/>
                  <a:gd name="connsiteY5" fmla="*/ 123576 h 206729"/>
                  <a:gd name="connsiteX6" fmla="*/ 67416 w 207487"/>
                  <a:gd name="connsiteY6" fmla="*/ 120461 h 206729"/>
                  <a:gd name="connsiteX7" fmla="*/ 1911 w 207487"/>
                  <a:gd name="connsiteY7" fmla="*/ 55145 h 206729"/>
                  <a:gd name="connsiteX8" fmla="*/ 1911 w 207487"/>
                  <a:gd name="connsiteY8" fmla="*/ 45801 h 206729"/>
                  <a:gd name="connsiteX9" fmla="*/ 11256 w 207487"/>
                  <a:gd name="connsiteY9" fmla="*/ 45801 h 206729"/>
                  <a:gd name="connsiteX10" fmla="*/ 76665 w 207487"/>
                  <a:gd name="connsiteY10" fmla="*/ 111116 h 206729"/>
                  <a:gd name="connsiteX11" fmla="*/ 80441 w 207487"/>
                  <a:gd name="connsiteY11" fmla="*/ 127634 h 206729"/>
                  <a:gd name="connsiteX12" fmla="*/ 77137 w 207487"/>
                  <a:gd name="connsiteY12" fmla="*/ 139999 h 206729"/>
                  <a:gd name="connsiteX13" fmla="*/ 76571 w 207487"/>
                  <a:gd name="connsiteY13" fmla="*/ 142453 h 206729"/>
                  <a:gd name="connsiteX14" fmla="*/ 101583 w 207487"/>
                  <a:gd name="connsiteY14" fmla="*/ 188230 h 206729"/>
                  <a:gd name="connsiteX15" fmla="*/ 128672 w 207487"/>
                  <a:gd name="connsiteY15" fmla="*/ 192666 h 206729"/>
                  <a:gd name="connsiteX16" fmla="*/ 114137 w 207487"/>
                  <a:gd name="connsiteY16" fmla="*/ 169259 h 206729"/>
                  <a:gd name="connsiteX17" fmla="*/ 119611 w 207487"/>
                  <a:gd name="connsiteY17" fmla="*/ 131504 h 206729"/>
                  <a:gd name="connsiteX18" fmla="*/ 145001 w 207487"/>
                  <a:gd name="connsiteY18" fmla="*/ 117629 h 206729"/>
                  <a:gd name="connsiteX19" fmla="*/ 174355 w 207487"/>
                  <a:gd name="connsiteY19" fmla="*/ 130560 h 206729"/>
                  <a:gd name="connsiteX20" fmla="*/ 189552 w 207487"/>
                  <a:gd name="connsiteY20" fmla="*/ 154157 h 206729"/>
                  <a:gd name="connsiteX21" fmla="*/ 194271 w 207487"/>
                  <a:gd name="connsiteY21" fmla="*/ 137828 h 206729"/>
                  <a:gd name="connsiteX22" fmla="*/ 167182 w 207487"/>
                  <a:gd name="connsiteY22" fmla="*/ 83461 h 206729"/>
                  <a:gd name="connsiteX23" fmla="*/ 129333 w 207487"/>
                  <a:gd name="connsiteY23" fmla="*/ 79875 h 206729"/>
                  <a:gd name="connsiteX24" fmla="*/ 110456 w 207487"/>
                  <a:gd name="connsiteY24" fmla="*/ 76005 h 206729"/>
                  <a:gd name="connsiteX25" fmla="*/ 45895 w 207487"/>
                  <a:gd name="connsiteY25" fmla="*/ 11256 h 206729"/>
                  <a:gd name="connsiteX26" fmla="*/ 45895 w 207487"/>
                  <a:gd name="connsiteY26" fmla="*/ 1911 h 206729"/>
                  <a:gd name="connsiteX27" fmla="*/ 55240 w 207487"/>
                  <a:gd name="connsiteY27" fmla="*/ 1911 h 206729"/>
                  <a:gd name="connsiteX28" fmla="*/ 119800 w 207487"/>
                  <a:gd name="connsiteY28" fmla="*/ 66661 h 206729"/>
                  <a:gd name="connsiteX29" fmla="*/ 124236 w 207487"/>
                  <a:gd name="connsiteY29" fmla="*/ 67699 h 206729"/>
                  <a:gd name="connsiteX30" fmla="*/ 174450 w 207487"/>
                  <a:gd name="connsiteY30" fmla="*/ 72418 h 206729"/>
                  <a:gd name="connsiteX31" fmla="*/ 207485 w 207487"/>
                  <a:gd name="connsiteY31" fmla="*/ 137828 h 206729"/>
                  <a:gd name="connsiteX32" fmla="*/ 198235 w 207487"/>
                  <a:gd name="connsiteY32" fmla="*/ 164822 h 206729"/>
                  <a:gd name="connsiteX33" fmla="*/ 189268 w 207487"/>
                  <a:gd name="connsiteY33" fmla="*/ 170486 h 206729"/>
                  <a:gd name="connsiteX34" fmla="*/ 180679 w 207487"/>
                  <a:gd name="connsiteY34" fmla="*/ 164539 h 206729"/>
                  <a:gd name="connsiteX35" fmla="*/ 178886 w 207487"/>
                  <a:gd name="connsiteY35" fmla="*/ 161707 h 206729"/>
                  <a:gd name="connsiteX36" fmla="*/ 163312 w 207487"/>
                  <a:gd name="connsiteY36" fmla="*/ 137356 h 206729"/>
                  <a:gd name="connsiteX37" fmla="*/ 147833 w 207487"/>
                  <a:gd name="connsiteY37" fmla="*/ 130277 h 206729"/>
                  <a:gd name="connsiteX38" fmla="*/ 128578 w 207487"/>
                  <a:gd name="connsiteY38" fmla="*/ 141037 h 206729"/>
                  <a:gd name="connsiteX39" fmla="*/ 125463 w 207487"/>
                  <a:gd name="connsiteY39" fmla="*/ 162274 h 206729"/>
                  <a:gd name="connsiteX40" fmla="*/ 142264 w 207487"/>
                  <a:gd name="connsiteY40" fmla="*/ 189174 h 206729"/>
                  <a:gd name="connsiteX41" fmla="*/ 143680 w 207487"/>
                  <a:gd name="connsiteY41" fmla="*/ 198990 h 206729"/>
                  <a:gd name="connsiteX42" fmla="*/ 136129 w 207487"/>
                  <a:gd name="connsiteY42" fmla="*/ 204559 h 206729"/>
                  <a:gd name="connsiteX43" fmla="*/ 120649 w 207487"/>
                  <a:gd name="connsiteY43" fmla="*/ 206730 h 20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07487" h="206729">
                    <a:moveTo>
                      <a:pt x="120649" y="206730"/>
                    </a:moveTo>
                    <a:cubicBezTo>
                      <a:pt x="112532" y="206730"/>
                      <a:pt x="103471" y="205125"/>
                      <a:pt x="94693" y="199651"/>
                    </a:cubicBezTo>
                    <a:cubicBezTo>
                      <a:pt x="74872" y="187475"/>
                      <a:pt x="64584" y="168692"/>
                      <a:pt x="63357" y="142264"/>
                    </a:cubicBezTo>
                    <a:cubicBezTo>
                      <a:pt x="63357" y="141603"/>
                      <a:pt x="63357" y="140943"/>
                      <a:pt x="63546" y="140282"/>
                    </a:cubicBezTo>
                    <a:cubicBezTo>
                      <a:pt x="63734" y="139338"/>
                      <a:pt x="64018" y="138300"/>
                      <a:pt x="64301" y="137073"/>
                    </a:cubicBezTo>
                    <a:cubicBezTo>
                      <a:pt x="65150" y="133486"/>
                      <a:pt x="66283" y="128484"/>
                      <a:pt x="67887" y="123576"/>
                    </a:cubicBezTo>
                    <a:cubicBezTo>
                      <a:pt x="68548" y="121593"/>
                      <a:pt x="68548" y="121593"/>
                      <a:pt x="67416" y="120461"/>
                    </a:cubicBezTo>
                    <a:cubicBezTo>
                      <a:pt x="45612" y="98657"/>
                      <a:pt x="23715" y="76949"/>
                      <a:pt x="1911" y="55145"/>
                    </a:cubicBezTo>
                    <a:cubicBezTo>
                      <a:pt x="-637" y="52597"/>
                      <a:pt x="-637" y="48350"/>
                      <a:pt x="1911" y="45801"/>
                    </a:cubicBezTo>
                    <a:cubicBezTo>
                      <a:pt x="4460" y="43253"/>
                      <a:pt x="8707" y="43253"/>
                      <a:pt x="11256" y="45801"/>
                    </a:cubicBezTo>
                    <a:cubicBezTo>
                      <a:pt x="33059" y="67604"/>
                      <a:pt x="54862" y="89408"/>
                      <a:pt x="76665" y="111116"/>
                    </a:cubicBezTo>
                    <a:cubicBezTo>
                      <a:pt x="82801" y="117252"/>
                      <a:pt x="81762" y="123481"/>
                      <a:pt x="80441" y="127634"/>
                    </a:cubicBezTo>
                    <a:cubicBezTo>
                      <a:pt x="79025" y="131976"/>
                      <a:pt x="77987" y="136412"/>
                      <a:pt x="77137" y="139999"/>
                    </a:cubicBezTo>
                    <a:cubicBezTo>
                      <a:pt x="76949" y="140848"/>
                      <a:pt x="76760" y="141698"/>
                      <a:pt x="76571" y="142453"/>
                    </a:cubicBezTo>
                    <a:cubicBezTo>
                      <a:pt x="77798" y="164256"/>
                      <a:pt x="85538" y="178414"/>
                      <a:pt x="101583" y="188230"/>
                    </a:cubicBezTo>
                    <a:cubicBezTo>
                      <a:pt x="109134" y="192855"/>
                      <a:pt x="117535" y="194271"/>
                      <a:pt x="128672" y="192666"/>
                    </a:cubicBezTo>
                    <a:cubicBezTo>
                      <a:pt x="123104" y="183888"/>
                      <a:pt x="118479" y="176432"/>
                      <a:pt x="114137" y="169259"/>
                    </a:cubicBezTo>
                    <a:cubicBezTo>
                      <a:pt x="105453" y="154912"/>
                      <a:pt x="107152" y="142925"/>
                      <a:pt x="119611" y="131504"/>
                    </a:cubicBezTo>
                    <a:cubicBezTo>
                      <a:pt x="127728" y="124047"/>
                      <a:pt x="136034" y="119517"/>
                      <a:pt x="145001" y="117629"/>
                    </a:cubicBezTo>
                    <a:cubicBezTo>
                      <a:pt x="156139" y="115269"/>
                      <a:pt x="168031" y="120461"/>
                      <a:pt x="174355" y="130560"/>
                    </a:cubicBezTo>
                    <a:cubicBezTo>
                      <a:pt x="179358" y="138488"/>
                      <a:pt x="184455" y="146323"/>
                      <a:pt x="189552" y="154157"/>
                    </a:cubicBezTo>
                    <a:cubicBezTo>
                      <a:pt x="192666" y="148871"/>
                      <a:pt x="194177" y="143397"/>
                      <a:pt x="194271" y="137828"/>
                    </a:cubicBezTo>
                    <a:cubicBezTo>
                      <a:pt x="194365" y="113287"/>
                      <a:pt x="185587" y="95448"/>
                      <a:pt x="167182" y="83461"/>
                    </a:cubicBezTo>
                    <a:cubicBezTo>
                      <a:pt x="155101" y="75627"/>
                      <a:pt x="142358" y="74400"/>
                      <a:pt x="129333" y="79875"/>
                    </a:cubicBezTo>
                    <a:cubicBezTo>
                      <a:pt x="122160" y="82895"/>
                      <a:pt x="116119" y="81668"/>
                      <a:pt x="110456" y="76005"/>
                    </a:cubicBezTo>
                    <a:cubicBezTo>
                      <a:pt x="88936" y="54390"/>
                      <a:pt x="67416" y="32870"/>
                      <a:pt x="45895" y="11256"/>
                    </a:cubicBezTo>
                    <a:cubicBezTo>
                      <a:pt x="43347" y="8707"/>
                      <a:pt x="43347" y="4460"/>
                      <a:pt x="45895" y="1911"/>
                    </a:cubicBezTo>
                    <a:cubicBezTo>
                      <a:pt x="48444" y="-637"/>
                      <a:pt x="52597" y="-637"/>
                      <a:pt x="55240" y="1911"/>
                    </a:cubicBezTo>
                    <a:cubicBezTo>
                      <a:pt x="76760" y="23431"/>
                      <a:pt x="98280" y="45046"/>
                      <a:pt x="119800" y="66661"/>
                    </a:cubicBezTo>
                    <a:cubicBezTo>
                      <a:pt x="121876" y="68737"/>
                      <a:pt x="122160" y="68643"/>
                      <a:pt x="124236" y="67699"/>
                    </a:cubicBezTo>
                    <a:cubicBezTo>
                      <a:pt x="141320" y="60525"/>
                      <a:pt x="158687" y="62130"/>
                      <a:pt x="174450" y="72418"/>
                    </a:cubicBezTo>
                    <a:cubicBezTo>
                      <a:pt x="196536" y="86859"/>
                      <a:pt x="207674" y="108851"/>
                      <a:pt x="207485" y="137828"/>
                    </a:cubicBezTo>
                    <a:cubicBezTo>
                      <a:pt x="207391" y="147172"/>
                      <a:pt x="204276" y="156516"/>
                      <a:pt x="198235" y="164822"/>
                    </a:cubicBezTo>
                    <a:cubicBezTo>
                      <a:pt x="197008" y="166521"/>
                      <a:pt x="194082" y="170580"/>
                      <a:pt x="189268" y="170486"/>
                    </a:cubicBezTo>
                    <a:cubicBezTo>
                      <a:pt x="184455" y="170391"/>
                      <a:pt x="181812" y="166238"/>
                      <a:pt x="180679" y="164539"/>
                    </a:cubicBezTo>
                    <a:lnTo>
                      <a:pt x="178886" y="161707"/>
                    </a:lnTo>
                    <a:cubicBezTo>
                      <a:pt x="173695" y="153590"/>
                      <a:pt x="168409" y="145567"/>
                      <a:pt x="163312" y="137356"/>
                    </a:cubicBezTo>
                    <a:cubicBezTo>
                      <a:pt x="159820" y="131882"/>
                      <a:pt x="153590" y="129050"/>
                      <a:pt x="147833" y="130277"/>
                    </a:cubicBezTo>
                    <a:cubicBezTo>
                      <a:pt x="141131" y="131693"/>
                      <a:pt x="134996" y="135091"/>
                      <a:pt x="128578" y="141037"/>
                    </a:cubicBezTo>
                    <a:cubicBezTo>
                      <a:pt x="120649" y="148210"/>
                      <a:pt x="119989" y="153213"/>
                      <a:pt x="125463" y="162274"/>
                    </a:cubicBezTo>
                    <a:cubicBezTo>
                      <a:pt x="130371" y="170391"/>
                      <a:pt x="135751" y="178980"/>
                      <a:pt x="142264" y="189174"/>
                    </a:cubicBezTo>
                    <a:cubicBezTo>
                      <a:pt x="145001" y="193516"/>
                      <a:pt x="144529" y="196914"/>
                      <a:pt x="143680" y="198990"/>
                    </a:cubicBezTo>
                    <a:cubicBezTo>
                      <a:pt x="142830" y="200972"/>
                      <a:pt x="140848" y="203615"/>
                      <a:pt x="136129" y="204559"/>
                    </a:cubicBezTo>
                    <a:cubicBezTo>
                      <a:pt x="131693" y="205881"/>
                      <a:pt x="126407" y="206730"/>
                      <a:pt x="120649" y="206730"/>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sp>
          <p:nvSpPr>
            <p:cNvPr id="613" name="Полилиния: фигура 612">
              <a:extLst>
                <a:ext uri="{FF2B5EF4-FFF2-40B4-BE49-F238E27FC236}">
                  <a16:creationId xmlns:a16="http://schemas.microsoft.com/office/drawing/2014/main" id="{1D3A3FF7-E546-4807-A231-E06F6E1D0898}"/>
                </a:ext>
              </a:extLst>
            </p:cNvPr>
            <p:cNvSpPr/>
            <p:nvPr/>
          </p:nvSpPr>
          <p:spPr>
            <a:xfrm>
              <a:off x="647660" y="3850915"/>
              <a:ext cx="400446" cy="402453"/>
            </a:xfrm>
            <a:custGeom>
              <a:avLst/>
              <a:gdLst>
                <a:gd name="connsiteX0" fmla="*/ 69232 w 400446"/>
                <a:gd name="connsiteY0" fmla="*/ 402454 h 402453"/>
                <a:gd name="connsiteX1" fmla="*/ 68571 w 400446"/>
                <a:gd name="connsiteY1" fmla="*/ 402454 h 402453"/>
                <a:gd name="connsiteX2" fmla="*/ 41482 w 400446"/>
                <a:gd name="connsiteY2" fmla="*/ 393298 h 402453"/>
                <a:gd name="connsiteX3" fmla="*/ 35819 w 400446"/>
                <a:gd name="connsiteY3" fmla="*/ 384332 h 402453"/>
                <a:gd name="connsiteX4" fmla="*/ 41765 w 400446"/>
                <a:gd name="connsiteY4" fmla="*/ 375743 h 402453"/>
                <a:gd name="connsiteX5" fmla="*/ 44786 w 400446"/>
                <a:gd name="connsiteY5" fmla="*/ 373760 h 402453"/>
                <a:gd name="connsiteX6" fmla="*/ 68949 w 400446"/>
                <a:gd name="connsiteY6" fmla="*/ 358281 h 402453"/>
                <a:gd name="connsiteX7" fmla="*/ 76028 w 400446"/>
                <a:gd name="connsiteY7" fmla="*/ 342802 h 402453"/>
                <a:gd name="connsiteX8" fmla="*/ 65268 w 400446"/>
                <a:gd name="connsiteY8" fmla="*/ 323547 h 402453"/>
                <a:gd name="connsiteX9" fmla="*/ 44031 w 400446"/>
                <a:gd name="connsiteY9" fmla="*/ 320432 h 402453"/>
                <a:gd name="connsiteX10" fmla="*/ 17130 w 400446"/>
                <a:gd name="connsiteY10" fmla="*/ 337233 h 402453"/>
                <a:gd name="connsiteX11" fmla="*/ 7314 w 400446"/>
                <a:gd name="connsiteY11" fmla="*/ 338649 h 402453"/>
                <a:gd name="connsiteX12" fmla="*/ 1745 w 400446"/>
                <a:gd name="connsiteY12" fmla="*/ 331098 h 402453"/>
                <a:gd name="connsiteX13" fmla="*/ 7031 w 400446"/>
                <a:gd name="connsiteY13" fmla="*/ 289662 h 402453"/>
                <a:gd name="connsiteX14" fmla="*/ 64418 w 400446"/>
                <a:gd name="connsiteY14" fmla="*/ 258326 h 402453"/>
                <a:gd name="connsiteX15" fmla="*/ 66400 w 400446"/>
                <a:gd name="connsiteY15" fmla="*/ 258515 h 402453"/>
                <a:gd name="connsiteX16" fmla="*/ 69609 w 400446"/>
                <a:gd name="connsiteY16" fmla="*/ 259269 h 402453"/>
                <a:gd name="connsiteX17" fmla="*/ 83107 w 400446"/>
                <a:gd name="connsiteY17" fmla="*/ 262856 h 402453"/>
                <a:gd name="connsiteX18" fmla="*/ 86221 w 400446"/>
                <a:gd name="connsiteY18" fmla="*/ 262384 h 402453"/>
                <a:gd name="connsiteX19" fmla="*/ 260553 w 400446"/>
                <a:gd name="connsiteY19" fmla="*/ 88053 h 402453"/>
                <a:gd name="connsiteX20" fmla="*/ 261780 w 400446"/>
                <a:gd name="connsiteY20" fmla="*/ 83428 h 402453"/>
                <a:gd name="connsiteX21" fmla="*/ 263290 w 400446"/>
                <a:gd name="connsiteY21" fmla="*/ 38783 h 402453"/>
                <a:gd name="connsiteX22" fmla="*/ 312182 w 400446"/>
                <a:gd name="connsiteY22" fmla="*/ 2067 h 402453"/>
                <a:gd name="connsiteX23" fmla="*/ 356827 w 400446"/>
                <a:gd name="connsiteY23" fmla="*/ 8013 h 402453"/>
                <a:gd name="connsiteX24" fmla="*/ 364567 w 400446"/>
                <a:gd name="connsiteY24" fmla="*/ 17923 h 402453"/>
                <a:gd name="connsiteX25" fmla="*/ 357299 w 400446"/>
                <a:gd name="connsiteY25" fmla="*/ 27928 h 402453"/>
                <a:gd name="connsiteX26" fmla="*/ 352957 w 400446"/>
                <a:gd name="connsiteY26" fmla="*/ 30477 h 402453"/>
                <a:gd name="connsiteX27" fmla="*/ 323886 w 400446"/>
                <a:gd name="connsiteY27" fmla="*/ 58698 h 402453"/>
                <a:gd name="connsiteX28" fmla="*/ 331060 w 400446"/>
                <a:gd name="connsiteY28" fmla="*/ 78897 h 402453"/>
                <a:gd name="connsiteX29" fmla="*/ 345784 w 400446"/>
                <a:gd name="connsiteY29" fmla="*/ 88430 h 402453"/>
                <a:gd name="connsiteX30" fmla="*/ 373062 w 400446"/>
                <a:gd name="connsiteY30" fmla="*/ 73706 h 402453"/>
                <a:gd name="connsiteX31" fmla="*/ 383161 w 400446"/>
                <a:gd name="connsiteY31" fmla="*/ 65777 h 402453"/>
                <a:gd name="connsiteX32" fmla="*/ 393166 w 400446"/>
                <a:gd name="connsiteY32" fmla="*/ 64267 h 402453"/>
                <a:gd name="connsiteX33" fmla="*/ 398829 w 400446"/>
                <a:gd name="connsiteY33" fmla="*/ 72007 h 402453"/>
                <a:gd name="connsiteX34" fmla="*/ 391561 w 400446"/>
                <a:gd name="connsiteY34" fmla="*/ 116369 h 402453"/>
                <a:gd name="connsiteX35" fmla="*/ 317091 w 400446"/>
                <a:gd name="connsiteY35" fmla="*/ 139965 h 402453"/>
                <a:gd name="connsiteX36" fmla="*/ 315675 w 400446"/>
                <a:gd name="connsiteY36" fmla="*/ 139493 h 402453"/>
                <a:gd name="connsiteX37" fmla="*/ 314259 w 400446"/>
                <a:gd name="connsiteY37" fmla="*/ 140626 h 402453"/>
                <a:gd name="connsiteX38" fmla="*/ 139927 w 400446"/>
                <a:gd name="connsiteY38" fmla="*/ 314958 h 402453"/>
                <a:gd name="connsiteX39" fmla="*/ 138889 w 400446"/>
                <a:gd name="connsiteY39" fmla="*/ 319394 h 402453"/>
                <a:gd name="connsiteX40" fmla="*/ 134170 w 400446"/>
                <a:gd name="connsiteY40" fmla="*/ 369607 h 402453"/>
                <a:gd name="connsiteX41" fmla="*/ 69232 w 400446"/>
                <a:gd name="connsiteY41" fmla="*/ 402454 h 402453"/>
                <a:gd name="connsiteX42" fmla="*/ 52337 w 400446"/>
                <a:gd name="connsiteY42" fmla="*/ 384520 h 402453"/>
                <a:gd name="connsiteX43" fmla="*/ 68665 w 400446"/>
                <a:gd name="connsiteY43" fmla="*/ 389240 h 402453"/>
                <a:gd name="connsiteX44" fmla="*/ 69232 w 400446"/>
                <a:gd name="connsiteY44" fmla="*/ 389240 h 402453"/>
                <a:gd name="connsiteX45" fmla="*/ 123032 w 400446"/>
                <a:gd name="connsiteY45" fmla="*/ 362151 h 402453"/>
                <a:gd name="connsiteX46" fmla="*/ 126619 w 400446"/>
                <a:gd name="connsiteY46" fmla="*/ 324302 h 402453"/>
                <a:gd name="connsiteX47" fmla="*/ 130489 w 400446"/>
                <a:gd name="connsiteY47" fmla="*/ 305425 h 402453"/>
                <a:gd name="connsiteX48" fmla="*/ 304820 w 400446"/>
                <a:gd name="connsiteY48" fmla="*/ 131093 h 402453"/>
                <a:gd name="connsiteX49" fmla="*/ 322376 w 400446"/>
                <a:gd name="connsiteY49" fmla="*/ 127601 h 402453"/>
                <a:gd name="connsiteX50" fmla="*/ 380518 w 400446"/>
                <a:gd name="connsiteY50" fmla="*/ 108723 h 402453"/>
                <a:gd name="connsiteX51" fmla="*/ 386748 w 400446"/>
                <a:gd name="connsiteY51" fmla="*/ 79275 h 402453"/>
                <a:gd name="connsiteX52" fmla="*/ 381745 w 400446"/>
                <a:gd name="connsiteY52" fmla="*/ 83522 h 402453"/>
                <a:gd name="connsiteX53" fmla="*/ 344746 w 400446"/>
                <a:gd name="connsiteY53" fmla="*/ 101455 h 402453"/>
                <a:gd name="connsiteX54" fmla="*/ 320960 w 400446"/>
                <a:gd name="connsiteY54" fmla="*/ 87203 h 402453"/>
                <a:gd name="connsiteX55" fmla="*/ 311050 w 400446"/>
                <a:gd name="connsiteY55" fmla="*/ 56244 h 402453"/>
                <a:gd name="connsiteX56" fmla="*/ 346634 w 400446"/>
                <a:gd name="connsiteY56" fmla="*/ 18962 h 402453"/>
                <a:gd name="connsiteX57" fmla="*/ 348144 w 400446"/>
                <a:gd name="connsiteY57" fmla="*/ 18112 h 402453"/>
                <a:gd name="connsiteX58" fmla="*/ 315580 w 400446"/>
                <a:gd name="connsiteY58" fmla="*/ 14903 h 402453"/>
                <a:gd name="connsiteX59" fmla="*/ 275372 w 400446"/>
                <a:gd name="connsiteY59" fmla="*/ 44635 h 402453"/>
                <a:gd name="connsiteX60" fmla="*/ 274145 w 400446"/>
                <a:gd name="connsiteY60" fmla="*/ 78331 h 402453"/>
                <a:gd name="connsiteX61" fmla="*/ 270086 w 400446"/>
                <a:gd name="connsiteY61" fmla="*/ 97491 h 402453"/>
                <a:gd name="connsiteX62" fmla="*/ 95754 w 400446"/>
                <a:gd name="connsiteY62" fmla="*/ 271729 h 402453"/>
                <a:gd name="connsiteX63" fmla="*/ 79237 w 400446"/>
                <a:gd name="connsiteY63" fmla="*/ 275504 h 402453"/>
                <a:gd name="connsiteX64" fmla="*/ 66872 w 400446"/>
                <a:gd name="connsiteY64" fmla="*/ 272201 h 402453"/>
                <a:gd name="connsiteX65" fmla="*/ 64418 w 400446"/>
                <a:gd name="connsiteY65" fmla="*/ 271634 h 402453"/>
                <a:gd name="connsiteX66" fmla="*/ 18641 w 400446"/>
                <a:gd name="connsiteY66" fmla="*/ 296647 h 402453"/>
                <a:gd name="connsiteX67" fmla="*/ 14204 w 400446"/>
                <a:gd name="connsiteY67" fmla="*/ 323736 h 402453"/>
                <a:gd name="connsiteX68" fmla="*/ 37612 w 400446"/>
                <a:gd name="connsiteY68" fmla="*/ 309200 h 402453"/>
                <a:gd name="connsiteX69" fmla="*/ 75367 w 400446"/>
                <a:gd name="connsiteY69" fmla="*/ 314675 h 402453"/>
                <a:gd name="connsiteX70" fmla="*/ 89242 w 400446"/>
                <a:gd name="connsiteY70" fmla="*/ 340064 h 402453"/>
                <a:gd name="connsiteX71" fmla="*/ 76311 w 400446"/>
                <a:gd name="connsiteY71" fmla="*/ 369419 h 402453"/>
                <a:gd name="connsiteX72" fmla="*/ 52337 w 400446"/>
                <a:gd name="connsiteY72" fmla="*/ 384520 h 402453"/>
                <a:gd name="connsiteX73" fmla="*/ 14771 w 400446"/>
                <a:gd name="connsiteY73" fmla="*/ 328360 h 402453"/>
                <a:gd name="connsiteX74" fmla="*/ 14771 w 400446"/>
                <a:gd name="connsiteY74" fmla="*/ 328360 h 402453"/>
                <a:gd name="connsiteX75" fmla="*/ 14771 w 400446"/>
                <a:gd name="connsiteY75" fmla="*/ 328360 h 40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400446" h="402453">
                  <a:moveTo>
                    <a:pt x="69232" y="402454"/>
                  </a:moveTo>
                  <a:cubicBezTo>
                    <a:pt x="69043" y="402454"/>
                    <a:pt x="68854" y="402454"/>
                    <a:pt x="68571" y="402454"/>
                  </a:cubicBezTo>
                  <a:cubicBezTo>
                    <a:pt x="59227" y="402359"/>
                    <a:pt x="49883" y="399245"/>
                    <a:pt x="41482" y="393298"/>
                  </a:cubicBezTo>
                  <a:cubicBezTo>
                    <a:pt x="39783" y="392071"/>
                    <a:pt x="35725" y="389145"/>
                    <a:pt x="35819" y="384332"/>
                  </a:cubicBezTo>
                  <a:cubicBezTo>
                    <a:pt x="35913" y="379518"/>
                    <a:pt x="40066" y="376875"/>
                    <a:pt x="41765" y="375743"/>
                  </a:cubicBezTo>
                  <a:lnTo>
                    <a:pt x="44786" y="373760"/>
                  </a:lnTo>
                  <a:cubicBezTo>
                    <a:pt x="52809" y="368569"/>
                    <a:pt x="60831" y="363378"/>
                    <a:pt x="68949" y="358281"/>
                  </a:cubicBezTo>
                  <a:cubicBezTo>
                    <a:pt x="74423" y="354789"/>
                    <a:pt x="77255" y="348559"/>
                    <a:pt x="76028" y="342802"/>
                  </a:cubicBezTo>
                  <a:cubicBezTo>
                    <a:pt x="74612" y="336100"/>
                    <a:pt x="71214" y="329965"/>
                    <a:pt x="65268" y="323547"/>
                  </a:cubicBezTo>
                  <a:cubicBezTo>
                    <a:pt x="58094" y="315618"/>
                    <a:pt x="53092" y="314958"/>
                    <a:pt x="44031" y="320432"/>
                  </a:cubicBezTo>
                  <a:cubicBezTo>
                    <a:pt x="35913" y="325340"/>
                    <a:pt x="27324" y="330720"/>
                    <a:pt x="17130" y="337233"/>
                  </a:cubicBezTo>
                  <a:cubicBezTo>
                    <a:pt x="12789" y="339970"/>
                    <a:pt x="9391" y="339498"/>
                    <a:pt x="7314" y="338649"/>
                  </a:cubicBezTo>
                  <a:cubicBezTo>
                    <a:pt x="5332" y="337799"/>
                    <a:pt x="2689" y="335817"/>
                    <a:pt x="1745" y="331098"/>
                  </a:cubicBezTo>
                  <a:cubicBezTo>
                    <a:pt x="-425" y="320526"/>
                    <a:pt x="-2219" y="304764"/>
                    <a:pt x="7031" y="289662"/>
                  </a:cubicBezTo>
                  <a:cubicBezTo>
                    <a:pt x="19207" y="269841"/>
                    <a:pt x="37990" y="259553"/>
                    <a:pt x="64418" y="258326"/>
                  </a:cubicBezTo>
                  <a:cubicBezTo>
                    <a:pt x="65079" y="258326"/>
                    <a:pt x="65739" y="258326"/>
                    <a:pt x="66400" y="258515"/>
                  </a:cubicBezTo>
                  <a:cubicBezTo>
                    <a:pt x="67344" y="258703"/>
                    <a:pt x="68382" y="258986"/>
                    <a:pt x="69609" y="259269"/>
                  </a:cubicBezTo>
                  <a:cubicBezTo>
                    <a:pt x="73196" y="260119"/>
                    <a:pt x="78198" y="261252"/>
                    <a:pt x="83107" y="262856"/>
                  </a:cubicBezTo>
                  <a:cubicBezTo>
                    <a:pt x="85089" y="263517"/>
                    <a:pt x="85089" y="263517"/>
                    <a:pt x="86221" y="262384"/>
                  </a:cubicBezTo>
                  <a:cubicBezTo>
                    <a:pt x="150121" y="198296"/>
                    <a:pt x="207130" y="141286"/>
                    <a:pt x="260553" y="88053"/>
                  </a:cubicBezTo>
                  <a:cubicBezTo>
                    <a:pt x="262818" y="85787"/>
                    <a:pt x="262630" y="85504"/>
                    <a:pt x="261780" y="83428"/>
                  </a:cubicBezTo>
                  <a:cubicBezTo>
                    <a:pt x="255834" y="69458"/>
                    <a:pt x="256400" y="52752"/>
                    <a:pt x="263290" y="38783"/>
                  </a:cubicBezTo>
                  <a:cubicBezTo>
                    <a:pt x="272540" y="20000"/>
                    <a:pt x="288491" y="8013"/>
                    <a:pt x="312182" y="2067"/>
                  </a:cubicBezTo>
                  <a:cubicBezTo>
                    <a:pt x="328606" y="-1992"/>
                    <a:pt x="343613" y="-104"/>
                    <a:pt x="356827" y="8013"/>
                  </a:cubicBezTo>
                  <a:cubicBezTo>
                    <a:pt x="359753" y="9806"/>
                    <a:pt x="364567" y="12732"/>
                    <a:pt x="364567" y="17923"/>
                  </a:cubicBezTo>
                  <a:cubicBezTo>
                    <a:pt x="364661" y="23115"/>
                    <a:pt x="360036" y="26135"/>
                    <a:pt x="357299" y="27928"/>
                  </a:cubicBezTo>
                  <a:cubicBezTo>
                    <a:pt x="356261" y="28589"/>
                    <a:pt x="354751" y="29439"/>
                    <a:pt x="352957" y="30477"/>
                  </a:cubicBezTo>
                  <a:cubicBezTo>
                    <a:pt x="344368" y="35291"/>
                    <a:pt x="326340" y="45390"/>
                    <a:pt x="323886" y="58698"/>
                  </a:cubicBezTo>
                  <a:cubicBezTo>
                    <a:pt x="322659" y="65022"/>
                    <a:pt x="325019" y="71629"/>
                    <a:pt x="331060" y="78897"/>
                  </a:cubicBezTo>
                  <a:cubicBezTo>
                    <a:pt x="335968" y="84843"/>
                    <a:pt x="340782" y="87958"/>
                    <a:pt x="345784" y="88430"/>
                  </a:cubicBezTo>
                  <a:cubicBezTo>
                    <a:pt x="355128" y="89185"/>
                    <a:pt x="365039" y="80596"/>
                    <a:pt x="373062" y="73706"/>
                  </a:cubicBezTo>
                  <a:cubicBezTo>
                    <a:pt x="376648" y="70686"/>
                    <a:pt x="379952" y="67760"/>
                    <a:pt x="383161" y="65777"/>
                  </a:cubicBezTo>
                  <a:cubicBezTo>
                    <a:pt x="386748" y="63512"/>
                    <a:pt x="390146" y="62946"/>
                    <a:pt x="393166" y="64267"/>
                  </a:cubicBezTo>
                  <a:cubicBezTo>
                    <a:pt x="395243" y="65117"/>
                    <a:pt x="397791" y="67193"/>
                    <a:pt x="398829" y="72007"/>
                  </a:cubicBezTo>
                  <a:cubicBezTo>
                    <a:pt x="402416" y="89185"/>
                    <a:pt x="400056" y="103626"/>
                    <a:pt x="391561" y="116369"/>
                  </a:cubicBezTo>
                  <a:cubicBezTo>
                    <a:pt x="375421" y="140437"/>
                    <a:pt x="342009" y="150914"/>
                    <a:pt x="317091" y="139965"/>
                  </a:cubicBezTo>
                  <a:cubicBezTo>
                    <a:pt x="316052" y="139493"/>
                    <a:pt x="315675" y="139588"/>
                    <a:pt x="315675" y="139493"/>
                  </a:cubicBezTo>
                  <a:cubicBezTo>
                    <a:pt x="315675" y="139493"/>
                    <a:pt x="315203" y="139588"/>
                    <a:pt x="314259" y="140626"/>
                  </a:cubicBezTo>
                  <a:cubicBezTo>
                    <a:pt x="254890" y="200184"/>
                    <a:pt x="196276" y="258798"/>
                    <a:pt x="139927" y="314958"/>
                  </a:cubicBezTo>
                  <a:cubicBezTo>
                    <a:pt x="137851" y="317034"/>
                    <a:pt x="137945" y="317317"/>
                    <a:pt x="138889" y="319394"/>
                  </a:cubicBezTo>
                  <a:cubicBezTo>
                    <a:pt x="146062" y="336572"/>
                    <a:pt x="144458" y="353939"/>
                    <a:pt x="134170" y="369607"/>
                  </a:cubicBezTo>
                  <a:cubicBezTo>
                    <a:pt x="119729" y="391316"/>
                    <a:pt x="97925" y="402454"/>
                    <a:pt x="69232" y="402454"/>
                  </a:cubicBezTo>
                  <a:close/>
                  <a:moveTo>
                    <a:pt x="52337" y="384520"/>
                  </a:moveTo>
                  <a:cubicBezTo>
                    <a:pt x="57622" y="387635"/>
                    <a:pt x="63097" y="389145"/>
                    <a:pt x="68665" y="389240"/>
                  </a:cubicBezTo>
                  <a:cubicBezTo>
                    <a:pt x="68854" y="389240"/>
                    <a:pt x="69043" y="389240"/>
                    <a:pt x="69232" y="389240"/>
                  </a:cubicBezTo>
                  <a:cubicBezTo>
                    <a:pt x="93489" y="389240"/>
                    <a:pt x="111045" y="380367"/>
                    <a:pt x="123032" y="362151"/>
                  </a:cubicBezTo>
                  <a:cubicBezTo>
                    <a:pt x="130866" y="350069"/>
                    <a:pt x="132093" y="337327"/>
                    <a:pt x="126619" y="324302"/>
                  </a:cubicBezTo>
                  <a:cubicBezTo>
                    <a:pt x="123598" y="317128"/>
                    <a:pt x="124825" y="311088"/>
                    <a:pt x="130489" y="305425"/>
                  </a:cubicBezTo>
                  <a:cubicBezTo>
                    <a:pt x="186837" y="249265"/>
                    <a:pt x="245451" y="190651"/>
                    <a:pt x="304820" y="131093"/>
                  </a:cubicBezTo>
                  <a:cubicBezTo>
                    <a:pt x="309917" y="125902"/>
                    <a:pt x="315864" y="124769"/>
                    <a:pt x="322376" y="127601"/>
                  </a:cubicBezTo>
                  <a:cubicBezTo>
                    <a:pt x="341725" y="136190"/>
                    <a:pt x="367870" y="127695"/>
                    <a:pt x="380518" y="108723"/>
                  </a:cubicBezTo>
                  <a:cubicBezTo>
                    <a:pt x="386276" y="100134"/>
                    <a:pt x="388258" y="90695"/>
                    <a:pt x="386748" y="79275"/>
                  </a:cubicBezTo>
                  <a:cubicBezTo>
                    <a:pt x="385143" y="80502"/>
                    <a:pt x="383444" y="82012"/>
                    <a:pt x="381745" y="83522"/>
                  </a:cubicBezTo>
                  <a:cubicBezTo>
                    <a:pt x="371835" y="92111"/>
                    <a:pt x="359470" y="102682"/>
                    <a:pt x="344746" y="101455"/>
                  </a:cubicBezTo>
                  <a:cubicBezTo>
                    <a:pt x="336157" y="100700"/>
                    <a:pt x="328134" y="95887"/>
                    <a:pt x="320960" y="87203"/>
                  </a:cubicBezTo>
                  <a:cubicBezTo>
                    <a:pt x="312466" y="76915"/>
                    <a:pt x="309162" y="66438"/>
                    <a:pt x="311050" y="56244"/>
                  </a:cubicBezTo>
                  <a:cubicBezTo>
                    <a:pt x="314637" y="36895"/>
                    <a:pt x="336251" y="24719"/>
                    <a:pt x="346634" y="18962"/>
                  </a:cubicBezTo>
                  <a:cubicBezTo>
                    <a:pt x="347200" y="18678"/>
                    <a:pt x="347672" y="18395"/>
                    <a:pt x="348144" y="18112"/>
                  </a:cubicBezTo>
                  <a:cubicBezTo>
                    <a:pt x="338422" y="12827"/>
                    <a:pt x="327756" y="11788"/>
                    <a:pt x="315580" y="14903"/>
                  </a:cubicBezTo>
                  <a:cubicBezTo>
                    <a:pt x="295948" y="19811"/>
                    <a:pt x="282734" y="29533"/>
                    <a:pt x="275372" y="44635"/>
                  </a:cubicBezTo>
                  <a:cubicBezTo>
                    <a:pt x="270181" y="55206"/>
                    <a:pt x="269709" y="67760"/>
                    <a:pt x="274145" y="78331"/>
                  </a:cubicBezTo>
                  <a:cubicBezTo>
                    <a:pt x="278203" y="87864"/>
                    <a:pt x="273767" y="93810"/>
                    <a:pt x="270086" y="97491"/>
                  </a:cubicBezTo>
                  <a:cubicBezTo>
                    <a:pt x="216663" y="150631"/>
                    <a:pt x="159654" y="207640"/>
                    <a:pt x="95754" y="271729"/>
                  </a:cubicBezTo>
                  <a:cubicBezTo>
                    <a:pt x="89619" y="277864"/>
                    <a:pt x="83390" y="276826"/>
                    <a:pt x="79237" y="275504"/>
                  </a:cubicBezTo>
                  <a:cubicBezTo>
                    <a:pt x="74895" y="274088"/>
                    <a:pt x="70459" y="273050"/>
                    <a:pt x="66872" y="272201"/>
                  </a:cubicBezTo>
                  <a:cubicBezTo>
                    <a:pt x="66023" y="272012"/>
                    <a:pt x="65173" y="271823"/>
                    <a:pt x="64418" y="271634"/>
                  </a:cubicBezTo>
                  <a:cubicBezTo>
                    <a:pt x="42615" y="272861"/>
                    <a:pt x="28457" y="280601"/>
                    <a:pt x="18641" y="296647"/>
                  </a:cubicBezTo>
                  <a:cubicBezTo>
                    <a:pt x="14016" y="304198"/>
                    <a:pt x="12600" y="312598"/>
                    <a:pt x="14204" y="323736"/>
                  </a:cubicBezTo>
                  <a:cubicBezTo>
                    <a:pt x="22982" y="318167"/>
                    <a:pt x="30439" y="313542"/>
                    <a:pt x="37612" y="309200"/>
                  </a:cubicBezTo>
                  <a:cubicBezTo>
                    <a:pt x="51959" y="300517"/>
                    <a:pt x="63946" y="302215"/>
                    <a:pt x="75367" y="314675"/>
                  </a:cubicBezTo>
                  <a:cubicBezTo>
                    <a:pt x="82823" y="322792"/>
                    <a:pt x="87354" y="331098"/>
                    <a:pt x="89242" y="340064"/>
                  </a:cubicBezTo>
                  <a:cubicBezTo>
                    <a:pt x="91601" y="351202"/>
                    <a:pt x="86410" y="363095"/>
                    <a:pt x="76311" y="369419"/>
                  </a:cubicBezTo>
                  <a:cubicBezTo>
                    <a:pt x="68099" y="374421"/>
                    <a:pt x="60265" y="379424"/>
                    <a:pt x="52337" y="384520"/>
                  </a:cubicBezTo>
                  <a:close/>
                  <a:moveTo>
                    <a:pt x="14771" y="328360"/>
                  </a:moveTo>
                  <a:lnTo>
                    <a:pt x="14771" y="328360"/>
                  </a:lnTo>
                  <a:lnTo>
                    <a:pt x="14771" y="328360"/>
                  </a:ln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sp>
        <p:nvSpPr>
          <p:cNvPr id="616" name="Полилиния: фигура 615">
            <a:extLst>
              <a:ext uri="{FF2B5EF4-FFF2-40B4-BE49-F238E27FC236}">
                <a16:creationId xmlns:a16="http://schemas.microsoft.com/office/drawing/2014/main" id="{211A3A09-E64B-449C-9A10-A626DDB8FE14}"/>
              </a:ext>
            </a:extLst>
          </p:cNvPr>
          <p:cNvSpPr/>
          <p:nvPr/>
        </p:nvSpPr>
        <p:spPr>
          <a:xfrm>
            <a:off x="10130484" y="2607289"/>
            <a:ext cx="140058" cy="135548"/>
          </a:xfrm>
          <a:custGeom>
            <a:avLst/>
            <a:gdLst>
              <a:gd name="connsiteX0" fmla="*/ 335898 w 431765"/>
              <a:gd name="connsiteY0" fmla="*/ 417862 h 417861"/>
              <a:gd name="connsiteX1" fmla="*/ 324182 w 431765"/>
              <a:gd name="connsiteY1" fmla="*/ 414528 h 417861"/>
              <a:gd name="connsiteX2" fmla="*/ 215883 w 431765"/>
              <a:gd name="connsiteY2" fmla="*/ 349472 h 417861"/>
              <a:gd name="connsiteX3" fmla="*/ 107584 w 431765"/>
              <a:gd name="connsiteY3" fmla="*/ 414528 h 417861"/>
              <a:gd name="connsiteX4" fmla="*/ 82628 w 431765"/>
              <a:gd name="connsiteY4" fmla="*/ 413480 h 417861"/>
              <a:gd name="connsiteX5" fmla="*/ 73675 w 431765"/>
              <a:gd name="connsiteY5" fmla="*/ 390144 h 417861"/>
              <a:gd name="connsiteX6" fmla="*/ 101678 w 431765"/>
              <a:gd name="connsiteY6" fmla="*/ 261652 h 417861"/>
              <a:gd name="connsiteX7" fmla="*/ 8238 w 431765"/>
              <a:gd name="connsiteY7" fmla="*/ 183928 h 417861"/>
              <a:gd name="connsiteX8" fmla="*/ 999 w 431765"/>
              <a:gd name="connsiteY8" fmla="*/ 159925 h 417861"/>
              <a:gd name="connsiteX9" fmla="*/ 20239 w 431765"/>
              <a:gd name="connsiteY9" fmla="*/ 143828 h 417861"/>
              <a:gd name="connsiteX10" fmla="*/ 138540 w 431765"/>
              <a:gd name="connsiteY10" fmla="*/ 130397 h 417861"/>
              <a:gd name="connsiteX11" fmla="*/ 195499 w 431765"/>
              <a:gd name="connsiteY11" fmla="*/ 12859 h 417861"/>
              <a:gd name="connsiteX12" fmla="*/ 215978 w 431765"/>
              <a:gd name="connsiteY12" fmla="*/ 0 h 417861"/>
              <a:gd name="connsiteX13" fmla="*/ 236457 w 431765"/>
              <a:gd name="connsiteY13" fmla="*/ 12859 h 417861"/>
              <a:gd name="connsiteX14" fmla="*/ 293416 w 431765"/>
              <a:gd name="connsiteY14" fmla="*/ 130397 h 417861"/>
              <a:gd name="connsiteX15" fmla="*/ 411526 w 431765"/>
              <a:gd name="connsiteY15" fmla="*/ 143923 h 417861"/>
              <a:gd name="connsiteX16" fmla="*/ 430767 w 431765"/>
              <a:gd name="connsiteY16" fmla="*/ 160020 h 417861"/>
              <a:gd name="connsiteX17" fmla="*/ 423528 w 431765"/>
              <a:gd name="connsiteY17" fmla="*/ 184023 h 417861"/>
              <a:gd name="connsiteX18" fmla="*/ 330087 w 431765"/>
              <a:gd name="connsiteY18" fmla="*/ 261747 h 417861"/>
              <a:gd name="connsiteX19" fmla="*/ 358091 w 431765"/>
              <a:gd name="connsiteY19" fmla="*/ 390239 h 417861"/>
              <a:gd name="connsiteX20" fmla="*/ 349137 w 431765"/>
              <a:gd name="connsiteY20" fmla="*/ 413575 h 417861"/>
              <a:gd name="connsiteX21" fmla="*/ 335898 w 431765"/>
              <a:gd name="connsiteY21" fmla="*/ 417862 h 417861"/>
              <a:gd name="connsiteX22" fmla="*/ 104154 w 431765"/>
              <a:gd name="connsiteY22" fmla="*/ 408908 h 417861"/>
              <a:gd name="connsiteX23" fmla="*/ 104154 w 431765"/>
              <a:gd name="connsiteY23" fmla="*/ 408908 h 417861"/>
              <a:gd name="connsiteX24" fmla="*/ 104154 w 431765"/>
              <a:gd name="connsiteY24" fmla="*/ 408908 h 417861"/>
              <a:gd name="connsiteX25" fmla="*/ 215787 w 431765"/>
              <a:gd name="connsiteY25" fmla="*/ 335185 h 417861"/>
              <a:gd name="connsiteX26" fmla="*/ 219216 w 431765"/>
              <a:gd name="connsiteY26" fmla="*/ 336137 h 417861"/>
              <a:gd name="connsiteX27" fmla="*/ 330944 w 431765"/>
              <a:gd name="connsiteY27" fmla="*/ 403193 h 417861"/>
              <a:gd name="connsiteX28" fmla="*/ 341327 w 431765"/>
              <a:gd name="connsiteY28" fmla="*/ 402812 h 417861"/>
              <a:gd name="connsiteX29" fmla="*/ 345042 w 431765"/>
              <a:gd name="connsiteY29" fmla="*/ 393097 h 417861"/>
              <a:gd name="connsiteX30" fmla="*/ 316181 w 431765"/>
              <a:gd name="connsiteY30" fmla="*/ 260604 h 417861"/>
              <a:gd name="connsiteX31" fmla="*/ 318467 w 431765"/>
              <a:gd name="connsiteY31" fmla="*/ 254127 h 417861"/>
              <a:gd name="connsiteX32" fmla="*/ 414955 w 431765"/>
              <a:gd name="connsiteY32" fmla="*/ 173831 h 417861"/>
              <a:gd name="connsiteX33" fmla="*/ 418003 w 431765"/>
              <a:gd name="connsiteY33" fmla="*/ 163830 h 417861"/>
              <a:gd name="connsiteX34" fmla="*/ 410002 w 431765"/>
              <a:gd name="connsiteY34" fmla="*/ 157163 h 417861"/>
              <a:gd name="connsiteX35" fmla="*/ 288082 w 431765"/>
              <a:gd name="connsiteY35" fmla="*/ 143256 h 417861"/>
              <a:gd name="connsiteX36" fmla="*/ 282843 w 431765"/>
              <a:gd name="connsiteY36" fmla="*/ 139541 h 417861"/>
              <a:gd name="connsiteX37" fmla="*/ 224360 w 431765"/>
              <a:gd name="connsiteY37" fmla="*/ 18669 h 417861"/>
              <a:gd name="connsiteX38" fmla="*/ 215883 w 431765"/>
              <a:gd name="connsiteY38" fmla="*/ 13335 h 417861"/>
              <a:gd name="connsiteX39" fmla="*/ 207405 w 431765"/>
              <a:gd name="connsiteY39" fmla="*/ 18669 h 417861"/>
              <a:gd name="connsiteX40" fmla="*/ 148922 w 431765"/>
              <a:gd name="connsiteY40" fmla="*/ 139541 h 417861"/>
              <a:gd name="connsiteX41" fmla="*/ 143683 w 431765"/>
              <a:gd name="connsiteY41" fmla="*/ 143256 h 417861"/>
              <a:gd name="connsiteX42" fmla="*/ 21763 w 431765"/>
              <a:gd name="connsiteY42" fmla="*/ 157163 h 417861"/>
              <a:gd name="connsiteX43" fmla="*/ 13762 w 431765"/>
              <a:gd name="connsiteY43" fmla="*/ 163830 h 417861"/>
              <a:gd name="connsiteX44" fmla="*/ 16810 w 431765"/>
              <a:gd name="connsiteY44" fmla="*/ 173831 h 417861"/>
              <a:gd name="connsiteX45" fmla="*/ 113298 w 431765"/>
              <a:gd name="connsiteY45" fmla="*/ 254127 h 417861"/>
              <a:gd name="connsiteX46" fmla="*/ 115584 w 431765"/>
              <a:gd name="connsiteY46" fmla="*/ 260604 h 417861"/>
              <a:gd name="connsiteX47" fmla="*/ 86724 w 431765"/>
              <a:gd name="connsiteY47" fmla="*/ 393097 h 417861"/>
              <a:gd name="connsiteX48" fmla="*/ 90438 w 431765"/>
              <a:gd name="connsiteY48" fmla="*/ 402812 h 417861"/>
              <a:gd name="connsiteX49" fmla="*/ 100821 w 431765"/>
              <a:gd name="connsiteY49" fmla="*/ 403193 h 417861"/>
              <a:gd name="connsiteX50" fmla="*/ 212549 w 431765"/>
              <a:gd name="connsiteY50" fmla="*/ 336137 h 417861"/>
              <a:gd name="connsiteX51" fmla="*/ 215787 w 431765"/>
              <a:gd name="connsiteY51" fmla="*/ 335185 h 41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31765" h="417861">
                <a:moveTo>
                  <a:pt x="335898" y="417862"/>
                </a:moveTo>
                <a:cubicBezTo>
                  <a:pt x="331897" y="417862"/>
                  <a:pt x="327802" y="416719"/>
                  <a:pt x="324182" y="414528"/>
                </a:cubicBezTo>
                <a:lnTo>
                  <a:pt x="215883" y="349472"/>
                </a:lnTo>
                <a:lnTo>
                  <a:pt x="107584" y="414528"/>
                </a:lnTo>
                <a:cubicBezTo>
                  <a:pt x="99678" y="419291"/>
                  <a:pt x="90057" y="418910"/>
                  <a:pt x="82628" y="413480"/>
                </a:cubicBezTo>
                <a:cubicBezTo>
                  <a:pt x="75103" y="408146"/>
                  <a:pt x="71674" y="399193"/>
                  <a:pt x="73675" y="390144"/>
                </a:cubicBezTo>
                <a:lnTo>
                  <a:pt x="101678" y="261652"/>
                </a:lnTo>
                <a:lnTo>
                  <a:pt x="8238" y="183928"/>
                </a:lnTo>
                <a:cubicBezTo>
                  <a:pt x="1094" y="178022"/>
                  <a:pt x="-1668" y="168783"/>
                  <a:pt x="999" y="159925"/>
                </a:cubicBezTo>
                <a:cubicBezTo>
                  <a:pt x="3665" y="151067"/>
                  <a:pt x="11000" y="144875"/>
                  <a:pt x="20239" y="143828"/>
                </a:cubicBezTo>
                <a:lnTo>
                  <a:pt x="138540" y="130397"/>
                </a:lnTo>
                <a:lnTo>
                  <a:pt x="195499" y="12859"/>
                </a:lnTo>
                <a:cubicBezTo>
                  <a:pt x="199309" y="4953"/>
                  <a:pt x="207215" y="0"/>
                  <a:pt x="215978" y="0"/>
                </a:cubicBezTo>
                <a:cubicBezTo>
                  <a:pt x="224741" y="0"/>
                  <a:pt x="232647" y="4953"/>
                  <a:pt x="236457" y="12859"/>
                </a:cubicBezTo>
                <a:lnTo>
                  <a:pt x="293416" y="130397"/>
                </a:lnTo>
                <a:lnTo>
                  <a:pt x="411526" y="143923"/>
                </a:lnTo>
                <a:cubicBezTo>
                  <a:pt x="420766" y="144971"/>
                  <a:pt x="428099" y="151162"/>
                  <a:pt x="430767" y="160020"/>
                </a:cubicBezTo>
                <a:cubicBezTo>
                  <a:pt x="433433" y="168878"/>
                  <a:pt x="430671" y="178118"/>
                  <a:pt x="423528" y="184023"/>
                </a:cubicBezTo>
                <a:lnTo>
                  <a:pt x="330087" y="261747"/>
                </a:lnTo>
                <a:lnTo>
                  <a:pt x="358091" y="390239"/>
                </a:lnTo>
                <a:cubicBezTo>
                  <a:pt x="360091" y="399288"/>
                  <a:pt x="356567" y="408146"/>
                  <a:pt x="349137" y="413575"/>
                </a:cubicBezTo>
                <a:cubicBezTo>
                  <a:pt x="345137" y="416433"/>
                  <a:pt x="340469" y="417862"/>
                  <a:pt x="335898" y="417862"/>
                </a:cubicBezTo>
                <a:close/>
                <a:moveTo>
                  <a:pt x="104154" y="408908"/>
                </a:moveTo>
                <a:lnTo>
                  <a:pt x="104154" y="408908"/>
                </a:lnTo>
                <a:lnTo>
                  <a:pt x="104154" y="408908"/>
                </a:lnTo>
                <a:close/>
                <a:moveTo>
                  <a:pt x="215787" y="335185"/>
                </a:moveTo>
                <a:cubicBezTo>
                  <a:pt x="216930" y="335185"/>
                  <a:pt x="218169" y="335471"/>
                  <a:pt x="219216" y="336137"/>
                </a:cubicBezTo>
                <a:lnTo>
                  <a:pt x="330944" y="403193"/>
                </a:lnTo>
                <a:cubicBezTo>
                  <a:pt x="334278" y="405194"/>
                  <a:pt x="338183" y="405003"/>
                  <a:pt x="341327" y="402812"/>
                </a:cubicBezTo>
                <a:cubicBezTo>
                  <a:pt x="344470" y="400526"/>
                  <a:pt x="345899" y="396907"/>
                  <a:pt x="345042" y="393097"/>
                </a:cubicBezTo>
                <a:lnTo>
                  <a:pt x="316181" y="260604"/>
                </a:lnTo>
                <a:cubicBezTo>
                  <a:pt x="315609" y="258223"/>
                  <a:pt x="316562" y="255651"/>
                  <a:pt x="318467" y="254127"/>
                </a:cubicBezTo>
                <a:lnTo>
                  <a:pt x="414955" y="173831"/>
                </a:lnTo>
                <a:cubicBezTo>
                  <a:pt x="418003" y="171355"/>
                  <a:pt x="419051" y="167640"/>
                  <a:pt x="418003" y="163830"/>
                </a:cubicBezTo>
                <a:cubicBezTo>
                  <a:pt x="416860" y="160115"/>
                  <a:pt x="413907" y="157544"/>
                  <a:pt x="410002" y="157163"/>
                </a:cubicBezTo>
                <a:lnTo>
                  <a:pt x="288082" y="143256"/>
                </a:lnTo>
                <a:cubicBezTo>
                  <a:pt x="285796" y="142970"/>
                  <a:pt x="283796" y="141637"/>
                  <a:pt x="282843" y="139541"/>
                </a:cubicBezTo>
                <a:lnTo>
                  <a:pt x="224360" y="18669"/>
                </a:lnTo>
                <a:cubicBezTo>
                  <a:pt x="222740" y="15335"/>
                  <a:pt x="219598" y="13335"/>
                  <a:pt x="215883" y="13335"/>
                </a:cubicBezTo>
                <a:cubicBezTo>
                  <a:pt x="212168" y="13335"/>
                  <a:pt x="209024" y="15335"/>
                  <a:pt x="207405" y="18669"/>
                </a:cubicBezTo>
                <a:lnTo>
                  <a:pt x="148922" y="139541"/>
                </a:lnTo>
                <a:cubicBezTo>
                  <a:pt x="147969" y="141542"/>
                  <a:pt x="145969" y="142970"/>
                  <a:pt x="143683" y="143256"/>
                </a:cubicBezTo>
                <a:lnTo>
                  <a:pt x="21763" y="157163"/>
                </a:lnTo>
                <a:cubicBezTo>
                  <a:pt x="17858" y="157639"/>
                  <a:pt x="14905" y="160115"/>
                  <a:pt x="13762" y="163830"/>
                </a:cubicBezTo>
                <a:cubicBezTo>
                  <a:pt x="12619" y="167545"/>
                  <a:pt x="13762" y="171260"/>
                  <a:pt x="16810" y="173831"/>
                </a:cubicBezTo>
                <a:lnTo>
                  <a:pt x="113298" y="254127"/>
                </a:lnTo>
                <a:cubicBezTo>
                  <a:pt x="115203" y="255746"/>
                  <a:pt x="116060" y="258223"/>
                  <a:pt x="115584" y="260604"/>
                </a:cubicBezTo>
                <a:lnTo>
                  <a:pt x="86724" y="393097"/>
                </a:lnTo>
                <a:cubicBezTo>
                  <a:pt x="85866" y="396907"/>
                  <a:pt x="87295" y="400526"/>
                  <a:pt x="90438" y="402812"/>
                </a:cubicBezTo>
                <a:cubicBezTo>
                  <a:pt x="93582" y="405098"/>
                  <a:pt x="97487" y="405289"/>
                  <a:pt x="100821" y="403193"/>
                </a:cubicBezTo>
                <a:lnTo>
                  <a:pt x="212549" y="336137"/>
                </a:lnTo>
                <a:cubicBezTo>
                  <a:pt x="213502" y="335471"/>
                  <a:pt x="214644" y="335185"/>
                  <a:pt x="215787" y="335185"/>
                </a:cubicBezTo>
                <a:close/>
              </a:path>
            </a:pathLst>
          </a:custGeom>
          <a:solidFill>
            <a:schemeClr val="accent1"/>
          </a:solidFill>
          <a:ln w="9525" cap="flat">
            <a:noFill/>
            <a:prstDash val="solid"/>
            <a:miter/>
          </a:ln>
          <a:effectLst/>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nvGrpSpPr>
          <p:cNvPr id="617" name="Группа 616">
            <a:extLst>
              <a:ext uri="{FF2B5EF4-FFF2-40B4-BE49-F238E27FC236}">
                <a16:creationId xmlns:a16="http://schemas.microsoft.com/office/drawing/2014/main" id="{E7972F68-793D-41E6-8027-CA59CD6BE5D8}"/>
              </a:ext>
            </a:extLst>
          </p:cNvPr>
          <p:cNvGrpSpPr/>
          <p:nvPr/>
        </p:nvGrpSpPr>
        <p:grpSpPr>
          <a:xfrm>
            <a:off x="10130484" y="3890941"/>
            <a:ext cx="141388" cy="179336"/>
            <a:chOff x="6696398" y="1885953"/>
            <a:chExt cx="366713" cy="465138"/>
          </a:xfrm>
          <a:solidFill>
            <a:schemeClr val="accent3"/>
          </a:solidFill>
          <a:effectLst/>
        </p:grpSpPr>
        <p:sp>
          <p:nvSpPr>
            <p:cNvPr id="618" name="Freeform 15">
              <a:extLst>
                <a:ext uri="{FF2B5EF4-FFF2-40B4-BE49-F238E27FC236}">
                  <a16:creationId xmlns:a16="http://schemas.microsoft.com/office/drawing/2014/main" id="{E55059C7-4E14-4819-B3D8-9B2554E674C0}"/>
                </a:ext>
              </a:extLst>
            </p:cNvPr>
            <p:cNvSpPr>
              <a:spLocks/>
            </p:cNvSpPr>
            <p:nvPr/>
          </p:nvSpPr>
          <p:spPr bwMode="auto">
            <a:xfrm>
              <a:off x="6824985" y="2014541"/>
              <a:ext cx="111125" cy="92075"/>
            </a:xfrm>
            <a:custGeom>
              <a:avLst/>
              <a:gdLst>
                <a:gd name="T0" fmla="*/ 39 w 48"/>
                <a:gd name="T1" fmla="*/ 38 h 39"/>
                <a:gd name="T2" fmla="*/ 41 w 48"/>
                <a:gd name="T3" fmla="*/ 39 h 39"/>
                <a:gd name="T4" fmla="*/ 43 w 48"/>
                <a:gd name="T5" fmla="*/ 38 h 39"/>
                <a:gd name="T6" fmla="*/ 48 w 48"/>
                <a:gd name="T7" fmla="*/ 23 h 39"/>
                <a:gd name="T8" fmla="*/ 24 w 48"/>
                <a:gd name="T9" fmla="*/ 0 h 39"/>
                <a:gd name="T10" fmla="*/ 0 w 48"/>
                <a:gd name="T11" fmla="*/ 23 h 39"/>
                <a:gd name="T12" fmla="*/ 5 w 48"/>
                <a:gd name="T13" fmla="*/ 38 h 39"/>
                <a:gd name="T14" fmla="*/ 9 w 48"/>
                <a:gd name="T15" fmla="*/ 38 h 39"/>
                <a:gd name="T16" fmla="*/ 9 w 48"/>
                <a:gd name="T17" fmla="*/ 34 h 39"/>
                <a:gd name="T18" fmla="*/ 6 w 48"/>
                <a:gd name="T19" fmla="*/ 23 h 39"/>
                <a:gd name="T20" fmla="*/ 24 w 48"/>
                <a:gd name="T21" fmla="*/ 5 h 39"/>
                <a:gd name="T22" fmla="*/ 42 w 48"/>
                <a:gd name="T23" fmla="*/ 23 h 39"/>
                <a:gd name="T24" fmla="*/ 38 w 48"/>
                <a:gd name="T25" fmla="*/ 34 h 39"/>
                <a:gd name="T26" fmla="*/ 39 w 48"/>
                <a:gd name="T27" fmla="*/ 3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9">
                  <a:moveTo>
                    <a:pt x="39" y="38"/>
                  </a:moveTo>
                  <a:cubicBezTo>
                    <a:pt x="39" y="39"/>
                    <a:pt x="40" y="39"/>
                    <a:pt x="41" y="39"/>
                  </a:cubicBezTo>
                  <a:cubicBezTo>
                    <a:pt x="41" y="39"/>
                    <a:pt x="42" y="38"/>
                    <a:pt x="43" y="38"/>
                  </a:cubicBezTo>
                  <a:cubicBezTo>
                    <a:pt x="46" y="34"/>
                    <a:pt x="48" y="29"/>
                    <a:pt x="48" y="23"/>
                  </a:cubicBezTo>
                  <a:cubicBezTo>
                    <a:pt x="48" y="10"/>
                    <a:pt x="37" y="0"/>
                    <a:pt x="24" y="0"/>
                  </a:cubicBezTo>
                  <a:cubicBezTo>
                    <a:pt x="11" y="0"/>
                    <a:pt x="0" y="10"/>
                    <a:pt x="0" y="23"/>
                  </a:cubicBezTo>
                  <a:cubicBezTo>
                    <a:pt x="0" y="29"/>
                    <a:pt x="2" y="34"/>
                    <a:pt x="5" y="38"/>
                  </a:cubicBezTo>
                  <a:cubicBezTo>
                    <a:pt x="6" y="39"/>
                    <a:pt x="7" y="39"/>
                    <a:pt x="9" y="38"/>
                  </a:cubicBezTo>
                  <a:cubicBezTo>
                    <a:pt x="10" y="37"/>
                    <a:pt x="10" y="36"/>
                    <a:pt x="9" y="34"/>
                  </a:cubicBezTo>
                  <a:cubicBezTo>
                    <a:pt x="7" y="31"/>
                    <a:pt x="6" y="27"/>
                    <a:pt x="6" y="23"/>
                  </a:cubicBezTo>
                  <a:cubicBezTo>
                    <a:pt x="6" y="13"/>
                    <a:pt x="14" y="5"/>
                    <a:pt x="24" y="5"/>
                  </a:cubicBezTo>
                  <a:cubicBezTo>
                    <a:pt x="34" y="5"/>
                    <a:pt x="42" y="13"/>
                    <a:pt x="42" y="23"/>
                  </a:cubicBezTo>
                  <a:cubicBezTo>
                    <a:pt x="42" y="27"/>
                    <a:pt x="41" y="31"/>
                    <a:pt x="38" y="34"/>
                  </a:cubicBezTo>
                  <a:cubicBezTo>
                    <a:pt x="37" y="36"/>
                    <a:pt x="38" y="37"/>
                    <a:pt x="39"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19" name="Freeform 16">
              <a:extLst>
                <a:ext uri="{FF2B5EF4-FFF2-40B4-BE49-F238E27FC236}">
                  <a16:creationId xmlns:a16="http://schemas.microsoft.com/office/drawing/2014/main" id="{DE5BEE3E-C5E7-4237-8A98-A5FA1E89D028}"/>
                </a:ext>
              </a:extLst>
            </p:cNvPr>
            <p:cNvSpPr>
              <a:spLocks/>
            </p:cNvSpPr>
            <p:nvPr/>
          </p:nvSpPr>
          <p:spPr bwMode="auto">
            <a:xfrm>
              <a:off x="6726560" y="2092328"/>
              <a:ext cx="307976" cy="258763"/>
            </a:xfrm>
            <a:custGeom>
              <a:avLst/>
              <a:gdLst>
                <a:gd name="T0" fmla="*/ 129 w 132"/>
                <a:gd name="T1" fmla="*/ 106 h 111"/>
                <a:gd name="T2" fmla="*/ 81 w 132"/>
                <a:gd name="T3" fmla="*/ 54 h 111"/>
                <a:gd name="T4" fmla="*/ 81 w 132"/>
                <a:gd name="T5" fmla="*/ 40 h 111"/>
                <a:gd name="T6" fmla="*/ 95 w 132"/>
                <a:gd name="T7" fmla="*/ 40 h 111"/>
                <a:gd name="T8" fmla="*/ 98 w 132"/>
                <a:gd name="T9" fmla="*/ 38 h 111"/>
                <a:gd name="T10" fmla="*/ 97 w 132"/>
                <a:gd name="T11" fmla="*/ 35 h 111"/>
                <a:gd name="T12" fmla="*/ 68 w 132"/>
                <a:gd name="T13" fmla="*/ 1 h 111"/>
                <a:gd name="T14" fmla="*/ 66 w 132"/>
                <a:gd name="T15" fmla="*/ 0 h 111"/>
                <a:gd name="T16" fmla="*/ 64 w 132"/>
                <a:gd name="T17" fmla="*/ 1 h 111"/>
                <a:gd name="T18" fmla="*/ 34 w 132"/>
                <a:gd name="T19" fmla="*/ 35 h 111"/>
                <a:gd name="T20" fmla="*/ 34 w 132"/>
                <a:gd name="T21" fmla="*/ 38 h 111"/>
                <a:gd name="T22" fmla="*/ 36 w 132"/>
                <a:gd name="T23" fmla="*/ 40 h 111"/>
                <a:gd name="T24" fmla="*/ 50 w 132"/>
                <a:gd name="T25" fmla="*/ 40 h 111"/>
                <a:gd name="T26" fmla="*/ 50 w 132"/>
                <a:gd name="T27" fmla="*/ 54 h 111"/>
                <a:gd name="T28" fmla="*/ 2 w 132"/>
                <a:gd name="T29" fmla="*/ 106 h 111"/>
                <a:gd name="T30" fmla="*/ 0 w 132"/>
                <a:gd name="T31" fmla="*/ 109 h 111"/>
                <a:gd name="T32" fmla="*/ 3 w 132"/>
                <a:gd name="T33" fmla="*/ 111 h 111"/>
                <a:gd name="T34" fmla="*/ 56 w 132"/>
                <a:gd name="T35" fmla="*/ 54 h 111"/>
                <a:gd name="T36" fmla="*/ 56 w 132"/>
                <a:gd name="T37" fmla="*/ 37 h 111"/>
                <a:gd name="T38" fmla="*/ 53 w 132"/>
                <a:gd name="T39" fmla="*/ 34 h 111"/>
                <a:gd name="T40" fmla="*/ 42 w 132"/>
                <a:gd name="T41" fmla="*/ 34 h 111"/>
                <a:gd name="T42" fmla="*/ 66 w 132"/>
                <a:gd name="T43" fmla="*/ 7 h 111"/>
                <a:gd name="T44" fmla="*/ 89 w 132"/>
                <a:gd name="T45" fmla="*/ 34 h 111"/>
                <a:gd name="T46" fmla="*/ 78 w 132"/>
                <a:gd name="T47" fmla="*/ 34 h 111"/>
                <a:gd name="T48" fmla="*/ 76 w 132"/>
                <a:gd name="T49" fmla="*/ 37 h 111"/>
                <a:gd name="T50" fmla="*/ 76 w 132"/>
                <a:gd name="T51" fmla="*/ 54 h 111"/>
                <a:gd name="T52" fmla="*/ 128 w 132"/>
                <a:gd name="T53" fmla="*/ 111 h 111"/>
                <a:gd name="T54" fmla="*/ 129 w 132"/>
                <a:gd name="T55" fmla="*/ 111 h 111"/>
                <a:gd name="T56" fmla="*/ 132 w 132"/>
                <a:gd name="T57" fmla="*/ 109 h 111"/>
                <a:gd name="T58" fmla="*/ 129 w 132"/>
                <a:gd name="T59" fmla="*/ 10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111">
                  <a:moveTo>
                    <a:pt x="129" y="106"/>
                  </a:moveTo>
                  <a:cubicBezTo>
                    <a:pt x="83" y="97"/>
                    <a:pt x="81" y="58"/>
                    <a:pt x="81" y="54"/>
                  </a:cubicBezTo>
                  <a:cubicBezTo>
                    <a:pt x="81" y="40"/>
                    <a:pt x="81" y="40"/>
                    <a:pt x="81" y="40"/>
                  </a:cubicBezTo>
                  <a:cubicBezTo>
                    <a:pt x="95" y="40"/>
                    <a:pt x="95" y="40"/>
                    <a:pt x="95" y="40"/>
                  </a:cubicBezTo>
                  <a:cubicBezTo>
                    <a:pt x="96" y="40"/>
                    <a:pt x="97" y="39"/>
                    <a:pt x="98" y="38"/>
                  </a:cubicBezTo>
                  <a:cubicBezTo>
                    <a:pt x="98" y="37"/>
                    <a:pt x="98" y="36"/>
                    <a:pt x="97" y="35"/>
                  </a:cubicBezTo>
                  <a:cubicBezTo>
                    <a:pt x="68" y="1"/>
                    <a:pt x="68" y="1"/>
                    <a:pt x="68" y="1"/>
                  </a:cubicBezTo>
                  <a:cubicBezTo>
                    <a:pt x="67" y="1"/>
                    <a:pt x="67" y="0"/>
                    <a:pt x="66" y="0"/>
                  </a:cubicBezTo>
                  <a:cubicBezTo>
                    <a:pt x="65" y="0"/>
                    <a:pt x="64" y="1"/>
                    <a:pt x="64" y="1"/>
                  </a:cubicBezTo>
                  <a:cubicBezTo>
                    <a:pt x="34" y="35"/>
                    <a:pt x="34" y="35"/>
                    <a:pt x="34" y="35"/>
                  </a:cubicBezTo>
                  <a:cubicBezTo>
                    <a:pt x="33" y="36"/>
                    <a:pt x="33" y="37"/>
                    <a:pt x="34" y="38"/>
                  </a:cubicBezTo>
                  <a:cubicBezTo>
                    <a:pt x="34" y="39"/>
                    <a:pt x="35" y="40"/>
                    <a:pt x="36" y="40"/>
                  </a:cubicBezTo>
                  <a:cubicBezTo>
                    <a:pt x="50" y="40"/>
                    <a:pt x="50" y="40"/>
                    <a:pt x="50" y="40"/>
                  </a:cubicBezTo>
                  <a:cubicBezTo>
                    <a:pt x="50" y="54"/>
                    <a:pt x="50" y="54"/>
                    <a:pt x="50" y="54"/>
                  </a:cubicBezTo>
                  <a:cubicBezTo>
                    <a:pt x="50" y="58"/>
                    <a:pt x="49" y="97"/>
                    <a:pt x="2" y="106"/>
                  </a:cubicBezTo>
                  <a:cubicBezTo>
                    <a:pt x="1" y="106"/>
                    <a:pt x="0" y="107"/>
                    <a:pt x="0" y="109"/>
                  </a:cubicBezTo>
                  <a:cubicBezTo>
                    <a:pt x="0" y="110"/>
                    <a:pt x="2" y="111"/>
                    <a:pt x="3" y="111"/>
                  </a:cubicBezTo>
                  <a:cubicBezTo>
                    <a:pt x="55" y="102"/>
                    <a:pt x="56" y="56"/>
                    <a:pt x="56" y="54"/>
                  </a:cubicBezTo>
                  <a:cubicBezTo>
                    <a:pt x="56" y="37"/>
                    <a:pt x="56" y="37"/>
                    <a:pt x="56" y="37"/>
                  </a:cubicBezTo>
                  <a:cubicBezTo>
                    <a:pt x="56" y="35"/>
                    <a:pt x="55" y="34"/>
                    <a:pt x="53" y="34"/>
                  </a:cubicBezTo>
                  <a:cubicBezTo>
                    <a:pt x="42" y="34"/>
                    <a:pt x="42" y="34"/>
                    <a:pt x="42" y="34"/>
                  </a:cubicBezTo>
                  <a:cubicBezTo>
                    <a:pt x="66" y="7"/>
                    <a:pt x="66" y="7"/>
                    <a:pt x="66" y="7"/>
                  </a:cubicBezTo>
                  <a:cubicBezTo>
                    <a:pt x="89" y="34"/>
                    <a:pt x="89" y="34"/>
                    <a:pt x="89" y="34"/>
                  </a:cubicBezTo>
                  <a:cubicBezTo>
                    <a:pt x="78" y="34"/>
                    <a:pt x="78" y="34"/>
                    <a:pt x="78" y="34"/>
                  </a:cubicBezTo>
                  <a:cubicBezTo>
                    <a:pt x="77" y="34"/>
                    <a:pt x="76" y="35"/>
                    <a:pt x="76" y="37"/>
                  </a:cubicBezTo>
                  <a:cubicBezTo>
                    <a:pt x="76" y="54"/>
                    <a:pt x="76" y="54"/>
                    <a:pt x="76" y="54"/>
                  </a:cubicBezTo>
                  <a:cubicBezTo>
                    <a:pt x="76" y="56"/>
                    <a:pt x="76" y="102"/>
                    <a:pt x="128" y="111"/>
                  </a:cubicBezTo>
                  <a:cubicBezTo>
                    <a:pt x="129" y="111"/>
                    <a:pt x="129" y="111"/>
                    <a:pt x="129" y="111"/>
                  </a:cubicBezTo>
                  <a:cubicBezTo>
                    <a:pt x="130" y="111"/>
                    <a:pt x="131" y="110"/>
                    <a:pt x="132" y="109"/>
                  </a:cubicBezTo>
                  <a:cubicBezTo>
                    <a:pt x="132" y="107"/>
                    <a:pt x="131" y="106"/>
                    <a:pt x="129"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0" name="Freeform 17">
              <a:extLst>
                <a:ext uri="{FF2B5EF4-FFF2-40B4-BE49-F238E27FC236}">
                  <a16:creationId xmlns:a16="http://schemas.microsoft.com/office/drawing/2014/main" id="{453F454D-2E41-42E7-A89F-E6F288E19810}"/>
                </a:ext>
              </a:extLst>
            </p:cNvPr>
            <p:cNvSpPr>
              <a:spLocks/>
            </p:cNvSpPr>
            <p:nvPr/>
          </p:nvSpPr>
          <p:spPr bwMode="auto">
            <a:xfrm>
              <a:off x="6755135" y="1944691"/>
              <a:ext cx="249238" cy="211138"/>
            </a:xfrm>
            <a:custGeom>
              <a:avLst/>
              <a:gdLst>
                <a:gd name="T0" fmla="*/ 102 w 107"/>
                <a:gd name="T1" fmla="*/ 53 h 90"/>
                <a:gd name="T2" fmla="*/ 89 w 107"/>
                <a:gd name="T3" fmla="*/ 85 h 90"/>
                <a:gd name="T4" fmla="*/ 89 w 107"/>
                <a:gd name="T5" fmla="*/ 89 h 90"/>
                <a:gd name="T6" fmla="*/ 91 w 107"/>
                <a:gd name="T7" fmla="*/ 90 h 90"/>
                <a:gd name="T8" fmla="*/ 93 w 107"/>
                <a:gd name="T9" fmla="*/ 89 h 90"/>
                <a:gd name="T10" fmla="*/ 107 w 107"/>
                <a:gd name="T11" fmla="*/ 53 h 90"/>
                <a:gd name="T12" fmla="*/ 54 w 107"/>
                <a:gd name="T13" fmla="*/ 0 h 90"/>
                <a:gd name="T14" fmla="*/ 0 w 107"/>
                <a:gd name="T15" fmla="*/ 53 h 90"/>
                <a:gd name="T16" fmla="*/ 14 w 107"/>
                <a:gd name="T17" fmla="*/ 89 h 90"/>
                <a:gd name="T18" fmla="*/ 18 w 107"/>
                <a:gd name="T19" fmla="*/ 89 h 90"/>
                <a:gd name="T20" fmla="*/ 18 w 107"/>
                <a:gd name="T21" fmla="*/ 85 h 90"/>
                <a:gd name="T22" fmla="*/ 6 w 107"/>
                <a:gd name="T23" fmla="*/ 53 h 90"/>
                <a:gd name="T24" fmla="*/ 54 w 107"/>
                <a:gd name="T25" fmla="*/ 6 h 90"/>
                <a:gd name="T26" fmla="*/ 102 w 107"/>
                <a:gd name="T27" fmla="*/ 5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0">
                  <a:moveTo>
                    <a:pt x="102" y="53"/>
                  </a:moveTo>
                  <a:cubicBezTo>
                    <a:pt x="102" y="65"/>
                    <a:pt x="97" y="77"/>
                    <a:pt x="89" y="85"/>
                  </a:cubicBezTo>
                  <a:cubicBezTo>
                    <a:pt x="88" y="87"/>
                    <a:pt x="88" y="88"/>
                    <a:pt x="89" y="89"/>
                  </a:cubicBezTo>
                  <a:cubicBezTo>
                    <a:pt x="90" y="90"/>
                    <a:pt x="91" y="90"/>
                    <a:pt x="91" y="90"/>
                  </a:cubicBezTo>
                  <a:cubicBezTo>
                    <a:pt x="92" y="90"/>
                    <a:pt x="93" y="90"/>
                    <a:pt x="93" y="89"/>
                  </a:cubicBezTo>
                  <a:cubicBezTo>
                    <a:pt x="102" y="79"/>
                    <a:pt x="107" y="67"/>
                    <a:pt x="107" y="53"/>
                  </a:cubicBezTo>
                  <a:cubicBezTo>
                    <a:pt x="107" y="24"/>
                    <a:pt x="83" y="0"/>
                    <a:pt x="54" y="0"/>
                  </a:cubicBezTo>
                  <a:cubicBezTo>
                    <a:pt x="24" y="0"/>
                    <a:pt x="0" y="24"/>
                    <a:pt x="0" y="53"/>
                  </a:cubicBezTo>
                  <a:cubicBezTo>
                    <a:pt x="0" y="67"/>
                    <a:pt x="5" y="79"/>
                    <a:pt x="14" y="89"/>
                  </a:cubicBezTo>
                  <a:cubicBezTo>
                    <a:pt x="15" y="90"/>
                    <a:pt x="17" y="90"/>
                    <a:pt x="18" y="89"/>
                  </a:cubicBezTo>
                  <a:cubicBezTo>
                    <a:pt x="19" y="88"/>
                    <a:pt x="19" y="87"/>
                    <a:pt x="18" y="85"/>
                  </a:cubicBezTo>
                  <a:cubicBezTo>
                    <a:pt x="10" y="77"/>
                    <a:pt x="6" y="65"/>
                    <a:pt x="6" y="53"/>
                  </a:cubicBezTo>
                  <a:cubicBezTo>
                    <a:pt x="6" y="27"/>
                    <a:pt x="27" y="6"/>
                    <a:pt x="54" y="6"/>
                  </a:cubicBezTo>
                  <a:cubicBezTo>
                    <a:pt x="80" y="6"/>
                    <a:pt x="102" y="27"/>
                    <a:pt x="10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1" name="Freeform 18">
              <a:extLst>
                <a:ext uri="{FF2B5EF4-FFF2-40B4-BE49-F238E27FC236}">
                  <a16:creationId xmlns:a16="http://schemas.microsoft.com/office/drawing/2014/main" id="{58F66450-29B7-420F-B10E-6ACDE10B6C86}"/>
                </a:ext>
              </a:extLst>
            </p:cNvPr>
            <p:cNvSpPr>
              <a:spLocks/>
            </p:cNvSpPr>
            <p:nvPr/>
          </p:nvSpPr>
          <p:spPr bwMode="auto">
            <a:xfrm>
              <a:off x="6696398" y="1885953"/>
              <a:ext cx="366713" cy="354013"/>
            </a:xfrm>
            <a:custGeom>
              <a:avLst/>
              <a:gdLst>
                <a:gd name="T0" fmla="*/ 48 w 157"/>
                <a:gd name="T1" fmla="*/ 151 h 151"/>
                <a:gd name="T2" fmla="*/ 49 w 157"/>
                <a:gd name="T3" fmla="*/ 151 h 151"/>
                <a:gd name="T4" fmla="*/ 52 w 157"/>
                <a:gd name="T5" fmla="*/ 149 h 151"/>
                <a:gd name="T6" fmla="*/ 50 w 157"/>
                <a:gd name="T7" fmla="*/ 146 h 151"/>
                <a:gd name="T8" fmla="*/ 6 w 157"/>
                <a:gd name="T9" fmla="*/ 78 h 151"/>
                <a:gd name="T10" fmla="*/ 79 w 157"/>
                <a:gd name="T11" fmla="*/ 5 h 151"/>
                <a:gd name="T12" fmla="*/ 152 w 157"/>
                <a:gd name="T13" fmla="*/ 78 h 151"/>
                <a:gd name="T14" fmla="*/ 108 w 157"/>
                <a:gd name="T15" fmla="*/ 146 h 151"/>
                <a:gd name="T16" fmla="*/ 106 w 157"/>
                <a:gd name="T17" fmla="*/ 149 h 151"/>
                <a:gd name="T18" fmla="*/ 110 w 157"/>
                <a:gd name="T19" fmla="*/ 151 h 151"/>
                <a:gd name="T20" fmla="*/ 157 w 157"/>
                <a:gd name="T21" fmla="*/ 78 h 151"/>
                <a:gd name="T22" fmla="*/ 79 w 157"/>
                <a:gd name="T23" fmla="*/ 0 h 151"/>
                <a:gd name="T24" fmla="*/ 0 w 157"/>
                <a:gd name="T25" fmla="*/ 78 h 151"/>
                <a:gd name="T26" fmla="*/ 48 w 157"/>
                <a:gd name="T2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51">
                  <a:moveTo>
                    <a:pt x="48" y="151"/>
                  </a:moveTo>
                  <a:cubicBezTo>
                    <a:pt x="48" y="151"/>
                    <a:pt x="49" y="151"/>
                    <a:pt x="49" y="151"/>
                  </a:cubicBezTo>
                  <a:cubicBezTo>
                    <a:pt x="50" y="151"/>
                    <a:pt x="51" y="150"/>
                    <a:pt x="52" y="149"/>
                  </a:cubicBezTo>
                  <a:cubicBezTo>
                    <a:pt x="52" y="148"/>
                    <a:pt x="52" y="146"/>
                    <a:pt x="50" y="146"/>
                  </a:cubicBezTo>
                  <a:cubicBezTo>
                    <a:pt x="23" y="134"/>
                    <a:pt x="6" y="108"/>
                    <a:pt x="6" y="78"/>
                  </a:cubicBezTo>
                  <a:cubicBezTo>
                    <a:pt x="6" y="38"/>
                    <a:pt x="39" y="5"/>
                    <a:pt x="79" y="5"/>
                  </a:cubicBezTo>
                  <a:cubicBezTo>
                    <a:pt x="119" y="5"/>
                    <a:pt x="152" y="38"/>
                    <a:pt x="152" y="78"/>
                  </a:cubicBezTo>
                  <a:cubicBezTo>
                    <a:pt x="152" y="108"/>
                    <a:pt x="134" y="134"/>
                    <a:pt x="108" y="146"/>
                  </a:cubicBezTo>
                  <a:cubicBezTo>
                    <a:pt x="106" y="146"/>
                    <a:pt x="105" y="148"/>
                    <a:pt x="106" y="149"/>
                  </a:cubicBezTo>
                  <a:cubicBezTo>
                    <a:pt x="107" y="151"/>
                    <a:pt x="108" y="151"/>
                    <a:pt x="110" y="151"/>
                  </a:cubicBezTo>
                  <a:cubicBezTo>
                    <a:pt x="139" y="138"/>
                    <a:pt x="157" y="110"/>
                    <a:pt x="157" y="78"/>
                  </a:cubicBezTo>
                  <a:cubicBezTo>
                    <a:pt x="157" y="35"/>
                    <a:pt x="122" y="0"/>
                    <a:pt x="79" y="0"/>
                  </a:cubicBezTo>
                  <a:cubicBezTo>
                    <a:pt x="35" y="0"/>
                    <a:pt x="0" y="35"/>
                    <a:pt x="0" y="78"/>
                  </a:cubicBezTo>
                  <a:cubicBezTo>
                    <a:pt x="0" y="110"/>
                    <a:pt x="19" y="138"/>
                    <a:pt x="48"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22" name="Группа 621">
            <a:extLst>
              <a:ext uri="{FF2B5EF4-FFF2-40B4-BE49-F238E27FC236}">
                <a16:creationId xmlns:a16="http://schemas.microsoft.com/office/drawing/2014/main" id="{02583BED-5A95-4D7C-94A8-8293576A5428}"/>
              </a:ext>
            </a:extLst>
          </p:cNvPr>
          <p:cNvGrpSpPr/>
          <p:nvPr/>
        </p:nvGrpSpPr>
        <p:grpSpPr>
          <a:xfrm>
            <a:off x="10112168" y="1380019"/>
            <a:ext cx="176690" cy="177294"/>
            <a:chOff x="1493841" y="1881191"/>
            <a:chExt cx="465139" cy="466725"/>
          </a:xfrm>
          <a:solidFill>
            <a:schemeClr val="accent1"/>
          </a:solidFill>
          <a:effectLst/>
        </p:grpSpPr>
        <p:sp>
          <p:nvSpPr>
            <p:cNvPr id="623" name="Freeform 24">
              <a:extLst>
                <a:ext uri="{FF2B5EF4-FFF2-40B4-BE49-F238E27FC236}">
                  <a16:creationId xmlns:a16="http://schemas.microsoft.com/office/drawing/2014/main" id="{7A9451CD-7AB4-4F8E-9944-B81035D1D346}"/>
                </a:ext>
              </a:extLst>
            </p:cNvPr>
            <p:cNvSpPr>
              <a:spLocks/>
            </p:cNvSpPr>
            <p:nvPr/>
          </p:nvSpPr>
          <p:spPr bwMode="auto">
            <a:xfrm>
              <a:off x="1730379" y="2146303"/>
              <a:ext cx="180975" cy="201613"/>
            </a:xfrm>
            <a:custGeom>
              <a:avLst/>
              <a:gdLst>
                <a:gd name="T0" fmla="*/ 75 w 78"/>
                <a:gd name="T1" fmla="*/ 81 h 86"/>
                <a:gd name="T2" fmla="*/ 14 w 78"/>
                <a:gd name="T3" fmla="*/ 58 h 86"/>
                <a:gd name="T4" fmla="*/ 28 w 78"/>
                <a:gd name="T5" fmla="*/ 45 h 86"/>
                <a:gd name="T6" fmla="*/ 37 w 78"/>
                <a:gd name="T7" fmla="*/ 39 h 86"/>
                <a:gd name="T8" fmla="*/ 43 w 78"/>
                <a:gd name="T9" fmla="*/ 28 h 86"/>
                <a:gd name="T10" fmla="*/ 6 w 78"/>
                <a:gd name="T11" fmla="*/ 2 h 86"/>
                <a:gd name="T12" fmla="*/ 5 w 78"/>
                <a:gd name="T13" fmla="*/ 1 h 86"/>
                <a:gd name="T14" fmla="*/ 1 w 78"/>
                <a:gd name="T15" fmla="*/ 3 h 86"/>
                <a:gd name="T16" fmla="*/ 2 w 78"/>
                <a:gd name="T17" fmla="*/ 6 h 86"/>
                <a:gd name="T18" fmla="*/ 4 w 78"/>
                <a:gd name="T19" fmla="*/ 7 h 86"/>
                <a:gd name="T20" fmla="*/ 37 w 78"/>
                <a:gd name="T21" fmla="*/ 29 h 86"/>
                <a:gd name="T22" fmla="*/ 34 w 78"/>
                <a:gd name="T23" fmla="*/ 35 h 86"/>
                <a:gd name="T24" fmla="*/ 25 w 78"/>
                <a:gd name="T25" fmla="*/ 40 h 86"/>
                <a:gd name="T26" fmla="*/ 9 w 78"/>
                <a:gd name="T27" fmla="*/ 60 h 86"/>
                <a:gd name="T28" fmla="*/ 75 w 78"/>
                <a:gd name="T29" fmla="*/ 86 h 86"/>
                <a:gd name="T30" fmla="*/ 75 w 78"/>
                <a:gd name="T31" fmla="*/ 86 h 86"/>
                <a:gd name="T32" fmla="*/ 78 w 78"/>
                <a:gd name="T33" fmla="*/ 84 h 86"/>
                <a:gd name="T34" fmla="*/ 75 w 78"/>
                <a:gd name="T35" fmla="*/ 8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86">
                  <a:moveTo>
                    <a:pt x="75" y="81"/>
                  </a:moveTo>
                  <a:cubicBezTo>
                    <a:pt x="25" y="74"/>
                    <a:pt x="16" y="62"/>
                    <a:pt x="14" y="58"/>
                  </a:cubicBezTo>
                  <a:cubicBezTo>
                    <a:pt x="13" y="53"/>
                    <a:pt x="19" y="50"/>
                    <a:pt x="28" y="45"/>
                  </a:cubicBezTo>
                  <a:cubicBezTo>
                    <a:pt x="31" y="43"/>
                    <a:pt x="35" y="41"/>
                    <a:pt x="37" y="39"/>
                  </a:cubicBezTo>
                  <a:cubicBezTo>
                    <a:pt x="41" y="36"/>
                    <a:pt x="43" y="32"/>
                    <a:pt x="43" y="28"/>
                  </a:cubicBezTo>
                  <a:cubicBezTo>
                    <a:pt x="42" y="18"/>
                    <a:pt x="25" y="10"/>
                    <a:pt x="6" y="2"/>
                  </a:cubicBezTo>
                  <a:cubicBezTo>
                    <a:pt x="5" y="1"/>
                    <a:pt x="5" y="1"/>
                    <a:pt x="5" y="1"/>
                  </a:cubicBezTo>
                  <a:cubicBezTo>
                    <a:pt x="3" y="0"/>
                    <a:pt x="2" y="1"/>
                    <a:pt x="1" y="3"/>
                  </a:cubicBezTo>
                  <a:cubicBezTo>
                    <a:pt x="0" y="4"/>
                    <a:pt x="1" y="6"/>
                    <a:pt x="2" y="6"/>
                  </a:cubicBezTo>
                  <a:cubicBezTo>
                    <a:pt x="4" y="7"/>
                    <a:pt x="4" y="7"/>
                    <a:pt x="4" y="7"/>
                  </a:cubicBezTo>
                  <a:cubicBezTo>
                    <a:pt x="15" y="12"/>
                    <a:pt x="36" y="21"/>
                    <a:pt x="37" y="29"/>
                  </a:cubicBezTo>
                  <a:cubicBezTo>
                    <a:pt x="37" y="30"/>
                    <a:pt x="38" y="32"/>
                    <a:pt x="34" y="35"/>
                  </a:cubicBezTo>
                  <a:cubicBezTo>
                    <a:pt x="32" y="37"/>
                    <a:pt x="29" y="38"/>
                    <a:pt x="25" y="40"/>
                  </a:cubicBezTo>
                  <a:cubicBezTo>
                    <a:pt x="16" y="45"/>
                    <a:pt x="5" y="50"/>
                    <a:pt x="9" y="60"/>
                  </a:cubicBezTo>
                  <a:cubicBezTo>
                    <a:pt x="13" y="72"/>
                    <a:pt x="36" y="81"/>
                    <a:pt x="75" y="86"/>
                  </a:cubicBezTo>
                  <a:cubicBezTo>
                    <a:pt x="75" y="86"/>
                    <a:pt x="75" y="86"/>
                    <a:pt x="75" y="86"/>
                  </a:cubicBezTo>
                  <a:cubicBezTo>
                    <a:pt x="77" y="86"/>
                    <a:pt x="78" y="85"/>
                    <a:pt x="78" y="84"/>
                  </a:cubicBezTo>
                  <a:cubicBezTo>
                    <a:pt x="78" y="82"/>
                    <a:pt x="77" y="81"/>
                    <a:pt x="75"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4" name="Freeform 25">
              <a:extLst>
                <a:ext uri="{FF2B5EF4-FFF2-40B4-BE49-F238E27FC236}">
                  <a16:creationId xmlns:a16="http://schemas.microsoft.com/office/drawing/2014/main" id="{87C8407D-2531-4A54-81E8-C7894BB9CBA1}"/>
                </a:ext>
              </a:extLst>
            </p:cNvPr>
            <p:cNvSpPr>
              <a:spLocks/>
            </p:cNvSpPr>
            <p:nvPr/>
          </p:nvSpPr>
          <p:spPr bwMode="auto">
            <a:xfrm>
              <a:off x="1514479" y="2185991"/>
              <a:ext cx="215901" cy="161925"/>
            </a:xfrm>
            <a:custGeom>
              <a:avLst/>
              <a:gdLst>
                <a:gd name="T0" fmla="*/ 87 w 92"/>
                <a:gd name="T1" fmla="*/ 0 h 69"/>
                <a:gd name="T2" fmla="*/ 84 w 92"/>
                <a:gd name="T3" fmla="*/ 3 h 69"/>
                <a:gd name="T4" fmla="*/ 45 w 92"/>
                <a:gd name="T5" fmla="*/ 22 h 69"/>
                <a:gd name="T6" fmla="*/ 22 w 92"/>
                <a:gd name="T7" fmla="*/ 29 h 69"/>
                <a:gd name="T8" fmla="*/ 0 w 92"/>
                <a:gd name="T9" fmla="*/ 49 h 69"/>
                <a:gd name="T10" fmla="*/ 27 w 92"/>
                <a:gd name="T11" fmla="*/ 69 h 69"/>
                <a:gd name="T12" fmla="*/ 28 w 92"/>
                <a:gd name="T13" fmla="*/ 69 h 69"/>
                <a:gd name="T14" fmla="*/ 31 w 92"/>
                <a:gd name="T15" fmla="*/ 67 h 69"/>
                <a:gd name="T16" fmla="*/ 29 w 92"/>
                <a:gd name="T17" fmla="*/ 64 h 69"/>
                <a:gd name="T18" fmla="*/ 5 w 92"/>
                <a:gd name="T19" fmla="*/ 48 h 69"/>
                <a:gd name="T20" fmla="*/ 24 w 92"/>
                <a:gd name="T21" fmla="*/ 34 h 69"/>
                <a:gd name="T22" fmla="*/ 46 w 92"/>
                <a:gd name="T23" fmla="*/ 28 h 69"/>
                <a:gd name="T24" fmla="*/ 90 w 92"/>
                <a:gd name="T25" fmla="*/ 2 h 69"/>
                <a:gd name="T26" fmla="*/ 87 w 92"/>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69">
                  <a:moveTo>
                    <a:pt x="87" y="0"/>
                  </a:moveTo>
                  <a:cubicBezTo>
                    <a:pt x="85" y="0"/>
                    <a:pt x="84" y="1"/>
                    <a:pt x="84" y="3"/>
                  </a:cubicBezTo>
                  <a:cubicBezTo>
                    <a:pt x="85" y="11"/>
                    <a:pt x="63" y="17"/>
                    <a:pt x="45" y="22"/>
                  </a:cubicBezTo>
                  <a:cubicBezTo>
                    <a:pt x="37" y="24"/>
                    <a:pt x="29" y="27"/>
                    <a:pt x="22" y="29"/>
                  </a:cubicBezTo>
                  <a:cubicBezTo>
                    <a:pt x="7" y="34"/>
                    <a:pt x="0" y="41"/>
                    <a:pt x="0" y="49"/>
                  </a:cubicBezTo>
                  <a:cubicBezTo>
                    <a:pt x="0" y="57"/>
                    <a:pt x="9" y="64"/>
                    <a:pt x="27" y="69"/>
                  </a:cubicBezTo>
                  <a:cubicBezTo>
                    <a:pt x="28" y="69"/>
                    <a:pt x="28" y="69"/>
                    <a:pt x="28" y="69"/>
                  </a:cubicBezTo>
                  <a:cubicBezTo>
                    <a:pt x="29" y="69"/>
                    <a:pt x="30" y="69"/>
                    <a:pt x="31" y="67"/>
                  </a:cubicBezTo>
                  <a:cubicBezTo>
                    <a:pt x="31" y="66"/>
                    <a:pt x="30" y="64"/>
                    <a:pt x="29" y="64"/>
                  </a:cubicBezTo>
                  <a:cubicBezTo>
                    <a:pt x="8" y="57"/>
                    <a:pt x="5" y="51"/>
                    <a:pt x="5" y="48"/>
                  </a:cubicBezTo>
                  <a:cubicBezTo>
                    <a:pt x="5" y="44"/>
                    <a:pt x="12" y="38"/>
                    <a:pt x="24" y="34"/>
                  </a:cubicBezTo>
                  <a:cubicBezTo>
                    <a:pt x="30" y="32"/>
                    <a:pt x="38" y="30"/>
                    <a:pt x="46" y="28"/>
                  </a:cubicBezTo>
                  <a:cubicBezTo>
                    <a:pt x="69" y="21"/>
                    <a:pt x="92" y="15"/>
                    <a:pt x="90" y="2"/>
                  </a:cubicBezTo>
                  <a:cubicBezTo>
                    <a:pt x="90" y="1"/>
                    <a:pt x="88" y="0"/>
                    <a:pt x="8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5" name="Freeform 26">
              <a:extLst>
                <a:ext uri="{FF2B5EF4-FFF2-40B4-BE49-F238E27FC236}">
                  <a16:creationId xmlns:a16="http://schemas.microsoft.com/office/drawing/2014/main" id="{941E6389-E99A-45DA-A480-0F763C7AA1AD}"/>
                </a:ext>
              </a:extLst>
            </p:cNvPr>
            <p:cNvSpPr>
              <a:spLocks noEditPoints="1"/>
            </p:cNvSpPr>
            <p:nvPr/>
          </p:nvSpPr>
          <p:spPr bwMode="auto">
            <a:xfrm>
              <a:off x="1493841" y="1881191"/>
              <a:ext cx="465139" cy="319088"/>
            </a:xfrm>
            <a:custGeom>
              <a:avLst/>
              <a:gdLst>
                <a:gd name="T0" fmla="*/ 166 w 199"/>
                <a:gd name="T1" fmla="*/ 98 h 136"/>
                <a:gd name="T2" fmla="*/ 156 w 199"/>
                <a:gd name="T3" fmla="*/ 80 h 136"/>
                <a:gd name="T4" fmla="*/ 126 w 199"/>
                <a:gd name="T5" fmla="*/ 62 h 136"/>
                <a:gd name="T6" fmla="*/ 110 w 199"/>
                <a:gd name="T7" fmla="*/ 55 h 136"/>
                <a:gd name="T8" fmla="*/ 99 w 199"/>
                <a:gd name="T9" fmla="*/ 35 h 136"/>
                <a:gd name="T10" fmla="*/ 145 w 199"/>
                <a:gd name="T11" fmla="*/ 20 h 136"/>
                <a:gd name="T12" fmla="*/ 99 w 199"/>
                <a:gd name="T13" fmla="*/ 5 h 136"/>
                <a:gd name="T14" fmla="*/ 96 w 199"/>
                <a:gd name="T15" fmla="*/ 0 h 136"/>
                <a:gd name="T16" fmla="*/ 93 w 199"/>
                <a:gd name="T17" fmla="*/ 48 h 136"/>
                <a:gd name="T18" fmla="*/ 69 w 199"/>
                <a:gd name="T19" fmla="*/ 69 h 136"/>
                <a:gd name="T20" fmla="*/ 41 w 199"/>
                <a:gd name="T21" fmla="*/ 101 h 136"/>
                <a:gd name="T22" fmla="*/ 27 w 199"/>
                <a:gd name="T23" fmla="*/ 114 h 136"/>
                <a:gd name="T24" fmla="*/ 14 w 199"/>
                <a:gd name="T25" fmla="*/ 119 h 136"/>
                <a:gd name="T26" fmla="*/ 2 w 199"/>
                <a:gd name="T27" fmla="*/ 135 h 136"/>
                <a:gd name="T28" fmla="*/ 5 w 199"/>
                <a:gd name="T29" fmla="*/ 135 h 136"/>
                <a:gd name="T30" fmla="*/ 30 w 199"/>
                <a:gd name="T31" fmla="*/ 119 h 136"/>
                <a:gd name="T32" fmla="*/ 43 w 199"/>
                <a:gd name="T33" fmla="*/ 107 h 136"/>
                <a:gd name="T34" fmla="*/ 82 w 199"/>
                <a:gd name="T35" fmla="*/ 119 h 136"/>
                <a:gd name="T36" fmla="*/ 85 w 199"/>
                <a:gd name="T37" fmla="*/ 114 h 136"/>
                <a:gd name="T38" fmla="*/ 74 w 199"/>
                <a:gd name="T39" fmla="*/ 72 h 136"/>
                <a:gd name="T40" fmla="*/ 106 w 199"/>
                <a:gd name="T41" fmla="*/ 59 h 136"/>
                <a:gd name="T42" fmla="*/ 111 w 199"/>
                <a:gd name="T43" fmla="*/ 85 h 136"/>
                <a:gd name="T44" fmla="*/ 126 w 199"/>
                <a:gd name="T45" fmla="*/ 105 h 136"/>
                <a:gd name="T46" fmla="*/ 129 w 199"/>
                <a:gd name="T47" fmla="*/ 107 h 136"/>
                <a:gd name="T48" fmla="*/ 124 w 199"/>
                <a:gd name="T49" fmla="*/ 88 h 136"/>
                <a:gd name="T50" fmla="*/ 116 w 199"/>
                <a:gd name="T51" fmla="*/ 81 h 136"/>
                <a:gd name="T52" fmla="*/ 123 w 199"/>
                <a:gd name="T53" fmla="*/ 67 h 136"/>
                <a:gd name="T54" fmla="*/ 142 w 199"/>
                <a:gd name="T55" fmla="*/ 81 h 136"/>
                <a:gd name="T56" fmla="*/ 161 w 199"/>
                <a:gd name="T57" fmla="*/ 101 h 136"/>
                <a:gd name="T58" fmla="*/ 194 w 199"/>
                <a:gd name="T59" fmla="*/ 126 h 136"/>
                <a:gd name="T60" fmla="*/ 198 w 199"/>
                <a:gd name="T61" fmla="*/ 126 h 136"/>
                <a:gd name="T62" fmla="*/ 132 w 199"/>
                <a:gd name="T63" fmla="*/ 20 h 136"/>
                <a:gd name="T64" fmla="*/ 99 w 199"/>
                <a:gd name="T65" fmla="*/ 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9" h="136">
                  <a:moveTo>
                    <a:pt x="198" y="122"/>
                  </a:moveTo>
                  <a:cubicBezTo>
                    <a:pt x="166" y="98"/>
                    <a:pt x="166" y="98"/>
                    <a:pt x="166" y="98"/>
                  </a:cubicBezTo>
                  <a:cubicBezTo>
                    <a:pt x="158" y="82"/>
                    <a:pt x="158" y="82"/>
                    <a:pt x="158" y="82"/>
                  </a:cubicBezTo>
                  <a:cubicBezTo>
                    <a:pt x="157" y="81"/>
                    <a:pt x="157" y="81"/>
                    <a:pt x="156" y="80"/>
                  </a:cubicBezTo>
                  <a:cubicBezTo>
                    <a:pt x="144" y="76"/>
                    <a:pt x="144" y="76"/>
                    <a:pt x="144" y="76"/>
                  </a:cubicBezTo>
                  <a:cubicBezTo>
                    <a:pt x="126" y="62"/>
                    <a:pt x="126" y="62"/>
                    <a:pt x="126" y="62"/>
                  </a:cubicBezTo>
                  <a:cubicBezTo>
                    <a:pt x="126" y="62"/>
                    <a:pt x="126" y="62"/>
                    <a:pt x="126" y="62"/>
                  </a:cubicBezTo>
                  <a:cubicBezTo>
                    <a:pt x="110" y="55"/>
                    <a:pt x="110" y="55"/>
                    <a:pt x="110" y="55"/>
                  </a:cubicBezTo>
                  <a:cubicBezTo>
                    <a:pt x="99" y="48"/>
                    <a:pt x="99" y="48"/>
                    <a:pt x="99" y="48"/>
                  </a:cubicBezTo>
                  <a:cubicBezTo>
                    <a:pt x="99" y="35"/>
                    <a:pt x="99" y="35"/>
                    <a:pt x="99" y="35"/>
                  </a:cubicBezTo>
                  <a:cubicBezTo>
                    <a:pt x="143" y="22"/>
                    <a:pt x="143" y="22"/>
                    <a:pt x="143" y="22"/>
                  </a:cubicBezTo>
                  <a:cubicBezTo>
                    <a:pt x="144" y="22"/>
                    <a:pt x="145" y="21"/>
                    <a:pt x="145" y="20"/>
                  </a:cubicBezTo>
                  <a:cubicBezTo>
                    <a:pt x="145" y="19"/>
                    <a:pt x="144" y="17"/>
                    <a:pt x="143" y="17"/>
                  </a:cubicBezTo>
                  <a:cubicBezTo>
                    <a:pt x="99" y="5"/>
                    <a:pt x="99" y="5"/>
                    <a:pt x="99" y="5"/>
                  </a:cubicBezTo>
                  <a:cubicBezTo>
                    <a:pt x="99" y="3"/>
                    <a:pt x="99" y="3"/>
                    <a:pt x="99" y="3"/>
                  </a:cubicBezTo>
                  <a:cubicBezTo>
                    <a:pt x="99" y="1"/>
                    <a:pt x="98" y="0"/>
                    <a:pt x="96" y="0"/>
                  </a:cubicBezTo>
                  <a:cubicBezTo>
                    <a:pt x="95" y="0"/>
                    <a:pt x="93" y="1"/>
                    <a:pt x="93" y="3"/>
                  </a:cubicBezTo>
                  <a:cubicBezTo>
                    <a:pt x="93" y="48"/>
                    <a:pt x="93" y="48"/>
                    <a:pt x="93" y="48"/>
                  </a:cubicBezTo>
                  <a:cubicBezTo>
                    <a:pt x="70" y="68"/>
                    <a:pt x="70" y="68"/>
                    <a:pt x="70" y="68"/>
                  </a:cubicBezTo>
                  <a:cubicBezTo>
                    <a:pt x="70" y="68"/>
                    <a:pt x="69" y="69"/>
                    <a:pt x="69" y="69"/>
                  </a:cubicBezTo>
                  <a:cubicBezTo>
                    <a:pt x="52" y="101"/>
                    <a:pt x="52" y="101"/>
                    <a:pt x="52" y="101"/>
                  </a:cubicBezTo>
                  <a:cubicBezTo>
                    <a:pt x="41" y="101"/>
                    <a:pt x="41" y="101"/>
                    <a:pt x="41" y="101"/>
                  </a:cubicBezTo>
                  <a:cubicBezTo>
                    <a:pt x="41" y="101"/>
                    <a:pt x="40" y="101"/>
                    <a:pt x="39" y="102"/>
                  </a:cubicBezTo>
                  <a:cubicBezTo>
                    <a:pt x="27" y="114"/>
                    <a:pt x="27" y="114"/>
                    <a:pt x="27" y="114"/>
                  </a:cubicBezTo>
                  <a:cubicBezTo>
                    <a:pt x="15" y="118"/>
                    <a:pt x="15" y="118"/>
                    <a:pt x="15" y="118"/>
                  </a:cubicBezTo>
                  <a:cubicBezTo>
                    <a:pt x="15" y="118"/>
                    <a:pt x="14" y="119"/>
                    <a:pt x="14" y="119"/>
                  </a:cubicBezTo>
                  <a:cubicBezTo>
                    <a:pt x="2" y="131"/>
                    <a:pt x="2" y="131"/>
                    <a:pt x="2" y="131"/>
                  </a:cubicBezTo>
                  <a:cubicBezTo>
                    <a:pt x="0" y="133"/>
                    <a:pt x="0" y="134"/>
                    <a:pt x="2" y="135"/>
                  </a:cubicBezTo>
                  <a:cubicBezTo>
                    <a:pt x="2" y="136"/>
                    <a:pt x="3" y="136"/>
                    <a:pt x="3" y="136"/>
                  </a:cubicBezTo>
                  <a:cubicBezTo>
                    <a:pt x="4" y="136"/>
                    <a:pt x="5" y="136"/>
                    <a:pt x="5" y="135"/>
                  </a:cubicBezTo>
                  <a:cubicBezTo>
                    <a:pt x="18" y="123"/>
                    <a:pt x="18" y="123"/>
                    <a:pt x="18" y="123"/>
                  </a:cubicBezTo>
                  <a:cubicBezTo>
                    <a:pt x="30" y="119"/>
                    <a:pt x="30" y="119"/>
                    <a:pt x="30" y="119"/>
                  </a:cubicBezTo>
                  <a:cubicBezTo>
                    <a:pt x="30" y="119"/>
                    <a:pt x="30" y="119"/>
                    <a:pt x="31" y="119"/>
                  </a:cubicBezTo>
                  <a:cubicBezTo>
                    <a:pt x="43" y="107"/>
                    <a:pt x="43" y="107"/>
                    <a:pt x="43" y="107"/>
                  </a:cubicBezTo>
                  <a:cubicBezTo>
                    <a:pt x="53" y="107"/>
                    <a:pt x="53" y="107"/>
                    <a:pt x="53" y="107"/>
                  </a:cubicBezTo>
                  <a:cubicBezTo>
                    <a:pt x="82" y="119"/>
                    <a:pt x="82" y="119"/>
                    <a:pt x="82" y="119"/>
                  </a:cubicBezTo>
                  <a:cubicBezTo>
                    <a:pt x="84" y="120"/>
                    <a:pt x="85" y="119"/>
                    <a:pt x="86" y="118"/>
                  </a:cubicBezTo>
                  <a:cubicBezTo>
                    <a:pt x="87" y="116"/>
                    <a:pt x="86" y="115"/>
                    <a:pt x="85" y="114"/>
                  </a:cubicBezTo>
                  <a:cubicBezTo>
                    <a:pt x="58" y="103"/>
                    <a:pt x="58" y="103"/>
                    <a:pt x="58" y="103"/>
                  </a:cubicBezTo>
                  <a:cubicBezTo>
                    <a:pt x="74" y="72"/>
                    <a:pt x="74" y="72"/>
                    <a:pt x="74" y="72"/>
                  </a:cubicBezTo>
                  <a:cubicBezTo>
                    <a:pt x="96" y="53"/>
                    <a:pt x="96" y="53"/>
                    <a:pt x="96" y="53"/>
                  </a:cubicBezTo>
                  <a:cubicBezTo>
                    <a:pt x="106" y="59"/>
                    <a:pt x="106" y="59"/>
                    <a:pt x="106" y="59"/>
                  </a:cubicBezTo>
                  <a:cubicBezTo>
                    <a:pt x="110" y="83"/>
                    <a:pt x="110" y="83"/>
                    <a:pt x="110" y="83"/>
                  </a:cubicBezTo>
                  <a:cubicBezTo>
                    <a:pt x="110" y="84"/>
                    <a:pt x="111" y="84"/>
                    <a:pt x="111" y="85"/>
                  </a:cubicBezTo>
                  <a:cubicBezTo>
                    <a:pt x="120" y="91"/>
                    <a:pt x="120" y="91"/>
                    <a:pt x="120" y="91"/>
                  </a:cubicBezTo>
                  <a:cubicBezTo>
                    <a:pt x="126" y="105"/>
                    <a:pt x="126" y="105"/>
                    <a:pt x="126" y="105"/>
                  </a:cubicBezTo>
                  <a:cubicBezTo>
                    <a:pt x="126" y="106"/>
                    <a:pt x="127" y="107"/>
                    <a:pt x="128" y="107"/>
                  </a:cubicBezTo>
                  <a:cubicBezTo>
                    <a:pt x="129" y="107"/>
                    <a:pt x="129" y="107"/>
                    <a:pt x="129" y="107"/>
                  </a:cubicBezTo>
                  <a:cubicBezTo>
                    <a:pt x="131" y="106"/>
                    <a:pt x="131" y="105"/>
                    <a:pt x="131" y="103"/>
                  </a:cubicBezTo>
                  <a:cubicBezTo>
                    <a:pt x="124" y="88"/>
                    <a:pt x="124" y="88"/>
                    <a:pt x="124" y="88"/>
                  </a:cubicBezTo>
                  <a:cubicBezTo>
                    <a:pt x="124" y="87"/>
                    <a:pt x="124" y="87"/>
                    <a:pt x="124" y="87"/>
                  </a:cubicBezTo>
                  <a:cubicBezTo>
                    <a:pt x="116" y="81"/>
                    <a:pt x="116" y="81"/>
                    <a:pt x="116" y="81"/>
                  </a:cubicBezTo>
                  <a:cubicBezTo>
                    <a:pt x="112" y="62"/>
                    <a:pt x="112" y="62"/>
                    <a:pt x="112" y="62"/>
                  </a:cubicBezTo>
                  <a:cubicBezTo>
                    <a:pt x="123" y="67"/>
                    <a:pt x="123" y="67"/>
                    <a:pt x="123" y="67"/>
                  </a:cubicBezTo>
                  <a:cubicBezTo>
                    <a:pt x="141" y="81"/>
                    <a:pt x="141" y="81"/>
                    <a:pt x="141" y="81"/>
                  </a:cubicBezTo>
                  <a:cubicBezTo>
                    <a:pt x="141" y="81"/>
                    <a:pt x="141" y="81"/>
                    <a:pt x="142" y="81"/>
                  </a:cubicBezTo>
                  <a:cubicBezTo>
                    <a:pt x="153" y="85"/>
                    <a:pt x="153" y="85"/>
                    <a:pt x="153" y="85"/>
                  </a:cubicBezTo>
                  <a:cubicBezTo>
                    <a:pt x="161" y="101"/>
                    <a:pt x="161" y="101"/>
                    <a:pt x="161" y="101"/>
                  </a:cubicBezTo>
                  <a:cubicBezTo>
                    <a:pt x="162" y="102"/>
                    <a:pt x="162" y="102"/>
                    <a:pt x="162" y="102"/>
                  </a:cubicBezTo>
                  <a:cubicBezTo>
                    <a:pt x="194" y="126"/>
                    <a:pt x="194" y="126"/>
                    <a:pt x="194" y="126"/>
                  </a:cubicBezTo>
                  <a:cubicBezTo>
                    <a:pt x="195" y="127"/>
                    <a:pt x="196" y="127"/>
                    <a:pt x="196" y="127"/>
                  </a:cubicBezTo>
                  <a:cubicBezTo>
                    <a:pt x="197" y="127"/>
                    <a:pt x="198" y="127"/>
                    <a:pt x="198" y="126"/>
                  </a:cubicBezTo>
                  <a:cubicBezTo>
                    <a:pt x="199" y="125"/>
                    <a:pt x="199" y="123"/>
                    <a:pt x="198" y="122"/>
                  </a:cubicBezTo>
                  <a:close/>
                  <a:moveTo>
                    <a:pt x="132" y="20"/>
                  </a:moveTo>
                  <a:cubicBezTo>
                    <a:pt x="99" y="29"/>
                    <a:pt x="99" y="29"/>
                    <a:pt x="99" y="29"/>
                  </a:cubicBezTo>
                  <a:cubicBezTo>
                    <a:pt x="99" y="11"/>
                    <a:pt x="99" y="11"/>
                    <a:pt x="99" y="11"/>
                  </a:cubicBezTo>
                  <a:lnTo>
                    <a:pt x="13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26" name="Группа 625">
            <a:extLst>
              <a:ext uri="{FF2B5EF4-FFF2-40B4-BE49-F238E27FC236}">
                <a16:creationId xmlns:a16="http://schemas.microsoft.com/office/drawing/2014/main" id="{7C8426CD-A7F6-4599-ADB4-FDE27258A4DF}"/>
              </a:ext>
            </a:extLst>
          </p:cNvPr>
          <p:cNvGrpSpPr/>
          <p:nvPr/>
        </p:nvGrpSpPr>
        <p:grpSpPr>
          <a:xfrm>
            <a:off x="10121064" y="2004457"/>
            <a:ext cx="158898" cy="155688"/>
            <a:chOff x="4176722" y="1857378"/>
            <a:chExt cx="471489" cy="461963"/>
          </a:xfrm>
          <a:solidFill>
            <a:schemeClr val="accent1"/>
          </a:solidFill>
          <a:effectLst/>
        </p:grpSpPr>
        <p:sp>
          <p:nvSpPr>
            <p:cNvPr id="627" name="Freeform 31">
              <a:extLst>
                <a:ext uri="{FF2B5EF4-FFF2-40B4-BE49-F238E27FC236}">
                  <a16:creationId xmlns:a16="http://schemas.microsoft.com/office/drawing/2014/main" id="{36A05016-762A-43D1-BF00-3BA0485599DD}"/>
                </a:ext>
              </a:extLst>
            </p:cNvPr>
            <p:cNvSpPr>
              <a:spLocks/>
            </p:cNvSpPr>
            <p:nvPr/>
          </p:nvSpPr>
          <p:spPr bwMode="auto">
            <a:xfrm>
              <a:off x="4321185" y="2028828"/>
              <a:ext cx="88900" cy="123825"/>
            </a:xfrm>
            <a:custGeom>
              <a:avLst/>
              <a:gdLst>
                <a:gd name="T0" fmla="*/ 9 w 38"/>
                <a:gd name="T1" fmla="*/ 7 h 53"/>
                <a:gd name="T2" fmla="*/ 18 w 38"/>
                <a:gd name="T3" fmla="*/ 11 h 53"/>
                <a:gd name="T4" fmla="*/ 22 w 38"/>
                <a:gd name="T5" fmla="*/ 11 h 53"/>
                <a:gd name="T6" fmla="*/ 22 w 38"/>
                <a:gd name="T7" fmla="*/ 7 h 53"/>
                <a:gd name="T8" fmla="*/ 7 w 38"/>
                <a:gd name="T9" fmla="*/ 2 h 53"/>
                <a:gd name="T10" fmla="*/ 0 w 38"/>
                <a:gd name="T11" fmla="*/ 15 h 53"/>
                <a:gd name="T12" fmla="*/ 5 w 38"/>
                <a:gd name="T13" fmla="*/ 33 h 53"/>
                <a:gd name="T14" fmla="*/ 26 w 38"/>
                <a:gd name="T15" fmla="*/ 53 h 53"/>
                <a:gd name="T16" fmla="*/ 30 w 38"/>
                <a:gd name="T17" fmla="*/ 52 h 53"/>
                <a:gd name="T18" fmla="*/ 36 w 38"/>
                <a:gd name="T19" fmla="*/ 33 h 53"/>
                <a:gd name="T20" fmla="*/ 33 w 38"/>
                <a:gd name="T21" fmla="*/ 31 h 53"/>
                <a:gd name="T22" fmla="*/ 30 w 38"/>
                <a:gd name="T23" fmla="*/ 34 h 53"/>
                <a:gd name="T24" fmla="*/ 28 w 38"/>
                <a:gd name="T25" fmla="*/ 47 h 53"/>
                <a:gd name="T26" fmla="*/ 10 w 38"/>
                <a:gd name="T27" fmla="*/ 31 h 53"/>
                <a:gd name="T28" fmla="*/ 6 w 38"/>
                <a:gd name="T29" fmla="*/ 15 h 53"/>
                <a:gd name="T30" fmla="*/ 9 w 38"/>
                <a:gd name="T31"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3">
                  <a:moveTo>
                    <a:pt x="9" y="7"/>
                  </a:moveTo>
                  <a:cubicBezTo>
                    <a:pt x="11" y="6"/>
                    <a:pt x="15" y="7"/>
                    <a:pt x="18" y="11"/>
                  </a:cubicBezTo>
                  <a:cubicBezTo>
                    <a:pt x="19" y="12"/>
                    <a:pt x="21" y="12"/>
                    <a:pt x="22" y="11"/>
                  </a:cubicBezTo>
                  <a:cubicBezTo>
                    <a:pt x="23" y="9"/>
                    <a:pt x="23" y="8"/>
                    <a:pt x="22" y="7"/>
                  </a:cubicBezTo>
                  <a:cubicBezTo>
                    <a:pt x="17" y="2"/>
                    <a:pt x="11" y="0"/>
                    <a:pt x="7" y="2"/>
                  </a:cubicBezTo>
                  <a:cubicBezTo>
                    <a:pt x="3" y="4"/>
                    <a:pt x="0" y="8"/>
                    <a:pt x="0" y="15"/>
                  </a:cubicBezTo>
                  <a:cubicBezTo>
                    <a:pt x="0" y="20"/>
                    <a:pt x="2" y="27"/>
                    <a:pt x="5" y="33"/>
                  </a:cubicBezTo>
                  <a:cubicBezTo>
                    <a:pt x="11" y="46"/>
                    <a:pt x="19" y="53"/>
                    <a:pt x="26" y="53"/>
                  </a:cubicBezTo>
                  <a:cubicBezTo>
                    <a:pt x="28" y="53"/>
                    <a:pt x="29" y="53"/>
                    <a:pt x="30" y="52"/>
                  </a:cubicBezTo>
                  <a:cubicBezTo>
                    <a:pt x="35" y="50"/>
                    <a:pt x="38" y="43"/>
                    <a:pt x="36" y="33"/>
                  </a:cubicBezTo>
                  <a:cubicBezTo>
                    <a:pt x="36" y="32"/>
                    <a:pt x="34" y="31"/>
                    <a:pt x="33" y="31"/>
                  </a:cubicBezTo>
                  <a:cubicBezTo>
                    <a:pt x="31" y="31"/>
                    <a:pt x="30" y="33"/>
                    <a:pt x="30" y="34"/>
                  </a:cubicBezTo>
                  <a:cubicBezTo>
                    <a:pt x="32" y="41"/>
                    <a:pt x="31" y="46"/>
                    <a:pt x="28" y="47"/>
                  </a:cubicBezTo>
                  <a:cubicBezTo>
                    <a:pt x="24" y="49"/>
                    <a:pt x="15" y="43"/>
                    <a:pt x="10" y="31"/>
                  </a:cubicBezTo>
                  <a:cubicBezTo>
                    <a:pt x="7" y="25"/>
                    <a:pt x="6" y="20"/>
                    <a:pt x="6" y="15"/>
                  </a:cubicBezTo>
                  <a:cubicBezTo>
                    <a:pt x="6" y="11"/>
                    <a:pt x="7" y="8"/>
                    <a:pt x="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8" name="Freeform 32">
              <a:extLst>
                <a:ext uri="{FF2B5EF4-FFF2-40B4-BE49-F238E27FC236}">
                  <a16:creationId xmlns:a16="http://schemas.microsoft.com/office/drawing/2014/main" id="{7788F139-2D80-4C81-A422-CCD2EEB94C23}"/>
                </a:ext>
              </a:extLst>
            </p:cNvPr>
            <p:cNvSpPr>
              <a:spLocks/>
            </p:cNvSpPr>
            <p:nvPr/>
          </p:nvSpPr>
          <p:spPr bwMode="auto">
            <a:xfrm>
              <a:off x="4246573" y="1939928"/>
              <a:ext cx="222251" cy="300038"/>
            </a:xfrm>
            <a:custGeom>
              <a:avLst/>
              <a:gdLst>
                <a:gd name="T0" fmla="*/ 66 w 95"/>
                <a:gd name="T1" fmla="*/ 38 h 128"/>
                <a:gd name="T2" fmla="*/ 70 w 95"/>
                <a:gd name="T3" fmla="*/ 39 h 128"/>
                <a:gd name="T4" fmla="*/ 71 w 95"/>
                <a:gd name="T5" fmla="*/ 35 h 128"/>
                <a:gd name="T6" fmla="*/ 20 w 95"/>
                <a:gd name="T7" fmla="*/ 7 h 128"/>
                <a:gd name="T8" fmla="*/ 15 w 95"/>
                <a:gd name="T9" fmla="*/ 82 h 128"/>
                <a:gd name="T10" fmla="*/ 44 w 95"/>
                <a:gd name="T11" fmla="*/ 119 h 128"/>
                <a:gd name="T12" fmla="*/ 67 w 95"/>
                <a:gd name="T13" fmla="*/ 128 h 128"/>
                <a:gd name="T14" fmla="*/ 76 w 95"/>
                <a:gd name="T15" fmla="*/ 126 h 128"/>
                <a:gd name="T16" fmla="*/ 85 w 95"/>
                <a:gd name="T17" fmla="*/ 63 h 128"/>
                <a:gd name="T18" fmla="*/ 81 w 95"/>
                <a:gd name="T19" fmla="*/ 61 h 128"/>
                <a:gd name="T20" fmla="*/ 80 w 95"/>
                <a:gd name="T21" fmla="*/ 65 h 128"/>
                <a:gd name="T22" fmla="*/ 73 w 95"/>
                <a:gd name="T23" fmla="*/ 121 h 128"/>
                <a:gd name="T24" fmla="*/ 47 w 95"/>
                <a:gd name="T25" fmla="*/ 114 h 128"/>
                <a:gd name="T26" fmla="*/ 20 w 95"/>
                <a:gd name="T27" fmla="*/ 79 h 128"/>
                <a:gd name="T28" fmla="*/ 22 w 95"/>
                <a:gd name="T29" fmla="*/ 12 h 128"/>
                <a:gd name="T30" fmla="*/ 66 w 95"/>
                <a:gd name="T31" fmla="*/ 3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128">
                  <a:moveTo>
                    <a:pt x="66" y="38"/>
                  </a:moveTo>
                  <a:cubicBezTo>
                    <a:pt x="67" y="39"/>
                    <a:pt x="69" y="39"/>
                    <a:pt x="70" y="39"/>
                  </a:cubicBezTo>
                  <a:cubicBezTo>
                    <a:pt x="71" y="38"/>
                    <a:pt x="72" y="36"/>
                    <a:pt x="71" y="35"/>
                  </a:cubicBezTo>
                  <a:cubicBezTo>
                    <a:pt x="55" y="11"/>
                    <a:pt x="35" y="0"/>
                    <a:pt x="20" y="7"/>
                  </a:cubicBezTo>
                  <a:cubicBezTo>
                    <a:pt x="2" y="15"/>
                    <a:pt x="0" y="48"/>
                    <a:pt x="15" y="82"/>
                  </a:cubicBezTo>
                  <a:cubicBezTo>
                    <a:pt x="23" y="97"/>
                    <a:pt x="33" y="110"/>
                    <a:pt x="44" y="119"/>
                  </a:cubicBezTo>
                  <a:cubicBezTo>
                    <a:pt x="52" y="125"/>
                    <a:pt x="60" y="128"/>
                    <a:pt x="67" y="128"/>
                  </a:cubicBezTo>
                  <a:cubicBezTo>
                    <a:pt x="70" y="128"/>
                    <a:pt x="73" y="127"/>
                    <a:pt x="76" y="126"/>
                  </a:cubicBezTo>
                  <a:cubicBezTo>
                    <a:pt x="91" y="119"/>
                    <a:pt x="95" y="93"/>
                    <a:pt x="85" y="63"/>
                  </a:cubicBezTo>
                  <a:cubicBezTo>
                    <a:pt x="84" y="61"/>
                    <a:pt x="83" y="61"/>
                    <a:pt x="81" y="61"/>
                  </a:cubicBezTo>
                  <a:cubicBezTo>
                    <a:pt x="80" y="62"/>
                    <a:pt x="79" y="63"/>
                    <a:pt x="80" y="65"/>
                  </a:cubicBezTo>
                  <a:cubicBezTo>
                    <a:pt x="89" y="91"/>
                    <a:pt x="86" y="115"/>
                    <a:pt x="73" y="121"/>
                  </a:cubicBezTo>
                  <a:cubicBezTo>
                    <a:pt x="66" y="124"/>
                    <a:pt x="57" y="122"/>
                    <a:pt x="47" y="114"/>
                  </a:cubicBezTo>
                  <a:cubicBezTo>
                    <a:pt x="37" y="106"/>
                    <a:pt x="27" y="94"/>
                    <a:pt x="20" y="79"/>
                  </a:cubicBezTo>
                  <a:cubicBezTo>
                    <a:pt x="7" y="50"/>
                    <a:pt x="8" y="19"/>
                    <a:pt x="22" y="12"/>
                  </a:cubicBezTo>
                  <a:cubicBezTo>
                    <a:pt x="34" y="6"/>
                    <a:pt x="52" y="17"/>
                    <a:pt x="6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29" name="Freeform 33">
              <a:extLst>
                <a:ext uri="{FF2B5EF4-FFF2-40B4-BE49-F238E27FC236}">
                  <a16:creationId xmlns:a16="http://schemas.microsoft.com/office/drawing/2014/main" id="{1AC66B4B-920A-4DCB-AFC5-697D9E1DED61}"/>
                </a:ext>
              </a:extLst>
            </p:cNvPr>
            <p:cNvSpPr>
              <a:spLocks/>
            </p:cNvSpPr>
            <p:nvPr/>
          </p:nvSpPr>
          <p:spPr bwMode="auto">
            <a:xfrm>
              <a:off x="4176722" y="1857378"/>
              <a:ext cx="350838" cy="461963"/>
            </a:xfrm>
            <a:custGeom>
              <a:avLst/>
              <a:gdLst>
                <a:gd name="T0" fmla="*/ 127 w 150"/>
                <a:gd name="T1" fmla="*/ 86 h 197"/>
                <a:gd name="T2" fmla="*/ 125 w 150"/>
                <a:gd name="T3" fmla="*/ 89 h 197"/>
                <a:gd name="T4" fmla="*/ 115 w 150"/>
                <a:gd name="T5" fmla="*/ 188 h 197"/>
                <a:gd name="T6" fmla="*/ 71 w 150"/>
                <a:gd name="T7" fmla="*/ 179 h 197"/>
                <a:gd name="T8" fmla="*/ 28 w 150"/>
                <a:gd name="T9" fmla="*/ 124 h 197"/>
                <a:gd name="T10" fmla="*/ 35 w 150"/>
                <a:gd name="T11" fmla="*/ 17 h 197"/>
                <a:gd name="T12" fmla="*/ 113 w 150"/>
                <a:gd name="T13" fmla="*/ 64 h 197"/>
                <a:gd name="T14" fmla="*/ 116 w 150"/>
                <a:gd name="T15" fmla="*/ 65 h 197"/>
                <a:gd name="T16" fmla="*/ 117 w 150"/>
                <a:gd name="T17" fmla="*/ 61 h 197"/>
                <a:gd name="T18" fmla="*/ 33 w 150"/>
                <a:gd name="T19" fmla="*/ 12 h 197"/>
                <a:gd name="T20" fmla="*/ 23 w 150"/>
                <a:gd name="T21" fmla="*/ 127 h 197"/>
                <a:gd name="T22" fmla="*/ 68 w 150"/>
                <a:gd name="T23" fmla="*/ 184 h 197"/>
                <a:gd name="T24" fmla="*/ 102 w 150"/>
                <a:gd name="T25" fmla="*/ 197 h 197"/>
                <a:gd name="T26" fmla="*/ 117 w 150"/>
                <a:gd name="T27" fmla="*/ 193 h 197"/>
                <a:gd name="T28" fmla="*/ 131 w 150"/>
                <a:gd name="T29" fmla="*/ 87 h 197"/>
                <a:gd name="T30" fmla="*/ 127 w 150"/>
                <a:gd name="T31" fmla="*/ 8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197">
                  <a:moveTo>
                    <a:pt x="127" y="86"/>
                  </a:moveTo>
                  <a:cubicBezTo>
                    <a:pt x="126" y="86"/>
                    <a:pt x="125" y="88"/>
                    <a:pt x="125" y="89"/>
                  </a:cubicBezTo>
                  <a:cubicBezTo>
                    <a:pt x="143" y="134"/>
                    <a:pt x="139" y="177"/>
                    <a:pt x="115" y="188"/>
                  </a:cubicBezTo>
                  <a:cubicBezTo>
                    <a:pt x="103" y="194"/>
                    <a:pt x="87" y="191"/>
                    <a:pt x="71" y="179"/>
                  </a:cubicBezTo>
                  <a:cubicBezTo>
                    <a:pt x="54" y="167"/>
                    <a:pt x="39" y="148"/>
                    <a:pt x="28" y="124"/>
                  </a:cubicBezTo>
                  <a:cubicBezTo>
                    <a:pt x="6" y="77"/>
                    <a:pt x="9" y="29"/>
                    <a:pt x="35" y="17"/>
                  </a:cubicBezTo>
                  <a:cubicBezTo>
                    <a:pt x="57" y="7"/>
                    <a:pt x="90" y="26"/>
                    <a:pt x="113" y="64"/>
                  </a:cubicBezTo>
                  <a:cubicBezTo>
                    <a:pt x="113" y="65"/>
                    <a:pt x="115" y="65"/>
                    <a:pt x="116" y="65"/>
                  </a:cubicBezTo>
                  <a:cubicBezTo>
                    <a:pt x="118" y="64"/>
                    <a:pt x="118" y="62"/>
                    <a:pt x="117" y="61"/>
                  </a:cubicBezTo>
                  <a:cubicBezTo>
                    <a:pt x="93" y="21"/>
                    <a:pt x="57" y="0"/>
                    <a:pt x="33" y="12"/>
                  </a:cubicBezTo>
                  <a:cubicBezTo>
                    <a:pt x="4" y="25"/>
                    <a:pt x="0" y="77"/>
                    <a:pt x="23" y="127"/>
                  </a:cubicBezTo>
                  <a:cubicBezTo>
                    <a:pt x="34" y="151"/>
                    <a:pt x="50" y="171"/>
                    <a:pt x="68" y="184"/>
                  </a:cubicBezTo>
                  <a:cubicBezTo>
                    <a:pt x="80" y="192"/>
                    <a:pt x="92" y="197"/>
                    <a:pt x="102" y="197"/>
                  </a:cubicBezTo>
                  <a:cubicBezTo>
                    <a:pt x="108" y="197"/>
                    <a:pt x="113" y="196"/>
                    <a:pt x="117" y="193"/>
                  </a:cubicBezTo>
                  <a:cubicBezTo>
                    <a:pt x="144" y="181"/>
                    <a:pt x="150" y="135"/>
                    <a:pt x="131" y="87"/>
                  </a:cubicBezTo>
                  <a:cubicBezTo>
                    <a:pt x="130" y="86"/>
                    <a:pt x="128" y="85"/>
                    <a:pt x="12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30" name="Freeform 34">
              <a:extLst>
                <a:ext uri="{FF2B5EF4-FFF2-40B4-BE49-F238E27FC236}">
                  <a16:creationId xmlns:a16="http://schemas.microsoft.com/office/drawing/2014/main" id="{F0ACDDE7-9CCF-423C-A7AC-EEFDE24D5D73}"/>
                </a:ext>
              </a:extLst>
            </p:cNvPr>
            <p:cNvSpPr>
              <a:spLocks noEditPoints="1"/>
            </p:cNvSpPr>
            <p:nvPr/>
          </p:nvSpPr>
          <p:spPr bwMode="auto">
            <a:xfrm>
              <a:off x="4364048" y="1892303"/>
              <a:ext cx="284163" cy="201613"/>
            </a:xfrm>
            <a:custGeom>
              <a:avLst/>
              <a:gdLst>
                <a:gd name="T0" fmla="*/ 121 w 122"/>
                <a:gd name="T1" fmla="*/ 24 h 86"/>
                <a:gd name="T2" fmla="*/ 119 w 122"/>
                <a:gd name="T3" fmla="*/ 21 h 86"/>
                <a:gd name="T4" fmla="*/ 104 w 122"/>
                <a:gd name="T5" fmla="*/ 18 h 86"/>
                <a:gd name="T6" fmla="*/ 107 w 122"/>
                <a:gd name="T7" fmla="*/ 4 h 86"/>
                <a:gd name="T8" fmla="*/ 106 w 122"/>
                <a:gd name="T9" fmla="*/ 1 h 86"/>
                <a:gd name="T10" fmla="*/ 103 w 122"/>
                <a:gd name="T11" fmla="*/ 1 h 86"/>
                <a:gd name="T12" fmla="*/ 76 w 122"/>
                <a:gd name="T13" fmla="*/ 18 h 86"/>
                <a:gd name="T14" fmla="*/ 75 w 122"/>
                <a:gd name="T15" fmla="*/ 20 h 86"/>
                <a:gd name="T16" fmla="*/ 72 w 122"/>
                <a:gd name="T17" fmla="*/ 36 h 86"/>
                <a:gd name="T18" fmla="*/ 1 w 122"/>
                <a:gd name="T19" fmla="*/ 81 h 86"/>
                <a:gd name="T20" fmla="*/ 0 w 122"/>
                <a:gd name="T21" fmla="*/ 85 h 86"/>
                <a:gd name="T22" fmla="*/ 3 w 122"/>
                <a:gd name="T23" fmla="*/ 86 h 86"/>
                <a:gd name="T24" fmla="*/ 4 w 122"/>
                <a:gd name="T25" fmla="*/ 86 h 86"/>
                <a:gd name="T26" fmla="*/ 75 w 122"/>
                <a:gd name="T27" fmla="*/ 41 h 86"/>
                <a:gd name="T28" fmla="*/ 92 w 122"/>
                <a:gd name="T29" fmla="*/ 44 h 86"/>
                <a:gd name="T30" fmla="*/ 92 w 122"/>
                <a:gd name="T31" fmla="*/ 44 h 86"/>
                <a:gd name="T32" fmla="*/ 94 w 122"/>
                <a:gd name="T33" fmla="*/ 44 h 86"/>
                <a:gd name="T34" fmla="*/ 120 w 122"/>
                <a:gd name="T35" fmla="*/ 26 h 86"/>
                <a:gd name="T36" fmla="*/ 121 w 122"/>
                <a:gd name="T37" fmla="*/ 24 h 86"/>
                <a:gd name="T38" fmla="*/ 91 w 122"/>
                <a:gd name="T39" fmla="*/ 38 h 86"/>
                <a:gd name="T40" fmla="*/ 78 w 122"/>
                <a:gd name="T41" fmla="*/ 36 h 86"/>
                <a:gd name="T42" fmla="*/ 80 w 122"/>
                <a:gd name="T43" fmla="*/ 22 h 86"/>
                <a:gd name="T44" fmla="*/ 100 w 122"/>
                <a:gd name="T45" fmla="*/ 9 h 86"/>
                <a:gd name="T46" fmla="*/ 98 w 122"/>
                <a:gd name="T47" fmla="*/ 20 h 86"/>
                <a:gd name="T48" fmla="*/ 100 w 122"/>
                <a:gd name="T49" fmla="*/ 23 h 86"/>
                <a:gd name="T50" fmla="*/ 111 w 122"/>
                <a:gd name="T51" fmla="*/ 26 h 86"/>
                <a:gd name="T52" fmla="*/ 91 w 122"/>
                <a:gd name="T53"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2" h="86">
                  <a:moveTo>
                    <a:pt x="121" y="24"/>
                  </a:moveTo>
                  <a:cubicBezTo>
                    <a:pt x="121" y="22"/>
                    <a:pt x="120" y="22"/>
                    <a:pt x="119" y="21"/>
                  </a:cubicBezTo>
                  <a:cubicBezTo>
                    <a:pt x="104" y="18"/>
                    <a:pt x="104" y="18"/>
                    <a:pt x="104" y="18"/>
                  </a:cubicBezTo>
                  <a:cubicBezTo>
                    <a:pt x="107" y="4"/>
                    <a:pt x="107" y="4"/>
                    <a:pt x="107" y="4"/>
                  </a:cubicBezTo>
                  <a:cubicBezTo>
                    <a:pt x="107" y="3"/>
                    <a:pt x="107" y="1"/>
                    <a:pt x="106" y="1"/>
                  </a:cubicBezTo>
                  <a:cubicBezTo>
                    <a:pt x="105" y="0"/>
                    <a:pt x="104" y="0"/>
                    <a:pt x="103" y="1"/>
                  </a:cubicBezTo>
                  <a:cubicBezTo>
                    <a:pt x="76" y="18"/>
                    <a:pt x="76" y="18"/>
                    <a:pt x="76" y="18"/>
                  </a:cubicBezTo>
                  <a:cubicBezTo>
                    <a:pt x="76" y="19"/>
                    <a:pt x="75" y="19"/>
                    <a:pt x="75" y="20"/>
                  </a:cubicBezTo>
                  <a:cubicBezTo>
                    <a:pt x="72" y="36"/>
                    <a:pt x="72" y="36"/>
                    <a:pt x="72" y="36"/>
                  </a:cubicBezTo>
                  <a:cubicBezTo>
                    <a:pt x="1" y="81"/>
                    <a:pt x="1" y="81"/>
                    <a:pt x="1" y="81"/>
                  </a:cubicBezTo>
                  <a:cubicBezTo>
                    <a:pt x="0" y="82"/>
                    <a:pt x="0" y="84"/>
                    <a:pt x="0" y="85"/>
                  </a:cubicBezTo>
                  <a:cubicBezTo>
                    <a:pt x="1" y="86"/>
                    <a:pt x="2" y="86"/>
                    <a:pt x="3" y="86"/>
                  </a:cubicBezTo>
                  <a:cubicBezTo>
                    <a:pt x="3" y="86"/>
                    <a:pt x="4" y="86"/>
                    <a:pt x="4" y="86"/>
                  </a:cubicBezTo>
                  <a:cubicBezTo>
                    <a:pt x="75" y="41"/>
                    <a:pt x="75" y="41"/>
                    <a:pt x="75" y="41"/>
                  </a:cubicBezTo>
                  <a:cubicBezTo>
                    <a:pt x="92" y="44"/>
                    <a:pt x="92" y="44"/>
                    <a:pt x="92" y="44"/>
                  </a:cubicBezTo>
                  <a:cubicBezTo>
                    <a:pt x="92" y="44"/>
                    <a:pt x="92" y="44"/>
                    <a:pt x="92" y="44"/>
                  </a:cubicBezTo>
                  <a:cubicBezTo>
                    <a:pt x="93" y="44"/>
                    <a:pt x="93" y="44"/>
                    <a:pt x="94" y="44"/>
                  </a:cubicBezTo>
                  <a:cubicBezTo>
                    <a:pt x="120" y="26"/>
                    <a:pt x="120" y="26"/>
                    <a:pt x="120" y="26"/>
                  </a:cubicBezTo>
                  <a:cubicBezTo>
                    <a:pt x="121" y="26"/>
                    <a:pt x="122" y="25"/>
                    <a:pt x="121" y="24"/>
                  </a:cubicBezTo>
                  <a:close/>
                  <a:moveTo>
                    <a:pt x="91" y="38"/>
                  </a:moveTo>
                  <a:cubicBezTo>
                    <a:pt x="78" y="36"/>
                    <a:pt x="78" y="36"/>
                    <a:pt x="78" y="36"/>
                  </a:cubicBezTo>
                  <a:cubicBezTo>
                    <a:pt x="80" y="22"/>
                    <a:pt x="80" y="22"/>
                    <a:pt x="80" y="22"/>
                  </a:cubicBezTo>
                  <a:cubicBezTo>
                    <a:pt x="100" y="9"/>
                    <a:pt x="100" y="9"/>
                    <a:pt x="100" y="9"/>
                  </a:cubicBezTo>
                  <a:cubicBezTo>
                    <a:pt x="98" y="20"/>
                    <a:pt x="98" y="20"/>
                    <a:pt x="98" y="20"/>
                  </a:cubicBezTo>
                  <a:cubicBezTo>
                    <a:pt x="98" y="22"/>
                    <a:pt x="99" y="23"/>
                    <a:pt x="100" y="23"/>
                  </a:cubicBezTo>
                  <a:cubicBezTo>
                    <a:pt x="111" y="26"/>
                    <a:pt x="111" y="26"/>
                    <a:pt x="111" y="26"/>
                  </a:cubicBezTo>
                  <a:lnTo>
                    <a:pt x="9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631" name="Рисунок 1">
            <a:extLst>
              <a:ext uri="{FF2B5EF4-FFF2-40B4-BE49-F238E27FC236}">
                <a16:creationId xmlns:a16="http://schemas.microsoft.com/office/drawing/2014/main" id="{EA60A796-7437-4DF7-AD70-10C265DBDBEF}"/>
              </a:ext>
            </a:extLst>
          </p:cNvPr>
          <p:cNvGrpSpPr/>
          <p:nvPr/>
        </p:nvGrpSpPr>
        <p:grpSpPr>
          <a:xfrm>
            <a:off x="10113376" y="5397740"/>
            <a:ext cx="174274" cy="174210"/>
            <a:chOff x="1494353" y="2841324"/>
            <a:chExt cx="455225" cy="455060"/>
          </a:xfrm>
          <a:solidFill>
            <a:schemeClr val="accent3"/>
          </a:solidFill>
          <a:effectLst/>
        </p:grpSpPr>
        <p:sp>
          <p:nvSpPr>
            <p:cNvPr id="632" name="Полилиния: фигура 631">
              <a:extLst>
                <a:ext uri="{FF2B5EF4-FFF2-40B4-BE49-F238E27FC236}">
                  <a16:creationId xmlns:a16="http://schemas.microsoft.com/office/drawing/2014/main" id="{E79697F4-1096-4997-B2FA-2402B499153C}"/>
                </a:ext>
              </a:extLst>
            </p:cNvPr>
            <p:cNvSpPr/>
            <p:nvPr/>
          </p:nvSpPr>
          <p:spPr>
            <a:xfrm>
              <a:off x="1604219" y="2841324"/>
              <a:ext cx="235399" cy="234007"/>
            </a:xfrm>
            <a:custGeom>
              <a:avLst/>
              <a:gdLst>
                <a:gd name="connsiteX0" fmla="*/ 117700 w 235399"/>
                <a:gd name="connsiteY0" fmla="*/ 234008 h 234007"/>
                <a:gd name="connsiteX1" fmla="*/ 113075 w 235399"/>
                <a:gd name="connsiteY1" fmla="*/ 232120 h 234007"/>
                <a:gd name="connsiteX2" fmla="*/ 76075 w 235399"/>
                <a:gd name="connsiteY2" fmla="*/ 195120 h 234007"/>
                <a:gd name="connsiteX3" fmla="*/ 76075 w 235399"/>
                <a:gd name="connsiteY3" fmla="*/ 185776 h 234007"/>
                <a:gd name="connsiteX4" fmla="*/ 85420 w 235399"/>
                <a:gd name="connsiteY4" fmla="*/ 185776 h 234007"/>
                <a:gd name="connsiteX5" fmla="*/ 117700 w 235399"/>
                <a:gd name="connsiteY5" fmla="*/ 218056 h 234007"/>
                <a:gd name="connsiteX6" fmla="*/ 154983 w 235399"/>
                <a:gd name="connsiteY6" fmla="*/ 180774 h 234007"/>
                <a:gd name="connsiteX7" fmla="*/ 162439 w 235399"/>
                <a:gd name="connsiteY7" fmla="*/ 179452 h 234007"/>
                <a:gd name="connsiteX8" fmla="*/ 166120 w 235399"/>
                <a:gd name="connsiteY8" fmla="*/ 186059 h 234007"/>
                <a:gd name="connsiteX9" fmla="*/ 173105 w 235399"/>
                <a:gd name="connsiteY9" fmla="*/ 205786 h 234007"/>
                <a:gd name="connsiteX10" fmla="*/ 190189 w 235399"/>
                <a:gd name="connsiteY10" fmla="*/ 212865 h 234007"/>
                <a:gd name="connsiteX11" fmla="*/ 190377 w 235399"/>
                <a:gd name="connsiteY11" fmla="*/ 212865 h 234007"/>
                <a:gd name="connsiteX12" fmla="*/ 207556 w 235399"/>
                <a:gd name="connsiteY12" fmla="*/ 205503 h 234007"/>
                <a:gd name="connsiteX13" fmla="*/ 214163 w 235399"/>
                <a:gd name="connsiteY13" fmla="*/ 188136 h 234007"/>
                <a:gd name="connsiteX14" fmla="*/ 206706 w 235399"/>
                <a:gd name="connsiteY14" fmla="*/ 171052 h 234007"/>
                <a:gd name="connsiteX15" fmla="*/ 187546 w 235399"/>
                <a:gd name="connsiteY15" fmla="*/ 164634 h 234007"/>
                <a:gd name="connsiteX16" fmla="*/ 180939 w 235399"/>
                <a:gd name="connsiteY16" fmla="*/ 160952 h 234007"/>
                <a:gd name="connsiteX17" fmla="*/ 182260 w 235399"/>
                <a:gd name="connsiteY17" fmla="*/ 153496 h 234007"/>
                <a:gd name="connsiteX18" fmla="*/ 219543 w 235399"/>
                <a:gd name="connsiteY18" fmla="*/ 116213 h 234007"/>
                <a:gd name="connsiteX19" fmla="*/ 117700 w 235399"/>
                <a:gd name="connsiteY19" fmla="*/ 14370 h 234007"/>
                <a:gd name="connsiteX20" fmla="*/ 15857 w 235399"/>
                <a:gd name="connsiteY20" fmla="*/ 116213 h 234007"/>
                <a:gd name="connsiteX21" fmla="*/ 48231 w 235399"/>
                <a:gd name="connsiteY21" fmla="*/ 148588 h 234007"/>
                <a:gd name="connsiteX22" fmla="*/ 48231 w 235399"/>
                <a:gd name="connsiteY22" fmla="*/ 157932 h 234007"/>
                <a:gd name="connsiteX23" fmla="*/ 38887 w 235399"/>
                <a:gd name="connsiteY23" fmla="*/ 157932 h 234007"/>
                <a:gd name="connsiteX24" fmla="*/ 1888 w 235399"/>
                <a:gd name="connsiteY24" fmla="*/ 120933 h 234007"/>
                <a:gd name="connsiteX25" fmla="*/ 0 w 235399"/>
                <a:gd name="connsiteY25" fmla="*/ 116308 h 234007"/>
                <a:gd name="connsiteX26" fmla="*/ 1888 w 235399"/>
                <a:gd name="connsiteY26" fmla="*/ 111683 h 234007"/>
                <a:gd name="connsiteX27" fmla="*/ 110810 w 235399"/>
                <a:gd name="connsiteY27" fmla="*/ 2761 h 234007"/>
                <a:gd name="connsiteX28" fmla="*/ 124590 w 235399"/>
                <a:gd name="connsiteY28" fmla="*/ 2761 h 234007"/>
                <a:gd name="connsiteX29" fmla="*/ 233512 w 235399"/>
                <a:gd name="connsiteY29" fmla="*/ 111683 h 234007"/>
                <a:gd name="connsiteX30" fmla="*/ 235400 w 235399"/>
                <a:gd name="connsiteY30" fmla="*/ 116308 h 234007"/>
                <a:gd name="connsiteX31" fmla="*/ 233512 w 235399"/>
                <a:gd name="connsiteY31" fmla="*/ 120933 h 234007"/>
                <a:gd name="connsiteX32" fmla="*/ 201326 w 235399"/>
                <a:gd name="connsiteY32" fmla="*/ 153118 h 234007"/>
                <a:gd name="connsiteX33" fmla="*/ 215862 w 235399"/>
                <a:gd name="connsiteY33" fmla="*/ 161613 h 234007"/>
                <a:gd name="connsiteX34" fmla="*/ 227377 w 235399"/>
                <a:gd name="connsiteY34" fmla="*/ 187947 h 234007"/>
                <a:gd name="connsiteX35" fmla="*/ 217089 w 235399"/>
                <a:gd name="connsiteY35" fmla="*/ 214753 h 234007"/>
                <a:gd name="connsiteX36" fmla="*/ 190566 w 235399"/>
                <a:gd name="connsiteY36" fmla="*/ 226174 h 234007"/>
                <a:gd name="connsiteX37" fmla="*/ 163855 w 235399"/>
                <a:gd name="connsiteY37" fmla="*/ 215225 h 234007"/>
                <a:gd name="connsiteX38" fmla="*/ 154605 w 235399"/>
                <a:gd name="connsiteY38" fmla="*/ 199934 h 234007"/>
                <a:gd name="connsiteX39" fmla="*/ 122419 w 235399"/>
                <a:gd name="connsiteY39" fmla="*/ 232120 h 234007"/>
                <a:gd name="connsiteX40" fmla="*/ 117700 w 235399"/>
                <a:gd name="connsiteY40" fmla="*/ 234008 h 234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5399" h="234007">
                  <a:moveTo>
                    <a:pt x="117700" y="234008"/>
                  </a:moveTo>
                  <a:cubicBezTo>
                    <a:pt x="116001" y="234008"/>
                    <a:pt x="114302" y="233347"/>
                    <a:pt x="113075" y="232120"/>
                  </a:cubicBezTo>
                  <a:lnTo>
                    <a:pt x="76075" y="195120"/>
                  </a:lnTo>
                  <a:cubicBezTo>
                    <a:pt x="73527" y="192572"/>
                    <a:pt x="73527" y="188325"/>
                    <a:pt x="76075" y="185776"/>
                  </a:cubicBezTo>
                  <a:cubicBezTo>
                    <a:pt x="78624" y="183228"/>
                    <a:pt x="82777" y="183228"/>
                    <a:pt x="85420" y="185776"/>
                  </a:cubicBezTo>
                  <a:lnTo>
                    <a:pt x="117700" y="218056"/>
                  </a:lnTo>
                  <a:lnTo>
                    <a:pt x="154983" y="180774"/>
                  </a:lnTo>
                  <a:cubicBezTo>
                    <a:pt x="156965" y="178791"/>
                    <a:pt x="159985" y="178320"/>
                    <a:pt x="162439" y="179452"/>
                  </a:cubicBezTo>
                  <a:cubicBezTo>
                    <a:pt x="164987" y="180679"/>
                    <a:pt x="166403" y="183322"/>
                    <a:pt x="166120" y="186059"/>
                  </a:cubicBezTo>
                  <a:cubicBezTo>
                    <a:pt x="165365" y="193421"/>
                    <a:pt x="167913" y="200595"/>
                    <a:pt x="173105" y="205786"/>
                  </a:cubicBezTo>
                  <a:cubicBezTo>
                    <a:pt x="177635" y="210317"/>
                    <a:pt x="183770" y="212865"/>
                    <a:pt x="190189" y="212865"/>
                  </a:cubicBezTo>
                  <a:cubicBezTo>
                    <a:pt x="190283" y="212865"/>
                    <a:pt x="190283" y="212865"/>
                    <a:pt x="190377" y="212865"/>
                  </a:cubicBezTo>
                  <a:cubicBezTo>
                    <a:pt x="196890" y="212771"/>
                    <a:pt x="203025" y="210222"/>
                    <a:pt x="207556" y="205503"/>
                  </a:cubicBezTo>
                  <a:cubicBezTo>
                    <a:pt x="211992" y="200972"/>
                    <a:pt x="214352" y="194743"/>
                    <a:pt x="214163" y="188136"/>
                  </a:cubicBezTo>
                  <a:cubicBezTo>
                    <a:pt x="213974" y="181529"/>
                    <a:pt x="211331" y="175394"/>
                    <a:pt x="206706" y="171052"/>
                  </a:cubicBezTo>
                  <a:cubicBezTo>
                    <a:pt x="201609" y="166238"/>
                    <a:pt x="194625" y="163878"/>
                    <a:pt x="187546" y="164634"/>
                  </a:cubicBezTo>
                  <a:cubicBezTo>
                    <a:pt x="184809" y="164917"/>
                    <a:pt x="182071" y="163406"/>
                    <a:pt x="180939" y="160952"/>
                  </a:cubicBezTo>
                  <a:cubicBezTo>
                    <a:pt x="179712" y="158404"/>
                    <a:pt x="180278" y="155384"/>
                    <a:pt x="182260" y="153496"/>
                  </a:cubicBezTo>
                  <a:lnTo>
                    <a:pt x="219543" y="116213"/>
                  </a:lnTo>
                  <a:lnTo>
                    <a:pt x="117700" y="14370"/>
                  </a:lnTo>
                  <a:lnTo>
                    <a:pt x="15857" y="116213"/>
                  </a:lnTo>
                  <a:lnTo>
                    <a:pt x="48231" y="148588"/>
                  </a:lnTo>
                  <a:cubicBezTo>
                    <a:pt x="50780" y="151136"/>
                    <a:pt x="50780" y="155289"/>
                    <a:pt x="48231" y="157932"/>
                  </a:cubicBezTo>
                  <a:cubicBezTo>
                    <a:pt x="45683" y="160480"/>
                    <a:pt x="41530" y="160480"/>
                    <a:pt x="38887" y="157932"/>
                  </a:cubicBezTo>
                  <a:lnTo>
                    <a:pt x="1888" y="120933"/>
                  </a:lnTo>
                  <a:cubicBezTo>
                    <a:pt x="661" y="119706"/>
                    <a:pt x="0" y="118007"/>
                    <a:pt x="0" y="116308"/>
                  </a:cubicBezTo>
                  <a:cubicBezTo>
                    <a:pt x="0" y="114514"/>
                    <a:pt x="661" y="112910"/>
                    <a:pt x="1888" y="111683"/>
                  </a:cubicBezTo>
                  <a:lnTo>
                    <a:pt x="110810" y="2761"/>
                  </a:lnTo>
                  <a:cubicBezTo>
                    <a:pt x="114491" y="-920"/>
                    <a:pt x="120909" y="-920"/>
                    <a:pt x="124590" y="2761"/>
                  </a:cubicBezTo>
                  <a:lnTo>
                    <a:pt x="233512" y="111683"/>
                  </a:lnTo>
                  <a:cubicBezTo>
                    <a:pt x="234739" y="112910"/>
                    <a:pt x="235400" y="114609"/>
                    <a:pt x="235400" y="116308"/>
                  </a:cubicBezTo>
                  <a:cubicBezTo>
                    <a:pt x="235400" y="118101"/>
                    <a:pt x="234739" y="119706"/>
                    <a:pt x="233512" y="120933"/>
                  </a:cubicBezTo>
                  <a:lnTo>
                    <a:pt x="201326" y="153118"/>
                  </a:lnTo>
                  <a:cubicBezTo>
                    <a:pt x="206706" y="154817"/>
                    <a:pt x="211709" y="157649"/>
                    <a:pt x="215862" y="161613"/>
                  </a:cubicBezTo>
                  <a:cubicBezTo>
                    <a:pt x="223130" y="168409"/>
                    <a:pt x="227188" y="177753"/>
                    <a:pt x="227377" y="187947"/>
                  </a:cubicBezTo>
                  <a:cubicBezTo>
                    <a:pt x="227566" y="198141"/>
                    <a:pt x="223979" y="207674"/>
                    <a:pt x="217089" y="214753"/>
                  </a:cubicBezTo>
                  <a:cubicBezTo>
                    <a:pt x="210104" y="222020"/>
                    <a:pt x="200666" y="226079"/>
                    <a:pt x="190566" y="226174"/>
                  </a:cubicBezTo>
                  <a:cubicBezTo>
                    <a:pt x="180373" y="226268"/>
                    <a:pt x="170934" y="222398"/>
                    <a:pt x="163855" y="215225"/>
                  </a:cubicBezTo>
                  <a:cubicBezTo>
                    <a:pt x="159513" y="210883"/>
                    <a:pt x="156398" y="205597"/>
                    <a:pt x="154605" y="199934"/>
                  </a:cubicBezTo>
                  <a:lnTo>
                    <a:pt x="122419" y="232120"/>
                  </a:lnTo>
                  <a:cubicBezTo>
                    <a:pt x="121098" y="233347"/>
                    <a:pt x="119399" y="234008"/>
                    <a:pt x="117700" y="234008"/>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33" name="Полилиния: фигура 632">
              <a:extLst>
                <a:ext uri="{FF2B5EF4-FFF2-40B4-BE49-F238E27FC236}">
                  <a16:creationId xmlns:a16="http://schemas.microsoft.com/office/drawing/2014/main" id="{00A2AE14-E442-47A3-BDE1-750B9DEA17FE}"/>
                </a:ext>
              </a:extLst>
            </p:cNvPr>
            <p:cNvSpPr/>
            <p:nvPr/>
          </p:nvSpPr>
          <p:spPr>
            <a:xfrm>
              <a:off x="1715406" y="2951095"/>
              <a:ext cx="234172" cy="235423"/>
            </a:xfrm>
            <a:custGeom>
              <a:avLst/>
              <a:gdLst>
                <a:gd name="connsiteX0" fmla="*/ 117700 w 234172"/>
                <a:gd name="connsiteY0" fmla="*/ 235423 h 235423"/>
                <a:gd name="connsiteX1" fmla="*/ 113075 w 234172"/>
                <a:gd name="connsiteY1" fmla="*/ 233536 h 235423"/>
                <a:gd name="connsiteX2" fmla="*/ 80889 w 234172"/>
                <a:gd name="connsiteY2" fmla="*/ 201350 h 235423"/>
                <a:gd name="connsiteX3" fmla="*/ 72394 w 234172"/>
                <a:gd name="connsiteY3" fmla="*/ 215885 h 235423"/>
                <a:gd name="connsiteX4" fmla="*/ 46061 w 234172"/>
                <a:gd name="connsiteY4" fmla="*/ 227401 h 235423"/>
                <a:gd name="connsiteX5" fmla="*/ 19255 w 234172"/>
                <a:gd name="connsiteY5" fmla="*/ 217112 h 235423"/>
                <a:gd name="connsiteX6" fmla="*/ 7834 w 234172"/>
                <a:gd name="connsiteY6" fmla="*/ 190590 h 235423"/>
                <a:gd name="connsiteX7" fmla="*/ 18783 w 234172"/>
                <a:gd name="connsiteY7" fmla="*/ 163879 h 235423"/>
                <a:gd name="connsiteX8" fmla="*/ 34074 w 234172"/>
                <a:gd name="connsiteY8" fmla="*/ 154629 h 235423"/>
                <a:gd name="connsiteX9" fmla="*/ 1888 w 234172"/>
                <a:gd name="connsiteY9" fmla="*/ 122443 h 235423"/>
                <a:gd name="connsiteX10" fmla="*/ 0 w 234172"/>
                <a:gd name="connsiteY10" fmla="*/ 117818 h 235423"/>
                <a:gd name="connsiteX11" fmla="*/ 1888 w 234172"/>
                <a:gd name="connsiteY11" fmla="*/ 113193 h 235423"/>
                <a:gd name="connsiteX12" fmla="*/ 41624 w 234172"/>
                <a:gd name="connsiteY12" fmla="*/ 73456 h 235423"/>
                <a:gd name="connsiteX13" fmla="*/ 50969 w 234172"/>
                <a:gd name="connsiteY13" fmla="*/ 73456 h 235423"/>
                <a:gd name="connsiteX14" fmla="*/ 50969 w 234172"/>
                <a:gd name="connsiteY14" fmla="*/ 82801 h 235423"/>
                <a:gd name="connsiteX15" fmla="*/ 15857 w 234172"/>
                <a:gd name="connsiteY15" fmla="*/ 117912 h 235423"/>
                <a:gd name="connsiteX16" fmla="*/ 53140 w 234172"/>
                <a:gd name="connsiteY16" fmla="*/ 155195 h 235423"/>
                <a:gd name="connsiteX17" fmla="*/ 54461 w 234172"/>
                <a:gd name="connsiteY17" fmla="*/ 162651 h 235423"/>
                <a:gd name="connsiteX18" fmla="*/ 47854 w 234172"/>
                <a:gd name="connsiteY18" fmla="*/ 166333 h 235423"/>
                <a:gd name="connsiteX19" fmla="*/ 28127 w 234172"/>
                <a:gd name="connsiteY19" fmla="*/ 173223 h 235423"/>
                <a:gd name="connsiteX20" fmla="*/ 21048 w 234172"/>
                <a:gd name="connsiteY20" fmla="*/ 190495 h 235423"/>
                <a:gd name="connsiteX21" fmla="*/ 28410 w 234172"/>
                <a:gd name="connsiteY21" fmla="*/ 207674 h 235423"/>
                <a:gd name="connsiteX22" fmla="*/ 45777 w 234172"/>
                <a:gd name="connsiteY22" fmla="*/ 214281 h 235423"/>
                <a:gd name="connsiteX23" fmla="*/ 62861 w 234172"/>
                <a:gd name="connsiteY23" fmla="*/ 206824 h 235423"/>
                <a:gd name="connsiteX24" fmla="*/ 69280 w 234172"/>
                <a:gd name="connsiteY24" fmla="*/ 187664 h 235423"/>
                <a:gd name="connsiteX25" fmla="*/ 72961 w 234172"/>
                <a:gd name="connsiteY25" fmla="*/ 181057 h 235423"/>
                <a:gd name="connsiteX26" fmla="*/ 80417 w 234172"/>
                <a:gd name="connsiteY26" fmla="*/ 182378 h 235423"/>
                <a:gd name="connsiteX27" fmla="*/ 117700 w 234172"/>
                <a:gd name="connsiteY27" fmla="*/ 219661 h 235423"/>
                <a:gd name="connsiteX28" fmla="*/ 219543 w 234172"/>
                <a:gd name="connsiteY28" fmla="*/ 117818 h 235423"/>
                <a:gd name="connsiteX29" fmla="*/ 117700 w 234172"/>
                <a:gd name="connsiteY29" fmla="*/ 15975 h 235423"/>
                <a:gd name="connsiteX30" fmla="*/ 82116 w 234172"/>
                <a:gd name="connsiteY30" fmla="*/ 51559 h 235423"/>
                <a:gd name="connsiteX31" fmla="*/ 72772 w 234172"/>
                <a:gd name="connsiteY31" fmla="*/ 51559 h 235423"/>
                <a:gd name="connsiteX32" fmla="*/ 72772 w 234172"/>
                <a:gd name="connsiteY32" fmla="*/ 42214 h 235423"/>
                <a:gd name="connsiteX33" fmla="*/ 113075 w 234172"/>
                <a:gd name="connsiteY33" fmla="*/ 1911 h 235423"/>
                <a:gd name="connsiteX34" fmla="*/ 122419 w 234172"/>
                <a:gd name="connsiteY34" fmla="*/ 1911 h 235423"/>
                <a:gd name="connsiteX35" fmla="*/ 231341 w 234172"/>
                <a:gd name="connsiteY35" fmla="*/ 110833 h 235423"/>
                <a:gd name="connsiteX36" fmla="*/ 234173 w 234172"/>
                <a:gd name="connsiteY36" fmla="*/ 117724 h 235423"/>
                <a:gd name="connsiteX37" fmla="*/ 231341 w 234172"/>
                <a:gd name="connsiteY37" fmla="*/ 124614 h 235423"/>
                <a:gd name="connsiteX38" fmla="*/ 122419 w 234172"/>
                <a:gd name="connsiteY38" fmla="*/ 233536 h 235423"/>
                <a:gd name="connsiteX39" fmla="*/ 117700 w 234172"/>
                <a:gd name="connsiteY39" fmla="*/ 235423 h 23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172" h="235423">
                  <a:moveTo>
                    <a:pt x="117700" y="235423"/>
                  </a:moveTo>
                  <a:cubicBezTo>
                    <a:pt x="115907" y="235423"/>
                    <a:pt x="114302" y="234763"/>
                    <a:pt x="113075" y="233536"/>
                  </a:cubicBezTo>
                  <a:lnTo>
                    <a:pt x="80889" y="201350"/>
                  </a:lnTo>
                  <a:cubicBezTo>
                    <a:pt x="79190" y="206730"/>
                    <a:pt x="76359" y="211732"/>
                    <a:pt x="72394" y="215885"/>
                  </a:cubicBezTo>
                  <a:cubicBezTo>
                    <a:pt x="65599" y="223153"/>
                    <a:pt x="56254" y="227212"/>
                    <a:pt x="46061" y="227401"/>
                  </a:cubicBezTo>
                  <a:cubicBezTo>
                    <a:pt x="35867" y="227684"/>
                    <a:pt x="26334" y="224003"/>
                    <a:pt x="19255" y="217112"/>
                  </a:cubicBezTo>
                  <a:cubicBezTo>
                    <a:pt x="11987" y="210034"/>
                    <a:pt x="7928" y="200689"/>
                    <a:pt x="7834" y="190590"/>
                  </a:cubicBezTo>
                  <a:cubicBezTo>
                    <a:pt x="7740" y="180491"/>
                    <a:pt x="11610" y="170958"/>
                    <a:pt x="18783" y="163879"/>
                  </a:cubicBezTo>
                  <a:cubicBezTo>
                    <a:pt x="23125" y="159537"/>
                    <a:pt x="28410" y="156422"/>
                    <a:pt x="34074" y="154629"/>
                  </a:cubicBezTo>
                  <a:lnTo>
                    <a:pt x="1888" y="122443"/>
                  </a:lnTo>
                  <a:cubicBezTo>
                    <a:pt x="661" y="121216"/>
                    <a:pt x="0" y="119517"/>
                    <a:pt x="0" y="117818"/>
                  </a:cubicBezTo>
                  <a:cubicBezTo>
                    <a:pt x="0" y="116025"/>
                    <a:pt x="661" y="114420"/>
                    <a:pt x="1888" y="113193"/>
                  </a:cubicBezTo>
                  <a:lnTo>
                    <a:pt x="41624" y="73456"/>
                  </a:lnTo>
                  <a:cubicBezTo>
                    <a:pt x="44173" y="70908"/>
                    <a:pt x="48326" y="70908"/>
                    <a:pt x="50969" y="73456"/>
                  </a:cubicBezTo>
                  <a:cubicBezTo>
                    <a:pt x="53517" y="76005"/>
                    <a:pt x="53517" y="80252"/>
                    <a:pt x="50969" y="82801"/>
                  </a:cubicBezTo>
                  <a:lnTo>
                    <a:pt x="15857" y="117912"/>
                  </a:lnTo>
                  <a:lnTo>
                    <a:pt x="53140" y="155195"/>
                  </a:lnTo>
                  <a:cubicBezTo>
                    <a:pt x="55122" y="157177"/>
                    <a:pt x="55594" y="160197"/>
                    <a:pt x="54461" y="162651"/>
                  </a:cubicBezTo>
                  <a:cubicBezTo>
                    <a:pt x="53234" y="165200"/>
                    <a:pt x="50591" y="166616"/>
                    <a:pt x="47854" y="166333"/>
                  </a:cubicBezTo>
                  <a:cubicBezTo>
                    <a:pt x="40492" y="165577"/>
                    <a:pt x="33318" y="168126"/>
                    <a:pt x="28127" y="173223"/>
                  </a:cubicBezTo>
                  <a:cubicBezTo>
                    <a:pt x="23502" y="177848"/>
                    <a:pt x="20954" y="183983"/>
                    <a:pt x="21048" y="190495"/>
                  </a:cubicBezTo>
                  <a:cubicBezTo>
                    <a:pt x="21143" y="197008"/>
                    <a:pt x="23691" y="203143"/>
                    <a:pt x="28410" y="207674"/>
                  </a:cubicBezTo>
                  <a:cubicBezTo>
                    <a:pt x="32941" y="212110"/>
                    <a:pt x="39170" y="214470"/>
                    <a:pt x="45777" y="214281"/>
                  </a:cubicBezTo>
                  <a:cubicBezTo>
                    <a:pt x="52385" y="214092"/>
                    <a:pt x="58520" y="211449"/>
                    <a:pt x="62861" y="206824"/>
                  </a:cubicBezTo>
                  <a:cubicBezTo>
                    <a:pt x="67675" y="201727"/>
                    <a:pt x="70035" y="194743"/>
                    <a:pt x="69280" y="187664"/>
                  </a:cubicBezTo>
                  <a:cubicBezTo>
                    <a:pt x="68996" y="184927"/>
                    <a:pt x="70507" y="182190"/>
                    <a:pt x="72961" y="181057"/>
                  </a:cubicBezTo>
                  <a:cubicBezTo>
                    <a:pt x="75509" y="179830"/>
                    <a:pt x="78530" y="180396"/>
                    <a:pt x="80417" y="182378"/>
                  </a:cubicBezTo>
                  <a:lnTo>
                    <a:pt x="117700" y="219661"/>
                  </a:lnTo>
                  <a:lnTo>
                    <a:pt x="219543" y="117818"/>
                  </a:lnTo>
                  <a:lnTo>
                    <a:pt x="117700" y="15975"/>
                  </a:lnTo>
                  <a:lnTo>
                    <a:pt x="82116" y="51559"/>
                  </a:lnTo>
                  <a:cubicBezTo>
                    <a:pt x="79568" y="54107"/>
                    <a:pt x="75415" y="54107"/>
                    <a:pt x="72772" y="51559"/>
                  </a:cubicBezTo>
                  <a:cubicBezTo>
                    <a:pt x="70224" y="49010"/>
                    <a:pt x="70224" y="44763"/>
                    <a:pt x="72772" y="42214"/>
                  </a:cubicBezTo>
                  <a:lnTo>
                    <a:pt x="113075" y="1911"/>
                  </a:lnTo>
                  <a:cubicBezTo>
                    <a:pt x="115623" y="-637"/>
                    <a:pt x="119776" y="-637"/>
                    <a:pt x="122419" y="1911"/>
                  </a:cubicBezTo>
                  <a:lnTo>
                    <a:pt x="231341" y="110833"/>
                  </a:lnTo>
                  <a:cubicBezTo>
                    <a:pt x="233229" y="112721"/>
                    <a:pt x="234173" y="115175"/>
                    <a:pt x="234173" y="117724"/>
                  </a:cubicBezTo>
                  <a:cubicBezTo>
                    <a:pt x="234173" y="120366"/>
                    <a:pt x="233135" y="122820"/>
                    <a:pt x="231341" y="124614"/>
                  </a:cubicBezTo>
                  <a:lnTo>
                    <a:pt x="122419" y="233536"/>
                  </a:lnTo>
                  <a:cubicBezTo>
                    <a:pt x="121192" y="234763"/>
                    <a:pt x="119493" y="235423"/>
                    <a:pt x="117700" y="23542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34" name="Полилиния: фигура 633">
              <a:extLst>
                <a:ext uri="{FF2B5EF4-FFF2-40B4-BE49-F238E27FC236}">
                  <a16:creationId xmlns:a16="http://schemas.microsoft.com/office/drawing/2014/main" id="{04F2B228-140F-4CD4-9AD7-555244FBD533}"/>
                </a:ext>
              </a:extLst>
            </p:cNvPr>
            <p:cNvSpPr/>
            <p:nvPr/>
          </p:nvSpPr>
          <p:spPr>
            <a:xfrm>
              <a:off x="1604195" y="3062259"/>
              <a:ext cx="235423" cy="234125"/>
            </a:xfrm>
            <a:custGeom>
              <a:avLst/>
              <a:gdLst>
                <a:gd name="connsiteX0" fmla="*/ 117724 w 235423"/>
                <a:gd name="connsiteY0" fmla="*/ 234126 h 234125"/>
                <a:gd name="connsiteX1" fmla="*/ 110833 w 235423"/>
                <a:gd name="connsiteY1" fmla="*/ 231294 h 234125"/>
                <a:gd name="connsiteX2" fmla="*/ 1911 w 235423"/>
                <a:gd name="connsiteY2" fmla="*/ 122372 h 234125"/>
                <a:gd name="connsiteX3" fmla="*/ 1911 w 235423"/>
                <a:gd name="connsiteY3" fmla="*/ 113028 h 234125"/>
                <a:gd name="connsiteX4" fmla="*/ 34097 w 235423"/>
                <a:gd name="connsiteY4" fmla="*/ 80842 h 234125"/>
                <a:gd name="connsiteX5" fmla="*/ 19562 w 235423"/>
                <a:gd name="connsiteY5" fmla="*/ 72347 h 234125"/>
                <a:gd name="connsiteX6" fmla="*/ 8046 w 235423"/>
                <a:gd name="connsiteY6" fmla="*/ 46013 h 234125"/>
                <a:gd name="connsiteX7" fmla="*/ 18335 w 235423"/>
                <a:gd name="connsiteY7" fmla="*/ 19208 h 234125"/>
                <a:gd name="connsiteX8" fmla="*/ 44857 w 235423"/>
                <a:gd name="connsiteY8" fmla="*/ 7787 h 234125"/>
                <a:gd name="connsiteX9" fmla="*/ 71569 w 235423"/>
                <a:gd name="connsiteY9" fmla="*/ 18736 h 234125"/>
                <a:gd name="connsiteX10" fmla="*/ 80818 w 235423"/>
                <a:gd name="connsiteY10" fmla="*/ 34026 h 234125"/>
                <a:gd name="connsiteX11" fmla="*/ 113004 w 235423"/>
                <a:gd name="connsiteY11" fmla="*/ 1840 h 234125"/>
                <a:gd name="connsiteX12" fmla="*/ 122348 w 235423"/>
                <a:gd name="connsiteY12" fmla="*/ 1840 h 234125"/>
                <a:gd name="connsiteX13" fmla="*/ 162085 w 235423"/>
                <a:gd name="connsiteY13" fmla="*/ 41577 h 234125"/>
                <a:gd name="connsiteX14" fmla="*/ 162085 w 235423"/>
                <a:gd name="connsiteY14" fmla="*/ 50921 h 234125"/>
                <a:gd name="connsiteX15" fmla="*/ 152741 w 235423"/>
                <a:gd name="connsiteY15" fmla="*/ 50921 h 234125"/>
                <a:gd name="connsiteX16" fmla="*/ 117629 w 235423"/>
                <a:gd name="connsiteY16" fmla="*/ 15810 h 234125"/>
                <a:gd name="connsiteX17" fmla="*/ 80346 w 235423"/>
                <a:gd name="connsiteY17" fmla="*/ 53092 h 234125"/>
                <a:gd name="connsiteX18" fmla="*/ 72890 w 235423"/>
                <a:gd name="connsiteY18" fmla="*/ 54414 h 234125"/>
                <a:gd name="connsiteX19" fmla="*/ 69209 w 235423"/>
                <a:gd name="connsiteY19" fmla="*/ 47807 h 234125"/>
                <a:gd name="connsiteX20" fmla="*/ 62224 w 235423"/>
                <a:gd name="connsiteY20" fmla="*/ 28080 h 234125"/>
                <a:gd name="connsiteX21" fmla="*/ 44952 w 235423"/>
                <a:gd name="connsiteY21" fmla="*/ 21001 h 234125"/>
                <a:gd name="connsiteX22" fmla="*/ 27773 w 235423"/>
                <a:gd name="connsiteY22" fmla="*/ 28363 h 234125"/>
                <a:gd name="connsiteX23" fmla="*/ 21166 w 235423"/>
                <a:gd name="connsiteY23" fmla="*/ 45730 h 234125"/>
                <a:gd name="connsiteX24" fmla="*/ 28623 w 235423"/>
                <a:gd name="connsiteY24" fmla="*/ 62814 h 234125"/>
                <a:gd name="connsiteX25" fmla="*/ 47783 w 235423"/>
                <a:gd name="connsiteY25" fmla="*/ 69232 h 234125"/>
                <a:gd name="connsiteX26" fmla="*/ 54390 w 235423"/>
                <a:gd name="connsiteY26" fmla="*/ 72913 h 234125"/>
                <a:gd name="connsiteX27" fmla="*/ 53069 w 235423"/>
                <a:gd name="connsiteY27" fmla="*/ 80370 h 234125"/>
                <a:gd name="connsiteX28" fmla="*/ 15786 w 235423"/>
                <a:gd name="connsiteY28" fmla="*/ 117653 h 234125"/>
                <a:gd name="connsiteX29" fmla="*/ 117629 w 235423"/>
                <a:gd name="connsiteY29" fmla="*/ 219496 h 234125"/>
                <a:gd name="connsiteX30" fmla="*/ 219472 w 235423"/>
                <a:gd name="connsiteY30" fmla="*/ 117653 h 234125"/>
                <a:gd name="connsiteX31" fmla="*/ 183888 w 235423"/>
                <a:gd name="connsiteY31" fmla="*/ 82069 h 234125"/>
                <a:gd name="connsiteX32" fmla="*/ 183888 w 235423"/>
                <a:gd name="connsiteY32" fmla="*/ 72725 h 234125"/>
                <a:gd name="connsiteX33" fmla="*/ 193233 w 235423"/>
                <a:gd name="connsiteY33" fmla="*/ 72725 h 234125"/>
                <a:gd name="connsiteX34" fmla="*/ 233536 w 235423"/>
                <a:gd name="connsiteY34" fmla="*/ 113028 h 234125"/>
                <a:gd name="connsiteX35" fmla="*/ 235423 w 235423"/>
                <a:gd name="connsiteY35" fmla="*/ 117653 h 234125"/>
                <a:gd name="connsiteX36" fmla="*/ 233536 w 235423"/>
                <a:gd name="connsiteY36" fmla="*/ 122278 h 234125"/>
                <a:gd name="connsiteX37" fmla="*/ 124614 w 235423"/>
                <a:gd name="connsiteY37" fmla="*/ 231200 h 234125"/>
                <a:gd name="connsiteX38" fmla="*/ 117724 w 235423"/>
                <a:gd name="connsiteY38" fmla="*/ 234126 h 2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5423" h="234125">
                  <a:moveTo>
                    <a:pt x="117724" y="234126"/>
                  </a:moveTo>
                  <a:cubicBezTo>
                    <a:pt x="115081" y="234126"/>
                    <a:pt x="112627" y="233087"/>
                    <a:pt x="110833" y="231294"/>
                  </a:cubicBezTo>
                  <a:lnTo>
                    <a:pt x="1911" y="122372"/>
                  </a:lnTo>
                  <a:cubicBezTo>
                    <a:pt x="-637" y="119824"/>
                    <a:pt x="-637" y="115671"/>
                    <a:pt x="1911" y="113028"/>
                  </a:cubicBezTo>
                  <a:lnTo>
                    <a:pt x="34097" y="80842"/>
                  </a:lnTo>
                  <a:cubicBezTo>
                    <a:pt x="28717" y="79143"/>
                    <a:pt x="23715" y="76311"/>
                    <a:pt x="19562" y="72347"/>
                  </a:cubicBezTo>
                  <a:cubicBezTo>
                    <a:pt x="12294" y="65551"/>
                    <a:pt x="8235" y="56207"/>
                    <a:pt x="8046" y="46013"/>
                  </a:cubicBezTo>
                  <a:cubicBezTo>
                    <a:pt x="7858" y="35820"/>
                    <a:pt x="11444" y="26287"/>
                    <a:pt x="18335" y="19208"/>
                  </a:cubicBezTo>
                  <a:cubicBezTo>
                    <a:pt x="25319" y="11940"/>
                    <a:pt x="34758" y="7881"/>
                    <a:pt x="44857" y="7787"/>
                  </a:cubicBezTo>
                  <a:cubicBezTo>
                    <a:pt x="54957" y="7598"/>
                    <a:pt x="64490" y="11562"/>
                    <a:pt x="71569" y="18736"/>
                  </a:cubicBezTo>
                  <a:cubicBezTo>
                    <a:pt x="75910" y="23077"/>
                    <a:pt x="79025" y="28363"/>
                    <a:pt x="80818" y="34026"/>
                  </a:cubicBezTo>
                  <a:lnTo>
                    <a:pt x="113004" y="1840"/>
                  </a:lnTo>
                  <a:cubicBezTo>
                    <a:pt x="115458" y="-613"/>
                    <a:pt x="119894" y="-613"/>
                    <a:pt x="122348" y="1840"/>
                  </a:cubicBezTo>
                  <a:lnTo>
                    <a:pt x="162085" y="41577"/>
                  </a:lnTo>
                  <a:cubicBezTo>
                    <a:pt x="164634" y="44126"/>
                    <a:pt x="164634" y="48373"/>
                    <a:pt x="162085" y="50921"/>
                  </a:cubicBezTo>
                  <a:cubicBezTo>
                    <a:pt x="159537" y="53470"/>
                    <a:pt x="155289" y="53470"/>
                    <a:pt x="152741" y="50921"/>
                  </a:cubicBezTo>
                  <a:lnTo>
                    <a:pt x="117629" y="15810"/>
                  </a:lnTo>
                  <a:lnTo>
                    <a:pt x="80346" y="53092"/>
                  </a:lnTo>
                  <a:cubicBezTo>
                    <a:pt x="78364" y="55074"/>
                    <a:pt x="75344" y="55546"/>
                    <a:pt x="72890" y="54414"/>
                  </a:cubicBezTo>
                  <a:cubicBezTo>
                    <a:pt x="70341" y="53187"/>
                    <a:pt x="68926" y="50544"/>
                    <a:pt x="69209" y="47807"/>
                  </a:cubicBezTo>
                  <a:cubicBezTo>
                    <a:pt x="69964" y="40445"/>
                    <a:pt x="67416" y="33271"/>
                    <a:pt x="62224" y="28080"/>
                  </a:cubicBezTo>
                  <a:cubicBezTo>
                    <a:pt x="57599" y="23455"/>
                    <a:pt x="51464" y="21095"/>
                    <a:pt x="44952" y="21001"/>
                  </a:cubicBezTo>
                  <a:cubicBezTo>
                    <a:pt x="38439" y="21095"/>
                    <a:pt x="32304" y="23644"/>
                    <a:pt x="27773" y="28363"/>
                  </a:cubicBezTo>
                  <a:cubicBezTo>
                    <a:pt x="23337" y="32894"/>
                    <a:pt x="20977" y="39123"/>
                    <a:pt x="21166" y="45730"/>
                  </a:cubicBezTo>
                  <a:cubicBezTo>
                    <a:pt x="21355" y="52337"/>
                    <a:pt x="23998" y="58472"/>
                    <a:pt x="28623" y="62814"/>
                  </a:cubicBezTo>
                  <a:cubicBezTo>
                    <a:pt x="33720" y="67628"/>
                    <a:pt x="40704" y="69988"/>
                    <a:pt x="47783" y="69232"/>
                  </a:cubicBezTo>
                  <a:cubicBezTo>
                    <a:pt x="50615" y="68949"/>
                    <a:pt x="53258" y="70459"/>
                    <a:pt x="54390" y="72913"/>
                  </a:cubicBezTo>
                  <a:cubicBezTo>
                    <a:pt x="55617" y="75462"/>
                    <a:pt x="55051" y="78482"/>
                    <a:pt x="53069" y="80370"/>
                  </a:cubicBezTo>
                  <a:lnTo>
                    <a:pt x="15786" y="117653"/>
                  </a:lnTo>
                  <a:lnTo>
                    <a:pt x="117629" y="219496"/>
                  </a:lnTo>
                  <a:lnTo>
                    <a:pt x="219472" y="117653"/>
                  </a:lnTo>
                  <a:lnTo>
                    <a:pt x="183888" y="82069"/>
                  </a:lnTo>
                  <a:cubicBezTo>
                    <a:pt x="181340" y="79521"/>
                    <a:pt x="181340" y="75273"/>
                    <a:pt x="183888" y="72725"/>
                  </a:cubicBezTo>
                  <a:cubicBezTo>
                    <a:pt x="186437" y="70176"/>
                    <a:pt x="190590" y="70176"/>
                    <a:pt x="193233" y="72725"/>
                  </a:cubicBezTo>
                  <a:lnTo>
                    <a:pt x="233536" y="113028"/>
                  </a:lnTo>
                  <a:cubicBezTo>
                    <a:pt x="234763" y="114255"/>
                    <a:pt x="235423" y="115954"/>
                    <a:pt x="235423" y="117653"/>
                  </a:cubicBezTo>
                  <a:cubicBezTo>
                    <a:pt x="235423" y="119446"/>
                    <a:pt x="234763" y="121051"/>
                    <a:pt x="233536" y="122278"/>
                  </a:cubicBezTo>
                  <a:lnTo>
                    <a:pt x="124614" y="231200"/>
                  </a:lnTo>
                  <a:cubicBezTo>
                    <a:pt x="122820" y="233087"/>
                    <a:pt x="120366" y="234126"/>
                    <a:pt x="117724" y="234126"/>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635" name="Полилиния: фигура 634">
              <a:extLst>
                <a:ext uri="{FF2B5EF4-FFF2-40B4-BE49-F238E27FC236}">
                  <a16:creationId xmlns:a16="http://schemas.microsoft.com/office/drawing/2014/main" id="{9F3D041E-E71A-45F8-B314-10400CE29710}"/>
                </a:ext>
              </a:extLst>
            </p:cNvPr>
            <p:cNvSpPr/>
            <p:nvPr/>
          </p:nvSpPr>
          <p:spPr>
            <a:xfrm>
              <a:off x="1494353" y="2951166"/>
              <a:ext cx="234172" cy="235352"/>
            </a:xfrm>
            <a:custGeom>
              <a:avLst/>
              <a:gdLst>
                <a:gd name="connsiteX0" fmla="*/ 116379 w 234172"/>
                <a:gd name="connsiteY0" fmla="*/ 235353 h 235352"/>
                <a:gd name="connsiteX1" fmla="*/ 111754 w 234172"/>
                <a:gd name="connsiteY1" fmla="*/ 233465 h 235352"/>
                <a:gd name="connsiteX2" fmla="*/ 2832 w 234172"/>
                <a:gd name="connsiteY2" fmla="*/ 124543 h 235352"/>
                <a:gd name="connsiteX3" fmla="*/ 0 w 234172"/>
                <a:gd name="connsiteY3" fmla="*/ 117653 h 235352"/>
                <a:gd name="connsiteX4" fmla="*/ 2832 w 234172"/>
                <a:gd name="connsiteY4" fmla="*/ 110763 h 235352"/>
                <a:gd name="connsiteX5" fmla="*/ 111754 w 234172"/>
                <a:gd name="connsiteY5" fmla="*/ 1840 h 235352"/>
                <a:gd name="connsiteX6" fmla="*/ 121098 w 234172"/>
                <a:gd name="connsiteY6" fmla="*/ 1840 h 235352"/>
                <a:gd name="connsiteX7" fmla="*/ 153284 w 234172"/>
                <a:gd name="connsiteY7" fmla="*/ 34026 h 235352"/>
                <a:gd name="connsiteX8" fmla="*/ 161778 w 234172"/>
                <a:gd name="connsiteY8" fmla="*/ 19491 h 235352"/>
                <a:gd name="connsiteX9" fmla="*/ 188112 w 234172"/>
                <a:gd name="connsiteY9" fmla="*/ 7976 h 235352"/>
                <a:gd name="connsiteX10" fmla="*/ 214918 w 234172"/>
                <a:gd name="connsiteY10" fmla="*/ 18264 h 235352"/>
                <a:gd name="connsiteX11" fmla="*/ 226339 w 234172"/>
                <a:gd name="connsiteY11" fmla="*/ 44881 h 235352"/>
                <a:gd name="connsiteX12" fmla="*/ 215390 w 234172"/>
                <a:gd name="connsiteY12" fmla="*/ 71592 h 235352"/>
                <a:gd name="connsiteX13" fmla="*/ 200099 w 234172"/>
                <a:gd name="connsiteY13" fmla="*/ 80842 h 235352"/>
                <a:gd name="connsiteX14" fmla="*/ 232285 w 234172"/>
                <a:gd name="connsiteY14" fmla="*/ 113028 h 235352"/>
                <a:gd name="connsiteX15" fmla="*/ 234173 w 234172"/>
                <a:gd name="connsiteY15" fmla="*/ 117653 h 235352"/>
                <a:gd name="connsiteX16" fmla="*/ 232285 w 234172"/>
                <a:gd name="connsiteY16" fmla="*/ 122278 h 235352"/>
                <a:gd name="connsiteX17" fmla="*/ 192548 w 234172"/>
                <a:gd name="connsiteY17" fmla="*/ 162014 h 235352"/>
                <a:gd name="connsiteX18" fmla="*/ 183204 w 234172"/>
                <a:gd name="connsiteY18" fmla="*/ 162014 h 235352"/>
                <a:gd name="connsiteX19" fmla="*/ 183204 w 234172"/>
                <a:gd name="connsiteY19" fmla="*/ 152670 h 235352"/>
                <a:gd name="connsiteX20" fmla="*/ 218316 w 234172"/>
                <a:gd name="connsiteY20" fmla="*/ 117558 h 235352"/>
                <a:gd name="connsiteX21" fmla="*/ 181033 w 234172"/>
                <a:gd name="connsiteY21" fmla="*/ 80276 h 235352"/>
                <a:gd name="connsiteX22" fmla="*/ 179712 w 234172"/>
                <a:gd name="connsiteY22" fmla="*/ 72819 h 235352"/>
                <a:gd name="connsiteX23" fmla="*/ 186319 w 234172"/>
                <a:gd name="connsiteY23" fmla="*/ 69138 h 235352"/>
                <a:gd name="connsiteX24" fmla="*/ 206046 w 234172"/>
                <a:gd name="connsiteY24" fmla="*/ 62153 h 235352"/>
                <a:gd name="connsiteX25" fmla="*/ 213125 w 234172"/>
                <a:gd name="connsiteY25" fmla="*/ 44881 h 235352"/>
                <a:gd name="connsiteX26" fmla="*/ 205762 w 234172"/>
                <a:gd name="connsiteY26" fmla="*/ 27702 h 235352"/>
                <a:gd name="connsiteX27" fmla="*/ 188395 w 234172"/>
                <a:gd name="connsiteY27" fmla="*/ 21095 h 235352"/>
                <a:gd name="connsiteX28" fmla="*/ 171311 w 234172"/>
                <a:gd name="connsiteY28" fmla="*/ 28552 h 235352"/>
                <a:gd name="connsiteX29" fmla="*/ 164893 w 234172"/>
                <a:gd name="connsiteY29" fmla="*/ 47712 h 235352"/>
                <a:gd name="connsiteX30" fmla="*/ 161212 w 234172"/>
                <a:gd name="connsiteY30" fmla="*/ 54319 h 235352"/>
                <a:gd name="connsiteX31" fmla="*/ 153756 w 234172"/>
                <a:gd name="connsiteY31" fmla="*/ 52998 h 235352"/>
                <a:gd name="connsiteX32" fmla="*/ 116473 w 234172"/>
                <a:gd name="connsiteY32" fmla="*/ 15715 h 235352"/>
                <a:gd name="connsiteX33" fmla="*/ 14630 w 234172"/>
                <a:gd name="connsiteY33" fmla="*/ 117558 h 235352"/>
                <a:gd name="connsiteX34" fmla="*/ 116379 w 234172"/>
                <a:gd name="connsiteY34" fmla="*/ 219401 h 235352"/>
                <a:gd name="connsiteX35" fmla="*/ 151962 w 234172"/>
                <a:gd name="connsiteY35" fmla="*/ 183818 h 235352"/>
                <a:gd name="connsiteX36" fmla="*/ 161306 w 234172"/>
                <a:gd name="connsiteY36" fmla="*/ 183818 h 235352"/>
                <a:gd name="connsiteX37" fmla="*/ 161306 w 234172"/>
                <a:gd name="connsiteY37" fmla="*/ 193162 h 235352"/>
                <a:gd name="connsiteX38" fmla="*/ 121003 w 234172"/>
                <a:gd name="connsiteY38" fmla="*/ 233465 h 235352"/>
                <a:gd name="connsiteX39" fmla="*/ 116379 w 234172"/>
                <a:gd name="connsiteY39" fmla="*/ 235353 h 23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172" h="235352">
                  <a:moveTo>
                    <a:pt x="116379" y="235353"/>
                  </a:moveTo>
                  <a:cubicBezTo>
                    <a:pt x="114680" y="235353"/>
                    <a:pt x="112981" y="234692"/>
                    <a:pt x="111754" y="233465"/>
                  </a:cubicBezTo>
                  <a:lnTo>
                    <a:pt x="2832" y="124543"/>
                  </a:lnTo>
                  <a:cubicBezTo>
                    <a:pt x="944" y="122655"/>
                    <a:pt x="0" y="120201"/>
                    <a:pt x="0" y="117653"/>
                  </a:cubicBezTo>
                  <a:cubicBezTo>
                    <a:pt x="0" y="115104"/>
                    <a:pt x="1038" y="112556"/>
                    <a:pt x="2832" y="110763"/>
                  </a:cubicBezTo>
                  <a:lnTo>
                    <a:pt x="111754" y="1840"/>
                  </a:lnTo>
                  <a:cubicBezTo>
                    <a:pt x="114208" y="-613"/>
                    <a:pt x="118644" y="-613"/>
                    <a:pt x="121098" y="1840"/>
                  </a:cubicBezTo>
                  <a:lnTo>
                    <a:pt x="153284" y="34026"/>
                  </a:lnTo>
                  <a:cubicBezTo>
                    <a:pt x="154983" y="28646"/>
                    <a:pt x="157814" y="23644"/>
                    <a:pt x="161778" y="19491"/>
                  </a:cubicBezTo>
                  <a:cubicBezTo>
                    <a:pt x="168574" y="12223"/>
                    <a:pt x="177918" y="8164"/>
                    <a:pt x="188112" y="7976"/>
                  </a:cubicBezTo>
                  <a:cubicBezTo>
                    <a:pt x="198306" y="7787"/>
                    <a:pt x="207839" y="11374"/>
                    <a:pt x="214918" y="18264"/>
                  </a:cubicBezTo>
                  <a:cubicBezTo>
                    <a:pt x="222186" y="25343"/>
                    <a:pt x="226244" y="34687"/>
                    <a:pt x="226339" y="44881"/>
                  </a:cubicBezTo>
                  <a:cubicBezTo>
                    <a:pt x="226433" y="54980"/>
                    <a:pt x="222563" y="64513"/>
                    <a:pt x="215390" y="71592"/>
                  </a:cubicBezTo>
                  <a:cubicBezTo>
                    <a:pt x="211048" y="75934"/>
                    <a:pt x="205762" y="79049"/>
                    <a:pt x="200099" y="80842"/>
                  </a:cubicBezTo>
                  <a:lnTo>
                    <a:pt x="232285" y="113028"/>
                  </a:lnTo>
                  <a:cubicBezTo>
                    <a:pt x="233512" y="114255"/>
                    <a:pt x="234173" y="115954"/>
                    <a:pt x="234173" y="117653"/>
                  </a:cubicBezTo>
                  <a:cubicBezTo>
                    <a:pt x="234173" y="119352"/>
                    <a:pt x="233512" y="121051"/>
                    <a:pt x="232285" y="122278"/>
                  </a:cubicBezTo>
                  <a:lnTo>
                    <a:pt x="192548" y="162014"/>
                  </a:lnTo>
                  <a:cubicBezTo>
                    <a:pt x="190000" y="164563"/>
                    <a:pt x="185847" y="164563"/>
                    <a:pt x="183204" y="162014"/>
                  </a:cubicBezTo>
                  <a:cubicBezTo>
                    <a:pt x="180656" y="159466"/>
                    <a:pt x="180656" y="155218"/>
                    <a:pt x="183204" y="152670"/>
                  </a:cubicBezTo>
                  <a:lnTo>
                    <a:pt x="218316" y="117558"/>
                  </a:lnTo>
                  <a:lnTo>
                    <a:pt x="181033" y="80276"/>
                  </a:lnTo>
                  <a:cubicBezTo>
                    <a:pt x="179051" y="78294"/>
                    <a:pt x="178579" y="75273"/>
                    <a:pt x="179712" y="72819"/>
                  </a:cubicBezTo>
                  <a:cubicBezTo>
                    <a:pt x="180939" y="70271"/>
                    <a:pt x="183582" y="68855"/>
                    <a:pt x="186319" y="69138"/>
                  </a:cubicBezTo>
                  <a:cubicBezTo>
                    <a:pt x="193681" y="69893"/>
                    <a:pt x="200854" y="67345"/>
                    <a:pt x="206046" y="62153"/>
                  </a:cubicBezTo>
                  <a:cubicBezTo>
                    <a:pt x="210671" y="57529"/>
                    <a:pt x="213219" y="51393"/>
                    <a:pt x="213125" y="44881"/>
                  </a:cubicBezTo>
                  <a:cubicBezTo>
                    <a:pt x="213030" y="38368"/>
                    <a:pt x="210482" y="32233"/>
                    <a:pt x="205762" y="27702"/>
                  </a:cubicBezTo>
                  <a:cubicBezTo>
                    <a:pt x="201232" y="23266"/>
                    <a:pt x="195002" y="21001"/>
                    <a:pt x="188395" y="21095"/>
                  </a:cubicBezTo>
                  <a:cubicBezTo>
                    <a:pt x="181788" y="21284"/>
                    <a:pt x="175653" y="23927"/>
                    <a:pt x="171311" y="28552"/>
                  </a:cubicBezTo>
                  <a:cubicBezTo>
                    <a:pt x="166498" y="33649"/>
                    <a:pt x="164138" y="40633"/>
                    <a:pt x="164893" y="47712"/>
                  </a:cubicBezTo>
                  <a:cubicBezTo>
                    <a:pt x="165176" y="50450"/>
                    <a:pt x="163666" y="53187"/>
                    <a:pt x="161212" y="54319"/>
                  </a:cubicBezTo>
                  <a:cubicBezTo>
                    <a:pt x="158664" y="55546"/>
                    <a:pt x="155643" y="54980"/>
                    <a:pt x="153756" y="52998"/>
                  </a:cubicBezTo>
                  <a:lnTo>
                    <a:pt x="116473" y="15715"/>
                  </a:lnTo>
                  <a:lnTo>
                    <a:pt x="14630" y="117558"/>
                  </a:lnTo>
                  <a:lnTo>
                    <a:pt x="116379" y="219401"/>
                  </a:lnTo>
                  <a:lnTo>
                    <a:pt x="151962" y="183818"/>
                  </a:lnTo>
                  <a:cubicBezTo>
                    <a:pt x="154511" y="181269"/>
                    <a:pt x="158664" y="181269"/>
                    <a:pt x="161306" y="183818"/>
                  </a:cubicBezTo>
                  <a:cubicBezTo>
                    <a:pt x="163855" y="186366"/>
                    <a:pt x="163855" y="190613"/>
                    <a:pt x="161306" y="193162"/>
                  </a:cubicBezTo>
                  <a:lnTo>
                    <a:pt x="121003" y="233465"/>
                  </a:lnTo>
                  <a:cubicBezTo>
                    <a:pt x="119776" y="234692"/>
                    <a:pt x="118077" y="235353"/>
                    <a:pt x="116379" y="23535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grpSp>
      <p:grpSp>
        <p:nvGrpSpPr>
          <p:cNvPr id="272" name="Группа 271">
            <a:extLst>
              <a:ext uri="{FF2B5EF4-FFF2-40B4-BE49-F238E27FC236}">
                <a16:creationId xmlns:a16="http://schemas.microsoft.com/office/drawing/2014/main" id="{022E74B1-1786-4C89-8EC3-1D11F4A9B6EC}"/>
              </a:ext>
            </a:extLst>
          </p:cNvPr>
          <p:cNvGrpSpPr/>
          <p:nvPr/>
        </p:nvGrpSpPr>
        <p:grpSpPr>
          <a:xfrm>
            <a:off x="4466638" y="3519734"/>
            <a:ext cx="343140" cy="343140"/>
            <a:chOff x="5928871" y="2336889"/>
            <a:chExt cx="384042" cy="384042"/>
          </a:xfrm>
        </p:grpSpPr>
        <p:sp>
          <p:nvSpPr>
            <p:cNvPr id="273" name="Овал 272">
              <a:extLst>
                <a:ext uri="{FF2B5EF4-FFF2-40B4-BE49-F238E27FC236}">
                  <a16:creationId xmlns:a16="http://schemas.microsoft.com/office/drawing/2014/main" id="{3F2EDE6C-B9FF-4A71-B721-AA60FA8364A5}"/>
                </a:ext>
              </a:extLst>
            </p:cNvPr>
            <p:cNvSpPr/>
            <p:nvPr/>
          </p:nvSpPr>
          <p:spPr>
            <a:xfrm>
              <a:off x="5928871" y="2336889"/>
              <a:ext cx="384042" cy="384042"/>
            </a:xfrm>
            <a:prstGeom prst="ellipse">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74" name="Овал 273">
              <a:extLst>
                <a:ext uri="{FF2B5EF4-FFF2-40B4-BE49-F238E27FC236}">
                  <a16:creationId xmlns:a16="http://schemas.microsoft.com/office/drawing/2014/main" id="{0EE4D931-C519-449A-A0D4-8C545955B565}"/>
                </a:ext>
              </a:extLst>
            </p:cNvPr>
            <p:cNvSpPr/>
            <p:nvPr/>
          </p:nvSpPr>
          <p:spPr>
            <a:xfrm>
              <a:off x="5973896" y="2381914"/>
              <a:ext cx="293993" cy="293993"/>
            </a:xfrm>
            <a:prstGeom prst="ellipse">
              <a:avLst/>
            </a:prstGeom>
            <a:gradFill>
              <a:gsLst>
                <a:gs pos="0">
                  <a:schemeClr val="accent6">
                    <a:lumMod val="75000"/>
                  </a:schemeClr>
                </a:gs>
                <a:gs pos="90000">
                  <a:schemeClr val="accent6"/>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19" name="Группа 418">
            <a:extLst>
              <a:ext uri="{FF2B5EF4-FFF2-40B4-BE49-F238E27FC236}">
                <a16:creationId xmlns:a16="http://schemas.microsoft.com/office/drawing/2014/main" id="{9A8699B7-4C8A-46E3-8F93-CAFCB756955D}"/>
              </a:ext>
            </a:extLst>
          </p:cNvPr>
          <p:cNvGrpSpPr/>
          <p:nvPr/>
        </p:nvGrpSpPr>
        <p:grpSpPr>
          <a:xfrm>
            <a:off x="5037998" y="3519734"/>
            <a:ext cx="343140" cy="343140"/>
            <a:chOff x="5928871" y="2336889"/>
            <a:chExt cx="384042" cy="384042"/>
          </a:xfrm>
        </p:grpSpPr>
        <p:sp>
          <p:nvSpPr>
            <p:cNvPr id="425" name="Овал 424">
              <a:extLst>
                <a:ext uri="{FF2B5EF4-FFF2-40B4-BE49-F238E27FC236}">
                  <a16:creationId xmlns:a16="http://schemas.microsoft.com/office/drawing/2014/main" id="{67E31D96-3F0E-406B-8DA8-C711024A2127}"/>
                </a:ext>
              </a:extLst>
            </p:cNvPr>
            <p:cNvSpPr/>
            <p:nvPr/>
          </p:nvSpPr>
          <p:spPr>
            <a:xfrm>
              <a:off x="5928871" y="2336889"/>
              <a:ext cx="384042" cy="384042"/>
            </a:xfrm>
            <a:prstGeom prst="ellipse">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26" name="Овал 425">
              <a:extLst>
                <a:ext uri="{FF2B5EF4-FFF2-40B4-BE49-F238E27FC236}">
                  <a16:creationId xmlns:a16="http://schemas.microsoft.com/office/drawing/2014/main" id="{DCE09641-B943-45FA-99FE-7EF050BA208B}"/>
                </a:ext>
              </a:extLst>
            </p:cNvPr>
            <p:cNvSpPr/>
            <p:nvPr/>
          </p:nvSpPr>
          <p:spPr>
            <a:xfrm>
              <a:off x="5973896" y="2381914"/>
              <a:ext cx="293993" cy="293993"/>
            </a:xfrm>
            <a:prstGeom prst="ellipse">
              <a:avLst/>
            </a:prstGeom>
            <a:gradFill>
              <a:gsLst>
                <a:gs pos="0">
                  <a:schemeClr val="accent6">
                    <a:lumMod val="75000"/>
                  </a:schemeClr>
                </a:gs>
                <a:gs pos="90000">
                  <a:schemeClr val="accent6"/>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39" name="Группа 438">
            <a:extLst>
              <a:ext uri="{FF2B5EF4-FFF2-40B4-BE49-F238E27FC236}">
                <a16:creationId xmlns:a16="http://schemas.microsoft.com/office/drawing/2014/main" id="{B05DAAC9-DD80-4DB9-A544-A4B8CE0EEB32}"/>
              </a:ext>
            </a:extLst>
          </p:cNvPr>
          <p:cNvGrpSpPr/>
          <p:nvPr/>
        </p:nvGrpSpPr>
        <p:grpSpPr>
          <a:xfrm>
            <a:off x="5602428" y="3519734"/>
            <a:ext cx="343140" cy="343140"/>
            <a:chOff x="5928871" y="2336889"/>
            <a:chExt cx="384042" cy="384042"/>
          </a:xfrm>
        </p:grpSpPr>
        <p:sp>
          <p:nvSpPr>
            <p:cNvPr id="445" name="Овал 444">
              <a:extLst>
                <a:ext uri="{FF2B5EF4-FFF2-40B4-BE49-F238E27FC236}">
                  <a16:creationId xmlns:a16="http://schemas.microsoft.com/office/drawing/2014/main" id="{855959BF-BF7B-47BF-8438-7F789DFB6739}"/>
                </a:ext>
              </a:extLst>
            </p:cNvPr>
            <p:cNvSpPr/>
            <p:nvPr/>
          </p:nvSpPr>
          <p:spPr>
            <a:xfrm>
              <a:off x="5928871" y="2336889"/>
              <a:ext cx="384042" cy="384042"/>
            </a:xfrm>
            <a:prstGeom prst="ellipse">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446" name="Овал 445">
              <a:extLst>
                <a:ext uri="{FF2B5EF4-FFF2-40B4-BE49-F238E27FC236}">
                  <a16:creationId xmlns:a16="http://schemas.microsoft.com/office/drawing/2014/main" id="{D2A63928-7A90-47F8-B1D4-525E14AAFEE8}"/>
                </a:ext>
              </a:extLst>
            </p:cNvPr>
            <p:cNvSpPr/>
            <p:nvPr/>
          </p:nvSpPr>
          <p:spPr>
            <a:xfrm>
              <a:off x="5973896" y="2381914"/>
              <a:ext cx="293993" cy="293993"/>
            </a:xfrm>
            <a:prstGeom prst="ellipse">
              <a:avLst/>
            </a:prstGeom>
            <a:gradFill>
              <a:gsLst>
                <a:gs pos="0">
                  <a:schemeClr val="accent6">
                    <a:lumMod val="75000"/>
                  </a:schemeClr>
                </a:gs>
                <a:gs pos="90000">
                  <a:schemeClr val="accent6"/>
                </a:gs>
              </a:gsLst>
              <a:lin ang="3360000" scaled="0"/>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cxnSp>
        <p:nvCxnSpPr>
          <p:cNvPr id="567" name="Прямая соединительная линия 566">
            <a:extLst>
              <a:ext uri="{FF2B5EF4-FFF2-40B4-BE49-F238E27FC236}">
                <a16:creationId xmlns:a16="http://schemas.microsoft.com/office/drawing/2014/main" id="{36BC1CEB-95B0-4B7A-A542-ABFFAA33B295}"/>
              </a:ext>
            </a:extLst>
          </p:cNvPr>
          <p:cNvCxnSpPr>
            <a:cxnSpLocks/>
            <a:stCxn id="548" idx="4"/>
          </p:cNvCxnSpPr>
          <p:nvPr/>
        </p:nvCxnSpPr>
        <p:spPr>
          <a:xfrm>
            <a:off x="5329467" y="4525158"/>
            <a:ext cx="21167" cy="447679"/>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68" name="Прямая соединительная линия 567">
            <a:extLst>
              <a:ext uri="{FF2B5EF4-FFF2-40B4-BE49-F238E27FC236}">
                <a16:creationId xmlns:a16="http://schemas.microsoft.com/office/drawing/2014/main" id="{09B31AE6-FF9B-4625-A984-5770785D926E}"/>
              </a:ext>
            </a:extLst>
          </p:cNvPr>
          <p:cNvCxnSpPr>
            <a:cxnSpLocks/>
          </p:cNvCxnSpPr>
          <p:nvPr/>
        </p:nvCxnSpPr>
        <p:spPr>
          <a:xfrm flipH="1">
            <a:off x="4747971" y="4633162"/>
            <a:ext cx="322781" cy="19535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69" name="Прямая соединительная линия 568">
            <a:extLst>
              <a:ext uri="{FF2B5EF4-FFF2-40B4-BE49-F238E27FC236}">
                <a16:creationId xmlns:a16="http://schemas.microsoft.com/office/drawing/2014/main" id="{1DCCBBDD-7133-46C5-825C-5709675DDFB7}"/>
              </a:ext>
            </a:extLst>
          </p:cNvPr>
          <p:cNvCxnSpPr>
            <a:cxnSpLocks/>
            <a:stCxn id="551" idx="1"/>
            <a:endCxn id="545" idx="5"/>
          </p:cNvCxnSpPr>
          <p:nvPr/>
        </p:nvCxnSpPr>
        <p:spPr>
          <a:xfrm flipH="1" flipV="1">
            <a:off x="5394372" y="5078433"/>
            <a:ext cx="366883" cy="103482"/>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70" name="Прямая соединительная линия 569">
            <a:extLst>
              <a:ext uri="{FF2B5EF4-FFF2-40B4-BE49-F238E27FC236}">
                <a16:creationId xmlns:a16="http://schemas.microsoft.com/office/drawing/2014/main" id="{CB9B3C7A-76C9-42B6-831E-427F52A9D4E2}"/>
              </a:ext>
            </a:extLst>
          </p:cNvPr>
          <p:cNvCxnSpPr>
            <a:cxnSpLocks/>
          </p:cNvCxnSpPr>
          <p:nvPr/>
        </p:nvCxnSpPr>
        <p:spPr>
          <a:xfrm flipH="1">
            <a:off x="5394372" y="4772035"/>
            <a:ext cx="295137" cy="218919"/>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78" name="Прямая соединительная линия 577">
            <a:extLst>
              <a:ext uri="{FF2B5EF4-FFF2-40B4-BE49-F238E27FC236}">
                <a16:creationId xmlns:a16="http://schemas.microsoft.com/office/drawing/2014/main" id="{52141074-F9A4-4482-9018-DE672500C0A6}"/>
              </a:ext>
            </a:extLst>
          </p:cNvPr>
          <p:cNvCxnSpPr>
            <a:cxnSpLocks/>
            <a:endCxn id="547" idx="5"/>
          </p:cNvCxnSpPr>
          <p:nvPr/>
        </p:nvCxnSpPr>
        <p:spPr>
          <a:xfrm flipH="1" flipV="1">
            <a:off x="5386602" y="4520437"/>
            <a:ext cx="298188" cy="194464"/>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555" name="Группа 554">
            <a:extLst>
              <a:ext uri="{FF2B5EF4-FFF2-40B4-BE49-F238E27FC236}">
                <a16:creationId xmlns:a16="http://schemas.microsoft.com/office/drawing/2014/main" id="{62B122F8-7EFA-495B-9DCD-B629B2861F47}"/>
              </a:ext>
            </a:extLst>
          </p:cNvPr>
          <p:cNvGrpSpPr/>
          <p:nvPr/>
        </p:nvGrpSpPr>
        <p:grpSpPr>
          <a:xfrm>
            <a:off x="6055158" y="4939452"/>
            <a:ext cx="161606" cy="161606"/>
            <a:chOff x="5928871" y="2336889"/>
            <a:chExt cx="384042" cy="384042"/>
          </a:xfrm>
        </p:grpSpPr>
        <p:sp>
          <p:nvSpPr>
            <p:cNvPr id="556" name="Овал 555">
              <a:extLst>
                <a:ext uri="{FF2B5EF4-FFF2-40B4-BE49-F238E27FC236}">
                  <a16:creationId xmlns:a16="http://schemas.microsoft.com/office/drawing/2014/main" id="{2AFB046D-5DB1-46D2-AA1A-C070C51F5560}"/>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57" name="Овал 556">
              <a:extLst>
                <a:ext uri="{FF2B5EF4-FFF2-40B4-BE49-F238E27FC236}">
                  <a16:creationId xmlns:a16="http://schemas.microsoft.com/office/drawing/2014/main" id="{2E66143C-EF04-4F05-9B83-7A08E9668430}"/>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58" name="Группа 557">
            <a:extLst>
              <a:ext uri="{FF2B5EF4-FFF2-40B4-BE49-F238E27FC236}">
                <a16:creationId xmlns:a16="http://schemas.microsoft.com/office/drawing/2014/main" id="{A2E4F370-4104-4718-AD78-D263131B3825}"/>
              </a:ext>
            </a:extLst>
          </p:cNvPr>
          <p:cNvGrpSpPr/>
          <p:nvPr/>
        </p:nvGrpSpPr>
        <p:grpSpPr>
          <a:xfrm>
            <a:off x="6321267" y="4716403"/>
            <a:ext cx="161606" cy="161606"/>
            <a:chOff x="5928871" y="2336889"/>
            <a:chExt cx="384042" cy="384042"/>
          </a:xfrm>
        </p:grpSpPr>
        <p:sp>
          <p:nvSpPr>
            <p:cNvPr id="559" name="Овал 558">
              <a:extLst>
                <a:ext uri="{FF2B5EF4-FFF2-40B4-BE49-F238E27FC236}">
                  <a16:creationId xmlns:a16="http://schemas.microsoft.com/office/drawing/2014/main" id="{C89FDDD0-3366-4AC5-B54B-E6B3C4A6CA05}"/>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60" name="Овал 559">
              <a:extLst>
                <a:ext uri="{FF2B5EF4-FFF2-40B4-BE49-F238E27FC236}">
                  <a16:creationId xmlns:a16="http://schemas.microsoft.com/office/drawing/2014/main" id="{AF3CACE7-B1D3-4A5E-B814-866060D92E66}"/>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72" name="Группа 571">
            <a:extLst>
              <a:ext uri="{FF2B5EF4-FFF2-40B4-BE49-F238E27FC236}">
                <a16:creationId xmlns:a16="http://schemas.microsoft.com/office/drawing/2014/main" id="{7055659A-DB4D-4C8D-9A9C-A5AF44BC8932}"/>
              </a:ext>
            </a:extLst>
          </p:cNvPr>
          <p:cNvGrpSpPr/>
          <p:nvPr/>
        </p:nvGrpSpPr>
        <p:grpSpPr>
          <a:xfrm>
            <a:off x="6474832" y="5005813"/>
            <a:ext cx="161606" cy="161606"/>
            <a:chOff x="5928871" y="2336889"/>
            <a:chExt cx="384042" cy="384042"/>
          </a:xfrm>
        </p:grpSpPr>
        <p:sp>
          <p:nvSpPr>
            <p:cNvPr id="573" name="Овал 572">
              <a:extLst>
                <a:ext uri="{FF2B5EF4-FFF2-40B4-BE49-F238E27FC236}">
                  <a16:creationId xmlns:a16="http://schemas.microsoft.com/office/drawing/2014/main" id="{EAB0D0CA-37E7-4E41-9762-4B7CB3320A4E}"/>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74" name="Овал 573">
              <a:extLst>
                <a:ext uri="{FF2B5EF4-FFF2-40B4-BE49-F238E27FC236}">
                  <a16:creationId xmlns:a16="http://schemas.microsoft.com/office/drawing/2014/main" id="{C69207E2-76F8-43DE-9075-342A0A0ACAF8}"/>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25" name="Группа 24">
            <a:extLst>
              <a:ext uri="{FF2B5EF4-FFF2-40B4-BE49-F238E27FC236}">
                <a16:creationId xmlns:a16="http://schemas.microsoft.com/office/drawing/2014/main" id="{978150AD-2462-4ECF-8D31-E7ED6B0F0FA7}"/>
              </a:ext>
            </a:extLst>
          </p:cNvPr>
          <p:cNvGrpSpPr/>
          <p:nvPr/>
        </p:nvGrpSpPr>
        <p:grpSpPr>
          <a:xfrm>
            <a:off x="6948237" y="5829088"/>
            <a:ext cx="955379" cy="371920"/>
            <a:chOff x="8006600" y="5059432"/>
            <a:chExt cx="955379" cy="371920"/>
          </a:xfrm>
        </p:grpSpPr>
        <p:cxnSp>
          <p:nvCxnSpPr>
            <p:cNvPr id="579" name="Прямая соединительная линия 578">
              <a:extLst>
                <a:ext uri="{FF2B5EF4-FFF2-40B4-BE49-F238E27FC236}">
                  <a16:creationId xmlns:a16="http://schemas.microsoft.com/office/drawing/2014/main" id="{BB7DF891-73E0-4AA9-87DE-A1274949EE37}"/>
                </a:ext>
              </a:extLst>
            </p:cNvPr>
            <p:cNvCxnSpPr>
              <a:cxnSpLocks/>
            </p:cNvCxnSpPr>
            <p:nvPr/>
          </p:nvCxnSpPr>
          <p:spPr>
            <a:xfrm flipH="1" flipV="1">
              <a:off x="8107178" y="5269378"/>
              <a:ext cx="712142" cy="81172"/>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81" name="Прямая соединительная линия 580">
              <a:extLst>
                <a:ext uri="{FF2B5EF4-FFF2-40B4-BE49-F238E27FC236}">
                  <a16:creationId xmlns:a16="http://schemas.microsoft.com/office/drawing/2014/main" id="{2F5416CC-6140-4926-9622-684D97365F93}"/>
                </a:ext>
              </a:extLst>
            </p:cNvPr>
            <p:cNvCxnSpPr>
              <a:cxnSpLocks/>
            </p:cNvCxnSpPr>
            <p:nvPr/>
          </p:nvCxnSpPr>
          <p:spPr>
            <a:xfrm flipH="1">
              <a:off x="8107178" y="5140235"/>
              <a:ext cx="425291" cy="12914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643" name="Прямая соединительная линия 642">
              <a:extLst>
                <a:ext uri="{FF2B5EF4-FFF2-40B4-BE49-F238E27FC236}">
                  <a16:creationId xmlns:a16="http://schemas.microsoft.com/office/drawing/2014/main" id="{8E31FFE6-1380-4098-B136-6CF2A562A6DD}"/>
                </a:ext>
              </a:extLst>
            </p:cNvPr>
            <p:cNvCxnSpPr>
              <a:cxnSpLocks/>
              <a:stCxn id="505" idx="1"/>
              <a:endCxn id="503" idx="5"/>
            </p:cNvCxnSpPr>
            <p:nvPr/>
          </p:nvCxnSpPr>
          <p:spPr>
            <a:xfrm flipH="1" flipV="1">
              <a:off x="8657012" y="5183975"/>
              <a:ext cx="167028" cy="109438"/>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504" name="Группа 503">
              <a:extLst>
                <a:ext uri="{FF2B5EF4-FFF2-40B4-BE49-F238E27FC236}">
                  <a16:creationId xmlns:a16="http://schemas.microsoft.com/office/drawing/2014/main" id="{5093138C-9E56-4A33-9E27-C019521A9C76}"/>
                </a:ext>
              </a:extLst>
            </p:cNvPr>
            <p:cNvGrpSpPr/>
            <p:nvPr/>
          </p:nvGrpSpPr>
          <p:grpSpPr>
            <a:xfrm>
              <a:off x="8800373" y="5269746"/>
              <a:ext cx="161606" cy="161606"/>
              <a:chOff x="5928871" y="2336889"/>
              <a:chExt cx="384042" cy="384042"/>
            </a:xfrm>
          </p:grpSpPr>
          <p:sp>
            <p:nvSpPr>
              <p:cNvPr id="505" name="Овал 504">
                <a:extLst>
                  <a:ext uri="{FF2B5EF4-FFF2-40B4-BE49-F238E27FC236}">
                    <a16:creationId xmlns:a16="http://schemas.microsoft.com/office/drawing/2014/main" id="{AE64C1C9-804A-402E-B2E7-C76936F3EA71}"/>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06" name="Овал 505">
                <a:extLst>
                  <a:ext uri="{FF2B5EF4-FFF2-40B4-BE49-F238E27FC236}">
                    <a16:creationId xmlns:a16="http://schemas.microsoft.com/office/drawing/2014/main" id="{C166C69A-BFA0-4451-A0C7-EFE8716F66DA}"/>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498" name="Группа 497">
              <a:extLst>
                <a:ext uri="{FF2B5EF4-FFF2-40B4-BE49-F238E27FC236}">
                  <a16:creationId xmlns:a16="http://schemas.microsoft.com/office/drawing/2014/main" id="{5DFEA802-2F39-4AF8-A2DE-978574E6963A}"/>
                </a:ext>
              </a:extLst>
            </p:cNvPr>
            <p:cNvGrpSpPr/>
            <p:nvPr/>
          </p:nvGrpSpPr>
          <p:grpSpPr>
            <a:xfrm>
              <a:off x="8006600" y="5193736"/>
              <a:ext cx="161606" cy="161606"/>
              <a:chOff x="5928871" y="2336889"/>
              <a:chExt cx="384042" cy="384042"/>
            </a:xfrm>
          </p:grpSpPr>
          <p:sp>
            <p:nvSpPr>
              <p:cNvPr id="499" name="Овал 498">
                <a:extLst>
                  <a:ext uri="{FF2B5EF4-FFF2-40B4-BE49-F238E27FC236}">
                    <a16:creationId xmlns:a16="http://schemas.microsoft.com/office/drawing/2014/main" id="{98BB38DF-8FE7-4B32-A37B-4DF1855C72B6}"/>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00" name="Овал 499">
                <a:extLst>
                  <a:ext uri="{FF2B5EF4-FFF2-40B4-BE49-F238E27FC236}">
                    <a16:creationId xmlns:a16="http://schemas.microsoft.com/office/drawing/2014/main" id="{55F15D0A-5657-405D-979F-2716840FF1B1}"/>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01" name="Группа 500">
              <a:extLst>
                <a:ext uri="{FF2B5EF4-FFF2-40B4-BE49-F238E27FC236}">
                  <a16:creationId xmlns:a16="http://schemas.microsoft.com/office/drawing/2014/main" id="{6B93EA39-B51A-4955-AD15-2D8AF48FDFC9}"/>
                </a:ext>
              </a:extLst>
            </p:cNvPr>
            <p:cNvGrpSpPr/>
            <p:nvPr/>
          </p:nvGrpSpPr>
          <p:grpSpPr>
            <a:xfrm>
              <a:off x="8532469" y="5059432"/>
              <a:ext cx="161606" cy="161606"/>
              <a:chOff x="5928871" y="2336889"/>
              <a:chExt cx="384042" cy="384042"/>
            </a:xfrm>
          </p:grpSpPr>
          <p:sp>
            <p:nvSpPr>
              <p:cNvPr id="502" name="Овал 501">
                <a:extLst>
                  <a:ext uri="{FF2B5EF4-FFF2-40B4-BE49-F238E27FC236}">
                    <a16:creationId xmlns:a16="http://schemas.microsoft.com/office/drawing/2014/main" id="{89A5652F-28BE-4E2B-A50A-D2A5C5B6D247}"/>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03" name="Овал 502">
                <a:extLst>
                  <a:ext uri="{FF2B5EF4-FFF2-40B4-BE49-F238E27FC236}">
                    <a16:creationId xmlns:a16="http://schemas.microsoft.com/office/drawing/2014/main" id="{5C825ABE-1645-4E39-82ED-DF6CC19B35FF}"/>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grpSp>
        <p:nvGrpSpPr>
          <p:cNvPr id="26" name="Группа 25">
            <a:extLst>
              <a:ext uri="{FF2B5EF4-FFF2-40B4-BE49-F238E27FC236}">
                <a16:creationId xmlns:a16="http://schemas.microsoft.com/office/drawing/2014/main" id="{D1962162-D926-4DD9-8B70-E4DAE8018C44}"/>
              </a:ext>
            </a:extLst>
          </p:cNvPr>
          <p:cNvGrpSpPr/>
          <p:nvPr/>
        </p:nvGrpSpPr>
        <p:grpSpPr>
          <a:xfrm>
            <a:off x="7745026" y="5442765"/>
            <a:ext cx="1009127" cy="441007"/>
            <a:chOff x="8439406" y="4492443"/>
            <a:chExt cx="1009127" cy="441007"/>
          </a:xfrm>
        </p:grpSpPr>
        <p:cxnSp>
          <p:nvCxnSpPr>
            <p:cNvPr id="45" name="Прямая соединительная линия 44">
              <a:extLst>
                <a:ext uri="{FF2B5EF4-FFF2-40B4-BE49-F238E27FC236}">
                  <a16:creationId xmlns:a16="http://schemas.microsoft.com/office/drawing/2014/main" id="{4D6F35F0-4B46-43BA-B179-1D65127E41EE}"/>
                </a:ext>
              </a:extLst>
            </p:cNvPr>
            <p:cNvCxnSpPr>
              <a:cxnSpLocks/>
            </p:cNvCxnSpPr>
            <p:nvPr/>
          </p:nvCxnSpPr>
          <p:spPr>
            <a:xfrm flipV="1">
              <a:off x="8563949" y="4630382"/>
              <a:ext cx="209899" cy="178526"/>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65" name="Прямая соединительная линия 564">
              <a:extLst>
                <a:ext uri="{FF2B5EF4-FFF2-40B4-BE49-F238E27FC236}">
                  <a16:creationId xmlns:a16="http://schemas.microsoft.com/office/drawing/2014/main" id="{36468F90-72E7-453E-8789-F27875D4E26F}"/>
                </a:ext>
              </a:extLst>
            </p:cNvPr>
            <p:cNvCxnSpPr>
              <a:cxnSpLocks/>
            </p:cNvCxnSpPr>
            <p:nvPr/>
          </p:nvCxnSpPr>
          <p:spPr>
            <a:xfrm flipV="1">
              <a:off x="8582066" y="4690686"/>
              <a:ext cx="723808" cy="161962"/>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566" name="Прямая соединительная линия 565">
              <a:extLst>
                <a:ext uri="{FF2B5EF4-FFF2-40B4-BE49-F238E27FC236}">
                  <a16:creationId xmlns:a16="http://schemas.microsoft.com/office/drawing/2014/main" id="{D0D36090-56EE-4D6F-A83C-E59FD25B9518}"/>
                </a:ext>
              </a:extLst>
            </p:cNvPr>
            <p:cNvCxnSpPr>
              <a:cxnSpLocks/>
            </p:cNvCxnSpPr>
            <p:nvPr/>
          </p:nvCxnSpPr>
          <p:spPr>
            <a:xfrm>
              <a:off x="8892841" y="4573247"/>
              <a:ext cx="431150" cy="73699"/>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514" name="Группа 513">
              <a:extLst>
                <a:ext uri="{FF2B5EF4-FFF2-40B4-BE49-F238E27FC236}">
                  <a16:creationId xmlns:a16="http://schemas.microsoft.com/office/drawing/2014/main" id="{4828C1F3-FE35-4BEF-AE35-193E6CF28AD3}"/>
                </a:ext>
              </a:extLst>
            </p:cNvPr>
            <p:cNvGrpSpPr/>
            <p:nvPr/>
          </p:nvGrpSpPr>
          <p:grpSpPr>
            <a:xfrm>
              <a:off x="8750181" y="4492443"/>
              <a:ext cx="161606" cy="161606"/>
              <a:chOff x="5928871" y="2336889"/>
              <a:chExt cx="384042" cy="384042"/>
            </a:xfrm>
          </p:grpSpPr>
          <p:sp>
            <p:nvSpPr>
              <p:cNvPr id="515" name="Овал 514">
                <a:extLst>
                  <a:ext uri="{FF2B5EF4-FFF2-40B4-BE49-F238E27FC236}">
                    <a16:creationId xmlns:a16="http://schemas.microsoft.com/office/drawing/2014/main" id="{EB0BF6D7-4BF4-4194-A5C3-E5AA3B22A87F}"/>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16" name="Овал 515">
                <a:extLst>
                  <a:ext uri="{FF2B5EF4-FFF2-40B4-BE49-F238E27FC236}">
                    <a16:creationId xmlns:a16="http://schemas.microsoft.com/office/drawing/2014/main" id="{C2524B4B-B788-4244-9661-ADFB097C9237}"/>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17" name="Группа 516">
              <a:extLst>
                <a:ext uri="{FF2B5EF4-FFF2-40B4-BE49-F238E27FC236}">
                  <a16:creationId xmlns:a16="http://schemas.microsoft.com/office/drawing/2014/main" id="{177E4AFA-6A3F-41A0-8CFD-33FB7F729BF0}"/>
                </a:ext>
              </a:extLst>
            </p:cNvPr>
            <p:cNvGrpSpPr/>
            <p:nvPr/>
          </p:nvGrpSpPr>
          <p:grpSpPr>
            <a:xfrm>
              <a:off x="8439406" y="4771844"/>
              <a:ext cx="161606" cy="161606"/>
              <a:chOff x="5928871" y="2336889"/>
              <a:chExt cx="384042" cy="384042"/>
            </a:xfrm>
          </p:grpSpPr>
          <p:sp>
            <p:nvSpPr>
              <p:cNvPr id="518" name="Овал 517">
                <a:extLst>
                  <a:ext uri="{FF2B5EF4-FFF2-40B4-BE49-F238E27FC236}">
                    <a16:creationId xmlns:a16="http://schemas.microsoft.com/office/drawing/2014/main" id="{F1051CC0-57DA-4EE7-A021-07AAF440CB99}"/>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19" name="Овал 518">
                <a:extLst>
                  <a:ext uri="{FF2B5EF4-FFF2-40B4-BE49-F238E27FC236}">
                    <a16:creationId xmlns:a16="http://schemas.microsoft.com/office/drawing/2014/main" id="{0B7E84AB-121C-427C-B65A-E61E73948DB2}"/>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20" name="Группа 519">
              <a:extLst>
                <a:ext uri="{FF2B5EF4-FFF2-40B4-BE49-F238E27FC236}">
                  <a16:creationId xmlns:a16="http://schemas.microsoft.com/office/drawing/2014/main" id="{AFE122B0-F3F1-45A2-B184-6CC023134E3B}"/>
                </a:ext>
              </a:extLst>
            </p:cNvPr>
            <p:cNvGrpSpPr/>
            <p:nvPr/>
          </p:nvGrpSpPr>
          <p:grpSpPr>
            <a:xfrm>
              <a:off x="9286927" y="4609882"/>
              <a:ext cx="161606" cy="161606"/>
              <a:chOff x="5928871" y="2336889"/>
              <a:chExt cx="384042" cy="384042"/>
            </a:xfrm>
          </p:grpSpPr>
          <p:sp>
            <p:nvSpPr>
              <p:cNvPr id="521" name="Овал 520">
                <a:extLst>
                  <a:ext uri="{FF2B5EF4-FFF2-40B4-BE49-F238E27FC236}">
                    <a16:creationId xmlns:a16="http://schemas.microsoft.com/office/drawing/2014/main" id="{DA3FF7ED-5353-4ABD-8501-9C1D54F16EF2}"/>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22" name="Овал 521">
                <a:extLst>
                  <a:ext uri="{FF2B5EF4-FFF2-40B4-BE49-F238E27FC236}">
                    <a16:creationId xmlns:a16="http://schemas.microsoft.com/office/drawing/2014/main" id="{3B1E6644-B819-45A2-8BFD-CB251BA63A8A}"/>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grpSp>
        <p:nvGrpSpPr>
          <p:cNvPr id="527" name="Группа 526">
            <a:extLst>
              <a:ext uri="{FF2B5EF4-FFF2-40B4-BE49-F238E27FC236}">
                <a16:creationId xmlns:a16="http://schemas.microsoft.com/office/drawing/2014/main" id="{0E744AD7-FE19-46DE-A7F1-8440F203781D}"/>
              </a:ext>
            </a:extLst>
          </p:cNvPr>
          <p:cNvGrpSpPr/>
          <p:nvPr/>
        </p:nvGrpSpPr>
        <p:grpSpPr>
          <a:xfrm>
            <a:off x="4623427" y="4787323"/>
            <a:ext cx="161606" cy="161606"/>
            <a:chOff x="5928871" y="2336889"/>
            <a:chExt cx="384042" cy="384042"/>
          </a:xfrm>
        </p:grpSpPr>
        <p:sp>
          <p:nvSpPr>
            <p:cNvPr id="528" name="Овал 527">
              <a:extLst>
                <a:ext uri="{FF2B5EF4-FFF2-40B4-BE49-F238E27FC236}">
                  <a16:creationId xmlns:a16="http://schemas.microsoft.com/office/drawing/2014/main" id="{F69F85BE-384C-4F16-BEEC-309C5FD12FF9}"/>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29" name="Овал 528">
              <a:extLst>
                <a:ext uri="{FF2B5EF4-FFF2-40B4-BE49-F238E27FC236}">
                  <a16:creationId xmlns:a16="http://schemas.microsoft.com/office/drawing/2014/main" id="{8FED434F-B0C5-4CBB-A87A-9F752293AD10}"/>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43" name="Группа 542">
            <a:extLst>
              <a:ext uri="{FF2B5EF4-FFF2-40B4-BE49-F238E27FC236}">
                <a16:creationId xmlns:a16="http://schemas.microsoft.com/office/drawing/2014/main" id="{A848A80F-EC73-424E-9650-89D3472805C1}"/>
              </a:ext>
            </a:extLst>
          </p:cNvPr>
          <p:cNvGrpSpPr/>
          <p:nvPr/>
        </p:nvGrpSpPr>
        <p:grpSpPr>
          <a:xfrm>
            <a:off x="5269829" y="4953890"/>
            <a:ext cx="161606" cy="161606"/>
            <a:chOff x="5928871" y="2336889"/>
            <a:chExt cx="384042" cy="384042"/>
          </a:xfrm>
        </p:grpSpPr>
        <p:sp>
          <p:nvSpPr>
            <p:cNvPr id="544" name="Овал 543">
              <a:extLst>
                <a:ext uri="{FF2B5EF4-FFF2-40B4-BE49-F238E27FC236}">
                  <a16:creationId xmlns:a16="http://schemas.microsoft.com/office/drawing/2014/main" id="{3D851841-CA12-47D9-B669-B809FE518447}"/>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45" name="Овал 544">
              <a:extLst>
                <a:ext uri="{FF2B5EF4-FFF2-40B4-BE49-F238E27FC236}">
                  <a16:creationId xmlns:a16="http://schemas.microsoft.com/office/drawing/2014/main" id="{74757081-E494-49B4-AC83-E31349EB4965}"/>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46" name="Группа 545">
            <a:extLst>
              <a:ext uri="{FF2B5EF4-FFF2-40B4-BE49-F238E27FC236}">
                <a16:creationId xmlns:a16="http://schemas.microsoft.com/office/drawing/2014/main" id="{4B3DD267-FCD0-4D74-8150-B9C4CB3900B0}"/>
              </a:ext>
            </a:extLst>
          </p:cNvPr>
          <p:cNvGrpSpPr/>
          <p:nvPr/>
        </p:nvGrpSpPr>
        <p:grpSpPr>
          <a:xfrm>
            <a:off x="5248663" y="4382498"/>
            <a:ext cx="161606" cy="161606"/>
            <a:chOff x="5928871" y="2336889"/>
            <a:chExt cx="384042" cy="384042"/>
          </a:xfrm>
        </p:grpSpPr>
        <p:sp>
          <p:nvSpPr>
            <p:cNvPr id="547" name="Овал 546">
              <a:extLst>
                <a:ext uri="{FF2B5EF4-FFF2-40B4-BE49-F238E27FC236}">
                  <a16:creationId xmlns:a16="http://schemas.microsoft.com/office/drawing/2014/main" id="{62E896BF-D616-409C-8770-569B0D8EBA71}"/>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48" name="Овал 547">
              <a:extLst>
                <a:ext uri="{FF2B5EF4-FFF2-40B4-BE49-F238E27FC236}">
                  <a16:creationId xmlns:a16="http://schemas.microsoft.com/office/drawing/2014/main" id="{282969E3-805C-4329-BB04-6AB8F749C320}"/>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49" name="Группа 548">
            <a:extLst>
              <a:ext uri="{FF2B5EF4-FFF2-40B4-BE49-F238E27FC236}">
                <a16:creationId xmlns:a16="http://schemas.microsoft.com/office/drawing/2014/main" id="{185183FE-A19B-4E7A-84A5-C42F4CD9B5F1}"/>
              </a:ext>
            </a:extLst>
          </p:cNvPr>
          <p:cNvGrpSpPr/>
          <p:nvPr/>
        </p:nvGrpSpPr>
        <p:grpSpPr>
          <a:xfrm>
            <a:off x="5724191" y="5144851"/>
            <a:ext cx="161606" cy="161606"/>
            <a:chOff x="5928871" y="2336889"/>
            <a:chExt cx="384042" cy="384042"/>
          </a:xfrm>
        </p:grpSpPr>
        <p:sp>
          <p:nvSpPr>
            <p:cNvPr id="550" name="Овал 549">
              <a:extLst>
                <a:ext uri="{FF2B5EF4-FFF2-40B4-BE49-F238E27FC236}">
                  <a16:creationId xmlns:a16="http://schemas.microsoft.com/office/drawing/2014/main" id="{D17ED77B-BBD0-42B0-9956-26333205080F}"/>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51" name="Овал 550">
              <a:extLst>
                <a:ext uri="{FF2B5EF4-FFF2-40B4-BE49-F238E27FC236}">
                  <a16:creationId xmlns:a16="http://schemas.microsoft.com/office/drawing/2014/main" id="{695F8A97-2EF8-4B4D-A2EC-6CAC479A8964}"/>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552" name="Группа 551">
            <a:extLst>
              <a:ext uri="{FF2B5EF4-FFF2-40B4-BE49-F238E27FC236}">
                <a16:creationId xmlns:a16="http://schemas.microsoft.com/office/drawing/2014/main" id="{19A5ED9C-70D6-4392-ADBC-9111FD9863E9}"/>
              </a:ext>
            </a:extLst>
          </p:cNvPr>
          <p:cNvGrpSpPr/>
          <p:nvPr/>
        </p:nvGrpSpPr>
        <p:grpSpPr>
          <a:xfrm>
            <a:off x="5665842" y="4634096"/>
            <a:ext cx="161606" cy="161606"/>
            <a:chOff x="5928871" y="2336889"/>
            <a:chExt cx="384042" cy="384042"/>
          </a:xfrm>
        </p:grpSpPr>
        <p:sp>
          <p:nvSpPr>
            <p:cNvPr id="553" name="Овал 552">
              <a:extLst>
                <a:ext uri="{FF2B5EF4-FFF2-40B4-BE49-F238E27FC236}">
                  <a16:creationId xmlns:a16="http://schemas.microsoft.com/office/drawing/2014/main" id="{81EADC87-3026-4045-9222-15C152590966}"/>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54" name="Овал 553">
              <a:extLst>
                <a:ext uri="{FF2B5EF4-FFF2-40B4-BE49-F238E27FC236}">
                  <a16:creationId xmlns:a16="http://schemas.microsoft.com/office/drawing/2014/main" id="{2405A771-BE5F-49E4-8C0C-E60311C851F6}"/>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8" name="Группа 7">
            <a:extLst>
              <a:ext uri="{FF2B5EF4-FFF2-40B4-BE49-F238E27FC236}">
                <a16:creationId xmlns:a16="http://schemas.microsoft.com/office/drawing/2014/main" id="{8D866113-7513-4494-B8ED-915E1BB61DCD}"/>
              </a:ext>
            </a:extLst>
          </p:cNvPr>
          <p:cNvGrpSpPr/>
          <p:nvPr/>
        </p:nvGrpSpPr>
        <p:grpSpPr>
          <a:xfrm rot="10800000">
            <a:off x="5948234" y="5133317"/>
            <a:ext cx="549915" cy="426680"/>
            <a:chOff x="5845611" y="5170539"/>
            <a:chExt cx="581280" cy="451016"/>
          </a:xfrm>
        </p:grpSpPr>
        <p:cxnSp>
          <p:nvCxnSpPr>
            <p:cNvPr id="312" name="Прямая соединительная линия 311">
              <a:extLst>
                <a:ext uri="{FF2B5EF4-FFF2-40B4-BE49-F238E27FC236}">
                  <a16:creationId xmlns:a16="http://schemas.microsoft.com/office/drawing/2014/main" id="{77E363B5-A26F-4D12-B117-5780079FB769}"/>
                </a:ext>
              </a:extLst>
            </p:cNvPr>
            <p:cNvCxnSpPr>
              <a:cxnSpLocks/>
            </p:cNvCxnSpPr>
            <p:nvPr/>
          </p:nvCxnSpPr>
          <p:spPr>
            <a:xfrm flipV="1">
              <a:off x="5983550" y="5295082"/>
              <a:ext cx="165234" cy="12217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313" name="Прямая соединительная линия 312">
              <a:extLst>
                <a:ext uri="{FF2B5EF4-FFF2-40B4-BE49-F238E27FC236}">
                  <a16:creationId xmlns:a16="http://schemas.microsoft.com/office/drawing/2014/main" id="{8CC7F70D-4D7D-4864-BCCA-B555E334ECDD}"/>
                </a:ext>
              </a:extLst>
            </p:cNvPr>
            <p:cNvCxnSpPr>
              <a:cxnSpLocks/>
            </p:cNvCxnSpPr>
            <p:nvPr/>
          </p:nvCxnSpPr>
          <p:spPr>
            <a:xfrm>
              <a:off x="6007217" y="5474391"/>
              <a:ext cx="277015" cy="66362"/>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314" name="Прямая соединительная линия 313">
              <a:extLst>
                <a:ext uri="{FF2B5EF4-FFF2-40B4-BE49-F238E27FC236}">
                  <a16:creationId xmlns:a16="http://schemas.microsoft.com/office/drawing/2014/main" id="{EF964D17-77D4-4423-9FE9-F4C2C3193303}"/>
                </a:ext>
              </a:extLst>
            </p:cNvPr>
            <p:cNvCxnSpPr>
              <a:cxnSpLocks/>
            </p:cNvCxnSpPr>
            <p:nvPr/>
          </p:nvCxnSpPr>
          <p:spPr>
            <a:xfrm>
              <a:off x="6249659" y="5308478"/>
              <a:ext cx="96430" cy="170418"/>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318" name="Группа 317">
              <a:extLst>
                <a:ext uri="{FF2B5EF4-FFF2-40B4-BE49-F238E27FC236}">
                  <a16:creationId xmlns:a16="http://schemas.microsoft.com/office/drawing/2014/main" id="{93554CF7-4306-4F62-A0EB-03B95E460CEC}"/>
                </a:ext>
              </a:extLst>
            </p:cNvPr>
            <p:cNvGrpSpPr/>
            <p:nvPr/>
          </p:nvGrpSpPr>
          <p:grpSpPr>
            <a:xfrm>
              <a:off x="5845611" y="5393588"/>
              <a:ext cx="161606" cy="161606"/>
              <a:chOff x="5928871" y="2336889"/>
              <a:chExt cx="384042" cy="384042"/>
            </a:xfrm>
          </p:grpSpPr>
          <p:sp>
            <p:nvSpPr>
              <p:cNvPr id="319" name="Овал 318">
                <a:extLst>
                  <a:ext uri="{FF2B5EF4-FFF2-40B4-BE49-F238E27FC236}">
                    <a16:creationId xmlns:a16="http://schemas.microsoft.com/office/drawing/2014/main" id="{40C9BB08-1492-4432-8A36-225DC1F304CD}"/>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20" name="Овал 319">
                <a:extLst>
                  <a:ext uri="{FF2B5EF4-FFF2-40B4-BE49-F238E27FC236}">
                    <a16:creationId xmlns:a16="http://schemas.microsoft.com/office/drawing/2014/main" id="{7A498DD6-6D06-46A4-8C6F-FA35091C4299}"/>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321" name="Группа 320">
              <a:extLst>
                <a:ext uri="{FF2B5EF4-FFF2-40B4-BE49-F238E27FC236}">
                  <a16:creationId xmlns:a16="http://schemas.microsoft.com/office/drawing/2014/main" id="{C1B71E5A-B446-4BB2-94E9-2378492DF9B2}"/>
                </a:ext>
              </a:extLst>
            </p:cNvPr>
            <p:cNvGrpSpPr/>
            <p:nvPr/>
          </p:nvGrpSpPr>
          <p:grpSpPr>
            <a:xfrm>
              <a:off x="6111720" y="5170539"/>
              <a:ext cx="161606" cy="161606"/>
              <a:chOff x="5928871" y="2336889"/>
              <a:chExt cx="384042" cy="384042"/>
            </a:xfrm>
          </p:grpSpPr>
          <p:sp>
            <p:nvSpPr>
              <p:cNvPr id="322" name="Овал 321">
                <a:extLst>
                  <a:ext uri="{FF2B5EF4-FFF2-40B4-BE49-F238E27FC236}">
                    <a16:creationId xmlns:a16="http://schemas.microsoft.com/office/drawing/2014/main" id="{1D9AEBAA-FAE9-41ED-BB7A-791121D19406}"/>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23" name="Овал 322">
                <a:extLst>
                  <a:ext uri="{FF2B5EF4-FFF2-40B4-BE49-F238E27FC236}">
                    <a16:creationId xmlns:a16="http://schemas.microsoft.com/office/drawing/2014/main" id="{A4361534-2692-44CD-BEFC-FD3B083A156C}"/>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324" name="Группа 323">
              <a:extLst>
                <a:ext uri="{FF2B5EF4-FFF2-40B4-BE49-F238E27FC236}">
                  <a16:creationId xmlns:a16="http://schemas.microsoft.com/office/drawing/2014/main" id="{98F4B26B-E12D-4606-BBDF-7C0819153887}"/>
                </a:ext>
              </a:extLst>
            </p:cNvPr>
            <p:cNvGrpSpPr/>
            <p:nvPr/>
          </p:nvGrpSpPr>
          <p:grpSpPr>
            <a:xfrm>
              <a:off x="6265285" y="5459949"/>
              <a:ext cx="161606" cy="161606"/>
              <a:chOff x="5928871" y="2336889"/>
              <a:chExt cx="384042" cy="384042"/>
            </a:xfrm>
          </p:grpSpPr>
          <p:sp>
            <p:nvSpPr>
              <p:cNvPr id="338" name="Овал 337">
                <a:extLst>
                  <a:ext uri="{FF2B5EF4-FFF2-40B4-BE49-F238E27FC236}">
                    <a16:creationId xmlns:a16="http://schemas.microsoft.com/office/drawing/2014/main" id="{CC6CFCE6-C0F1-466A-989A-8A5B39BD7647}"/>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339" name="Овал 338">
                <a:extLst>
                  <a:ext uri="{FF2B5EF4-FFF2-40B4-BE49-F238E27FC236}">
                    <a16:creationId xmlns:a16="http://schemas.microsoft.com/office/drawing/2014/main" id="{EB04BC74-4884-47E7-9416-0991B61C3137}"/>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sp>
        <p:nvSpPr>
          <p:cNvPr id="344" name="Полилиния: фигура 343">
            <a:extLst>
              <a:ext uri="{FF2B5EF4-FFF2-40B4-BE49-F238E27FC236}">
                <a16:creationId xmlns:a16="http://schemas.microsoft.com/office/drawing/2014/main" id="{F5A789CF-916E-422F-AB5D-D40FCD4C9FF4}"/>
              </a:ext>
            </a:extLst>
          </p:cNvPr>
          <p:cNvSpPr/>
          <p:nvPr/>
        </p:nvSpPr>
        <p:spPr>
          <a:xfrm>
            <a:off x="6704564" y="2003629"/>
            <a:ext cx="149314" cy="160069"/>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cxnSp>
        <p:nvCxnSpPr>
          <p:cNvPr id="367" name="Прямая соединительная линия 366">
            <a:extLst>
              <a:ext uri="{FF2B5EF4-FFF2-40B4-BE49-F238E27FC236}">
                <a16:creationId xmlns:a16="http://schemas.microsoft.com/office/drawing/2014/main" id="{06F55483-4E41-418C-8D20-AFC68F79E680}"/>
              </a:ext>
            </a:extLst>
          </p:cNvPr>
          <p:cNvCxnSpPr>
            <a:cxnSpLocks/>
          </p:cNvCxnSpPr>
          <p:nvPr/>
        </p:nvCxnSpPr>
        <p:spPr>
          <a:xfrm>
            <a:off x="10200513" y="1618324"/>
            <a:ext cx="0" cy="334423"/>
          </a:xfrm>
          <a:prstGeom prst="line">
            <a:avLst/>
          </a:prstGeom>
          <a:ln w="63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8" name="Прямая соединительная линия 367">
            <a:extLst>
              <a:ext uri="{FF2B5EF4-FFF2-40B4-BE49-F238E27FC236}">
                <a16:creationId xmlns:a16="http://schemas.microsoft.com/office/drawing/2014/main" id="{E3DF8ACA-FE2D-4441-A4C2-E2D9948E0B07}"/>
              </a:ext>
            </a:extLst>
          </p:cNvPr>
          <p:cNvCxnSpPr>
            <a:cxnSpLocks/>
          </p:cNvCxnSpPr>
          <p:nvPr/>
        </p:nvCxnSpPr>
        <p:spPr>
          <a:xfrm>
            <a:off x="10200513" y="2202979"/>
            <a:ext cx="0" cy="334423"/>
          </a:xfrm>
          <a:prstGeom prst="line">
            <a:avLst/>
          </a:prstGeom>
          <a:ln w="63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9" name="Прямая соединительная линия 368">
            <a:extLst>
              <a:ext uri="{FF2B5EF4-FFF2-40B4-BE49-F238E27FC236}">
                <a16:creationId xmlns:a16="http://schemas.microsoft.com/office/drawing/2014/main" id="{8D3E1EEE-BE6B-4DD5-8FFD-E3F16D1BFA61}"/>
              </a:ext>
            </a:extLst>
          </p:cNvPr>
          <p:cNvCxnSpPr>
            <a:cxnSpLocks/>
          </p:cNvCxnSpPr>
          <p:nvPr/>
        </p:nvCxnSpPr>
        <p:spPr>
          <a:xfrm>
            <a:off x="10200513" y="2796988"/>
            <a:ext cx="0" cy="334423"/>
          </a:xfrm>
          <a:prstGeom prst="line">
            <a:avLst/>
          </a:prstGeom>
          <a:ln w="63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0" name="Прямая соединительная линия 369">
            <a:extLst>
              <a:ext uri="{FF2B5EF4-FFF2-40B4-BE49-F238E27FC236}">
                <a16:creationId xmlns:a16="http://schemas.microsoft.com/office/drawing/2014/main" id="{1E3B4FDC-D77C-4CDF-AD4A-D3EC1DAC977C}"/>
              </a:ext>
            </a:extLst>
          </p:cNvPr>
          <p:cNvCxnSpPr>
            <a:cxnSpLocks/>
          </p:cNvCxnSpPr>
          <p:nvPr/>
        </p:nvCxnSpPr>
        <p:spPr>
          <a:xfrm>
            <a:off x="10200513" y="3412045"/>
            <a:ext cx="0" cy="285979"/>
          </a:xfrm>
          <a:prstGeom prst="line">
            <a:avLst/>
          </a:prstGeom>
          <a:ln w="635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6" name="Прямая соединительная линия 375">
            <a:extLst>
              <a:ext uri="{FF2B5EF4-FFF2-40B4-BE49-F238E27FC236}">
                <a16:creationId xmlns:a16="http://schemas.microsoft.com/office/drawing/2014/main" id="{F01DE7CA-2BA6-41E3-A62E-9296758A796A}"/>
              </a:ext>
            </a:extLst>
          </p:cNvPr>
          <p:cNvCxnSpPr>
            <a:cxnSpLocks/>
          </p:cNvCxnSpPr>
          <p:nvPr/>
        </p:nvCxnSpPr>
        <p:spPr>
          <a:xfrm>
            <a:off x="10200513" y="3677089"/>
            <a:ext cx="0" cy="185785"/>
          </a:xfrm>
          <a:prstGeom prst="line">
            <a:avLst/>
          </a:prstGeom>
          <a:ln w="63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7" name="Прямая соединительная линия 376">
            <a:extLst>
              <a:ext uri="{FF2B5EF4-FFF2-40B4-BE49-F238E27FC236}">
                <a16:creationId xmlns:a16="http://schemas.microsoft.com/office/drawing/2014/main" id="{91913272-37E3-4B92-AEDC-5EF6761818ED}"/>
              </a:ext>
            </a:extLst>
          </p:cNvPr>
          <p:cNvCxnSpPr>
            <a:cxnSpLocks/>
          </p:cNvCxnSpPr>
          <p:nvPr/>
        </p:nvCxnSpPr>
        <p:spPr>
          <a:xfrm>
            <a:off x="10200513" y="4092324"/>
            <a:ext cx="0" cy="309277"/>
          </a:xfrm>
          <a:prstGeom prst="line">
            <a:avLst/>
          </a:prstGeom>
          <a:ln w="63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8" name="Прямая соединительная линия 377">
            <a:extLst>
              <a:ext uri="{FF2B5EF4-FFF2-40B4-BE49-F238E27FC236}">
                <a16:creationId xmlns:a16="http://schemas.microsoft.com/office/drawing/2014/main" id="{2E12606B-3101-4244-8B2B-BFBBE363578A}"/>
              </a:ext>
            </a:extLst>
          </p:cNvPr>
          <p:cNvCxnSpPr>
            <a:cxnSpLocks/>
          </p:cNvCxnSpPr>
          <p:nvPr/>
        </p:nvCxnSpPr>
        <p:spPr>
          <a:xfrm>
            <a:off x="10200513" y="4595907"/>
            <a:ext cx="0" cy="309277"/>
          </a:xfrm>
          <a:prstGeom prst="line">
            <a:avLst/>
          </a:prstGeom>
          <a:ln w="63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9" name="Прямая соединительная линия 378">
            <a:extLst>
              <a:ext uri="{FF2B5EF4-FFF2-40B4-BE49-F238E27FC236}">
                <a16:creationId xmlns:a16="http://schemas.microsoft.com/office/drawing/2014/main" id="{72F8C0EB-6DCD-46C5-864B-5D8E1880862E}"/>
              </a:ext>
            </a:extLst>
          </p:cNvPr>
          <p:cNvCxnSpPr>
            <a:cxnSpLocks/>
          </p:cNvCxnSpPr>
          <p:nvPr/>
        </p:nvCxnSpPr>
        <p:spPr>
          <a:xfrm>
            <a:off x="10200513" y="5081820"/>
            <a:ext cx="0" cy="309277"/>
          </a:xfrm>
          <a:prstGeom prst="line">
            <a:avLst/>
          </a:prstGeom>
          <a:ln w="63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80" name="Прямая соединительная линия 379">
            <a:extLst>
              <a:ext uri="{FF2B5EF4-FFF2-40B4-BE49-F238E27FC236}">
                <a16:creationId xmlns:a16="http://schemas.microsoft.com/office/drawing/2014/main" id="{D99002ED-D82C-4E78-9231-3BED99AB700E}"/>
              </a:ext>
            </a:extLst>
          </p:cNvPr>
          <p:cNvCxnSpPr>
            <a:cxnSpLocks/>
          </p:cNvCxnSpPr>
          <p:nvPr/>
        </p:nvCxnSpPr>
        <p:spPr>
          <a:xfrm>
            <a:off x="10200513" y="5614111"/>
            <a:ext cx="0" cy="297705"/>
          </a:xfrm>
          <a:prstGeom prst="line">
            <a:avLst/>
          </a:prstGeom>
          <a:ln w="635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81" name="Полилиния: фигура 380">
            <a:extLst>
              <a:ext uri="{FF2B5EF4-FFF2-40B4-BE49-F238E27FC236}">
                <a16:creationId xmlns:a16="http://schemas.microsoft.com/office/drawing/2014/main" id="{3E6E3FBE-D1F8-49E9-8A7C-8645627A6E6F}"/>
              </a:ext>
            </a:extLst>
          </p:cNvPr>
          <p:cNvSpPr/>
          <p:nvPr/>
        </p:nvSpPr>
        <p:spPr>
          <a:xfrm>
            <a:off x="6721959" y="2482874"/>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2" name="Полилиния: фигура 381">
            <a:extLst>
              <a:ext uri="{FF2B5EF4-FFF2-40B4-BE49-F238E27FC236}">
                <a16:creationId xmlns:a16="http://schemas.microsoft.com/office/drawing/2014/main" id="{27410DDC-6EBA-4522-ABAB-731B8C7C594A}"/>
              </a:ext>
            </a:extLst>
          </p:cNvPr>
          <p:cNvSpPr/>
          <p:nvPr/>
        </p:nvSpPr>
        <p:spPr>
          <a:xfrm>
            <a:off x="6202639" y="2482874"/>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3" name="Полилиния: фигура 382">
            <a:extLst>
              <a:ext uri="{FF2B5EF4-FFF2-40B4-BE49-F238E27FC236}">
                <a16:creationId xmlns:a16="http://schemas.microsoft.com/office/drawing/2014/main" id="{BC25CBCD-F639-4BFD-AAF7-D841F2F61796}"/>
              </a:ext>
            </a:extLst>
          </p:cNvPr>
          <p:cNvSpPr/>
          <p:nvPr/>
        </p:nvSpPr>
        <p:spPr>
          <a:xfrm>
            <a:off x="5683320" y="2482874"/>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4" name="Полилиния: фигура 383">
            <a:extLst>
              <a:ext uri="{FF2B5EF4-FFF2-40B4-BE49-F238E27FC236}">
                <a16:creationId xmlns:a16="http://schemas.microsoft.com/office/drawing/2014/main" id="{EF7FC172-30C2-491C-B0C7-7AF346C4D869}"/>
              </a:ext>
            </a:extLst>
          </p:cNvPr>
          <p:cNvSpPr/>
          <p:nvPr/>
        </p:nvSpPr>
        <p:spPr>
          <a:xfrm>
            <a:off x="7243764" y="2482874"/>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5" name="Полилиния: фигура 384">
            <a:extLst>
              <a:ext uri="{FF2B5EF4-FFF2-40B4-BE49-F238E27FC236}">
                <a16:creationId xmlns:a16="http://schemas.microsoft.com/office/drawing/2014/main" id="{E7A8EA61-3491-435B-BD8D-F6F47889D7B8}"/>
              </a:ext>
            </a:extLst>
          </p:cNvPr>
          <p:cNvSpPr/>
          <p:nvPr/>
        </p:nvSpPr>
        <p:spPr>
          <a:xfrm>
            <a:off x="7760600" y="2482874"/>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6" name="Полилиния: фигура 385">
            <a:extLst>
              <a:ext uri="{FF2B5EF4-FFF2-40B4-BE49-F238E27FC236}">
                <a16:creationId xmlns:a16="http://schemas.microsoft.com/office/drawing/2014/main" id="{2B8EE05C-7490-40AC-BF10-7AD84E26AF33}"/>
              </a:ext>
            </a:extLst>
          </p:cNvPr>
          <p:cNvSpPr/>
          <p:nvPr/>
        </p:nvSpPr>
        <p:spPr>
          <a:xfrm>
            <a:off x="5712384" y="3623496"/>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7" name="Полилиния: фигура 386">
            <a:extLst>
              <a:ext uri="{FF2B5EF4-FFF2-40B4-BE49-F238E27FC236}">
                <a16:creationId xmlns:a16="http://schemas.microsoft.com/office/drawing/2014/main" id="{4AAE0B70-C28E-4753-BF3E-37EFE71D9718}"/>
              </a:ext>
            </a:extLst>
          </p:cNvPr>
          <p:cNvSpPr/>
          <p:nvPr/>
        </p:nvSpPr>
        <p:spPr>
          <a:xfrm>
            <a:off x="6283884" y="3623496"/>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8" name="Полилиния: фигура 387">
            <a:extLst>
              <a:ext uri="{FF2B5EF4-FFF2-40B4-BE49-F238E27FC236}">
                <a16:creationId xmlns:a16="http://schemas.microsoft.com/office/drawing/2014/main" id="{FFA67DA9-4C86-4787-B444-1F6C99128AA4}"/>
              </a:ext>
            </a:extLst>
          </p:cNvPr>
          <p:cNvSpPr/>
          <p:nvPr/>
        </p:nvSpPr>
        <p:spPr>
          <a:xfrm>
            <a:off x="5150824" y="3623496"/>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389" name="Полилиния: фигура 388">
            <a:extLst>
              <a:ext uri="{FF2B5EF4-FFF2-40B4-BE49-F238E27FC236}">
                <a16:creationId xmlns:a16="http://schemas.microsoft.com/office/drawing/2014/main" id="{45F26CDA-CA20-42E2-A630-18FB0C671EC3}"/>
              </a:ext>
            </a:extLst>
          </p:cNvPr>
          <p:cNvSpPr/>
          <p:nvPr/>
        </p:nvSpPr>
        <p:spPr>
          <a:xfrm>
            <a:off x="4579324" y="3623496"/>
            <a:ext cx="115064" cy="123352"/>
          </a:xfrm>
          <a:custGeom>
            <a:avLst/>
            <a:gdLst>
              <a:gd name="connsiteX0" fmla="*/ 112395 w 116394"/>
              <a:gd name="connsiteY0" fmla="*/ 124778 h 124777"/>
              <a:gd name="connsiteX1" fmla="*/ 107633 w 116394"/>
              <a:gd name="connsiteY1" fmla="*/ 120015 h 124777"/>
              <a:gd name="connsiteX2" fmla="*/ 107633 w 116394"/>
              <a:gd name="connsiteY2" fmla="*/ 112395 h 124777"/>
              <a:gd name="connsiteX3" fmla="*/ 59055 w 116394"/>
              <a:gd name="connsiteY3" fmla="*/ 86678 h 124777"/>
              <a:gd name="connsiteX4" fmla="*/ 9525 w 116394"/>
              <a:gd name="connsiteY4" fmla="*/ 111443 h 124777"/>
              <a:gd name="connsiteX5" fmla="*/ 9525 w 116394"/>
              <a:gd name="connsiteY5" fmla="*/ 119063 h 124777"/>
              <a:gd name="connsiteX6" fmla="*/ 4763 w 116394"/>
              <a:gd name="connsiteY6" fmla="*/ 123825 h 124777"/>
              <a:gd name="connsiteX7" fmla="*/ 0 w 116394"/>
              <a:gd name="connsiteY7" fmla="*/ 119063 h 124777"/>
              <a:gd name="connsiteX8" fmla="*/ 0 w 116394"/>
              <a:gd name="connsiteY8" fmla="*/ 111443 h 124777"/>
              <a:gd name="connsiteX9" fmla="*/ 37147 w 116394"/>
              <a:gd name="connsiteY9" fmla="*/ 79058 h 124777"/>
              <a:gd name="connsiteX10" fmla="*/ 22860 w 116394"/>
              <a:gd name="connsiteY10" fmla="*/ 48578 h 124777"/>
              <a:gd name="connsiteX11" fmla="*/ 22860 w 116394"/>
              <a:gd name="connsiteY11" fmla="*/ 38100 h 124777"/>
              <a:gd name="connsiteX12" fmla="*/ 58102 w 116394"/>
              <a:gd name="connsiteY12" fmla="*/ 0 h 124777"/>
              <a:gd name="connsiteX13" fmla="*/ 93345 w 116394"/>
              <a:gd name="connsiteY13" fmla="*/ 38100 h 124777"/>
              <a:gd name="connsiteX14" fmla="*/ 93345 w 116394"/>
              <a:gd name="connsiteY14" fmla="*/ 48578 h 124777"/>
              <a:gd name="connsiteX15" fmla="*/ 79058 w 116394"/>
              <a:gd name="connsiteY15" fmla="*/ 79058 h 124777"/>
              <a:gd name="connsiteX16" fmla="*/ 116205 w 116394"/>
              <a:gd name="connsiteY16" fmla="*/ 111443 h 124777"/>
              <a:gd name="connsiteX17" fmla="*/ 116205 w 116394"/>
              <a:gd name="connsiteY17" fmla="*/ 119063 h 124777"/>
              <a:gd name="connsiteX18" fmla="*/ 112395 w 116394"/>
              <a:gd name="connsiteY18" fmla="*/ 124778 h 124777"/>
              <a:gd name="connsiteX19" fmla="*/ 58102 w 116394"/>
              <a:gd name="connsiteY19" fmla="*/ 9525 h 124777"/>
              <a:gd name="connsiteX20" fmla="*/ 32385 w 116394"/>
              <a:gd name="connsiteY20" fmla="*/ 38100 h 124777"/>
              <a:gd name="connsiteX21" fmla="*/ 32385 w 116394"/>
              <a:gd name="connsiteY21" fmla="*/ 48578 h 124777"/>
              <a:gd name="connsiteX22" fmla="*/ 58102 w 116394"/>
              <a:gd name="connsiteY22" fmla="*/ 76200 h 124777"/>
              <a:gd name="connsiteX23" fmla="*/ 83820 w 116394"/>
              <a:gd name="connsiteY23" fmla="*/ 48578 h 124777"/>
              <a:gd name="connsiteX24" fmla="*/ 83820 w 116394"/>
              <a:gd name="connsiteY24" fmla="*/ 38100 h 124777"/>
              <a:gd name="connsiteX25" fmla="*/ 58102 w 116394"/>
              <a:gd name="connsiteY25" fmla="*/ 9525 h 12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6394" h="124777">
                <a:moveTo>
                  <a:pt x="112395" y="124778"/>
                </a:moveTo>
                <a:cubicBezTo>
                  <a:pt x="109537" y="124778"/>
                  <a:pt x="107633" y="122873"/>
                  <a:pt x="107633" y="120015"/>
                </a:cubicBezTo>
                <a:lnTo>
                  <a:pt x="107633" y="112395"/>
                </a:lnTo>
                <a:cubicBezTo>
                  <a:pt x="107633" y="95250"/>
                  <a:pt x="76200" y="86678"/>
                  <a:pt x="59055" y="86678"/>
                </a:cubicBezTo>
                <a:cubicBezTo>
                  <a:pt x="41910" y="86678"/>
                  <a:pt x="9525" y="95250"/>
                  <a:pt x="9525" y="111443"/>
                </a:cubicBezTo>
                <a:lnTo>
                  <a:pt x="9525" y="119063"/>
                </a:lnTo>
                <a:cubicBezTo>
                  <a:pt x="9525" y="121920"/>
                  <a:pt x="7620" y="123825"/>
                  <a:pt x="4763" y="123825"/>
                </a:cubicBezTo>
                <a:cubicBezTo>
                  <a:pt x="1905" y="123825"/>
                  <a:pt x="0" y="121920"/>
                  <a:pt x="0" y="119063"/>
                </a:cubicBezTo>
                <a:lnTo>
                  <a:pt x="0" y="111443"/>
                </a:lnTo>
                <a:cubicBezTo>
                  <a:pt x="0" y="90488"/>
                  <a:pt x="26670" y="81915"/>
                  <a:pt x="37147" y="79058"/>
                </a:cubicBezTo>
                <a:cubicBezTo>
                  <a:pt x="27622" y="72390"/>
                  <a:pt x="22860" y="60960"/>
                  <a:pt x="22860" y="48578"/>
                </a:cubicBezTo>
                <a:lnTo>
                  <a:pt x="22860" y="38100"/>
                </a:lnTo>
                <a:cubicBezTo>
                  <a:pt x="22860" y="17145"/>
                  <a:pt x="38100" y="0"/>
                  <a:pt x="58102" y="0"/>
                </a:cubicBezTo>
                <a:cubicBezTo>
                  <a:pt x="78105" y="0"/>
                  <a:pt x="93345" y="16193"/>
                  <a:pt x="93345" y="38100"/>
                </a:cubicBezTo>
                <a:lnTo>
                  <a:pt x="93345" y="48578"/>
                </a:lnTo>
                <a:cubicBezTo>
                  <a:pt x="93345" y="60960"/>
                  <a:pt x="87630" y="72390"/>
                  <a:pt x="79058" y="79058"/>
                </a:cubicBezTo>
                <a:cubicBezTo>
                  <a:pt x="90488" y="81915"/>
                  <a:pt x="116205" y="90488"/>
                  <a:pt x="116205" y="111443"/>
                </a:cubicBezTo>
                <a:lnTo>
                  <a:pt x="116205" y="119063"/>
                </a:lnTo>
                <a:cubicBezTo>
                  <a:pt x="117158" y="121920"/>
                  <a:pt x="114300" y="124778"/>
                  <a:pt x="112395" y="124778"/>
                </a:cubicBezTo>
                <a:close/>
                <a:moveTo>
                  <a:pt x="58102" y="9525"/>
                </a:moveTo>
                <a:cubicBezTo>
                  <a:pt x="43815" y="9525"/>
                  <a:pt x="32385" y="21908"/>
                  <a:pt x="32385" y="38100"/>
                </a:cubicBezTo>
                <a:lnTo>
                  <a:pt x="32385" y="48578"/>
                </a:lnTo>
                <a:cubicBezTo>
                  <a:pt x="32385" y="63818"/>
                  <a:pt x="43815" y="76200"/>
                  <a:pt x="58102" y="76200"/>
                </a:cubicBezTo>
                <a:cubicBezTo>
                  <a:pt x="72390" y="76200"/>
                  <a:pt x="83820" y="63818"/>
                  <a:pt x="83820" y="48578"/>
                </a:cubicBezTo>
                <a:lnTo>
                  <a:pt x="83820" y="38100"/>
                </a:lnTo>
                <a:cubicBezTo>
                  <a:pt x="83820" y="21908"/>
                  <a:pt x="73343" y="9525"/>
                  <a:pt x="58102" y="9525"/>
                </a:cubicBezTo>
                <a:close/>
              </a:path>
            </a:pathLst>
          </a:custGeom>
          <a:solidFill>
            <a:schemeClr val="bg1"/>
          </a:solidFill>
          <a:ln w="9525" cap="flat">
            <a:noFill/>
            <a:prstDash val="solid"/>
            <a:miter/>
          </a:ln>
          <a:effectLst>
            <a:outerShdw blurRad="63500" sx="102000" sy="102000" algn="ctr"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217" name="TextBox 216">
            <a:extLst>
              <a:ext uri="{FF2B5EF4-FFF2-40B4-BE49-F238E27FC236}">
                <a16:creationId xmlns:a16="http://schemas.microsoft.com/office/drawing/2014/main" id="{2E01C0AA-F052-4FC8-885E-9976E4C8DF5D}"/>
              </a:ext>
            </a:extLst>
          </p:cNvPr>
          <p:cNvSpPr txBox="1"/>
          <p:nvPr/>
        </p:nvSpPr>
        <p:spPr>
          <a:xfrm>
            <a:off x="4885410" y="5712643"/>
            <a:ext cx="1905119" cy="397032"/>
          </a:xfrm>
          <a:prstGeom prst="rect">
            <a:avLst/>
          </a:prstGeom>
          <a:noFill/>
        </p:spPr>
        <p:txBody>
          <a:bodyPr wrap="square" rtlCol="0">
            <a:spAutoFit/>
          </a:bodyPr>
          <a:lstStyle/>
          <a:p>
            <a:pPr>
              <a:lnSpc>
                <a:spcPct val="90000"/>
              </a:lnSpc>
              <a:defRPr/>
            </a:pPr>
            <a:r>
              <a:rPr lang="ru-RU" sz="1100">
                <a:solidFill>
                  <a:srgbClr val="7D8696">
                    <a:lumMod val="75000"/>
                  </a:srgbClr>
                </a:solidFill>
                <a:latin typeface="Segoe UI Light"/>
              </a:rPr>
              <a:t>локальные изменения процессов и культуры</a:t>
            </a:r>
          </a:p>
        </p:txBody>
      </p:sp>
      <p:sp>
        <p:nvSpPr>
          <p:cNvPr id="230" name="Прямоугольник: скругленные углы 229">
            <a:extLst>
              <a:ext uri="{FF2B5EF4-FFF2-40B4-BE49-F238E27FC236}">
                <a16:creationId xmlns:a16="http://schemas.microsoft.com/office/drawing/2014/main" id="{D14404D5-B23A-4D3B-8973-696CC52F3705}"/>
              </a:ext>
            </a:extLst>
          </p:cNvPr>
          <p:cNvSpPr/>
          <p:nvPr/>
        </p:nvSpPr>
        <p:spPr>
          <a:xfrm>
            <a:off x="6100819" y="3432781"/>
            <a:ext cx="479179" cy="1122629"/>
          </a:xfrm>
          <a:prstGeom prst="roundRect">
            <a:avLst>
              <a:gd name="adj" fmla="val 0"/>
            </a:avLst>
          </a:prstGeom>
          <a:solidFill>
            <a:schemeClr val="accent1">
              <a:lumMod val="40000"/>
              <a:lumOff val="60000"/>
              <a:alpha val="2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3" name="Прямоугольник: скругленные углы 232">
            <a:extLst>
              <a:ext uri="{FF2B5EF4-FFF2-40B4-BE49-F238E27FC236}">
                <a16:creationId xmlns:a16="http://schemas.microsoft.com/office/drawing/2014/main" id="{76AFBC6B-465D-4580-A00B-45A19C770E2D}"/>
              </a:ext>
            </a:extLst>
          </p:cNvPr>
          <p:cNvSpPr/>
          <p:nvPr/>
        </p:nvSpPr>
        <p:spPr>
          <a:xfrm>
            <a:off x="5532547" y="3432780"/>
            <a:ext cx="479179" cy="1984561"/>
          </a:xfrm>
          <a:prstGeom prst="roundRect">
            <a:avLst>
              <a:gd name="adj" fmla="val 0"/>
            </a:avLst>
          </a:prstGeom>
          <a:solidFill>
            <a:schemeClr val="accent6">
              <a:lumMod val="40000"/>
              <a:lumOff val="60000"/>
              <a:alpha val="2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a:ln>
                <a:noFill/>
              </a:ln>
              <a:solidFill>
                <a:srgbClr val="FFFFFF"/>
              </a:solidFill>
              <a:effectLst/>
              <a:uLnTx/>
              <a:uFillTx/>
              <a:latin typeface="Segoe UI Light"/>
              <a:ea typeface="+mn-ea"/>
              <a:cs typeface="+mn-cs"/>
            </a:endParaRPr>
          </a:p>
        </p:txBody>
      </p:sp>
      <p:grpSp>
        <p:nvGrpSpPr>
          <p:cNvPr id="215" name="Группа 214">
            <a:extLst>
              <a:ext uri="{FF2B5EF4-FFF2-40B4-BE49-F238E27FC236}">
                <a16:creationId xmlns:a16="http://schemas.microsoft.com/office/drawing/2014/main" id="{9D982B5C-70EA-42AB-A484-8ED13CDD0397}"/>
              </a:ext>
            </a:extLst>
          </p:cNvPr>
          <p:cNvGrpSpPr/>
          <p:nvPr/>
        </p:nvGrpSpPr>
        <p:grpSpPr>
          <a:xfrm rot="10800000">
            <a:off x="6604085" y="5143758"/>
            <a:ext cx="560529" cy="408546"/>
            <a:chOff x="5845611" y="5170539"/>
            <a:chExt cx="592500" cy="431847"/>
          </a:xfrm>
        </p:grpSpPr>
        <p:cxnSp>
          <p:nvCxnSpPr>
            <p:cNvPr id="218" name="Прямая соединительная линия 217">
              <a:extLst>
                <a:ext uri="{FF2B5EF4-FFF2-40B4-BE49-F238E27FC236}">
                  <a16:creationId xmlns:a16="http://schemas.microsoft.com/office/drawing/2014/main" id="{C8B045F4-FB31-4FCD-A0E0-DB3570F98757}"/>
                </a:ext>
              </a:extLst>
            </p:cNvPr>
            <p:cNvCxnSpPr>
              <a:cxnSpLocks/>
            </p:cNvCxnSpPr>
            <p:nvPr/>
          </p:nvCxnSpPr>
          <p:spPr>
            <a:xfrm flipV="1">
              <a:off x="5983550" y="5295082"/>
              <a:ext cx="165234" cy="122173"/>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219" name="Прямая соединительная линия 218">
              <a:extLst>
                <a:ext uri="{FF2B5EF4-FFF2-40B4-BE49-F238E27FC236}">
                  <a16:creationId xmlns:a16="http://schemas.microsoft.com/office/drawing/2014/main" id="{1AD89185-3069-4728-A341-91967319BB0B}"/>
                </a:ext>
              </a:extLst>
            </p:cNvPr>
            <p:cNvCxnSpPr>
              <a:cxnSpLocks/>
              <a:endCxn id="573" idx="5"/>
            </p:cNvCxnSpPr>
            <p:nvPr/>
          </p:nvCxnSpPr>
          <p:spPr>
            <a:xfrm rot="10800000" flipH="1" flipV="1">
              <a:off x="6007214" y="5474388"/>
              <a:ext cx="421716" cy="127998"/>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229" name="Прямая соединительная линия 228">
              <a:extLst>
                <a:ext uri="{FF2B5EF4-FFF2-40B4-BE49-F238E27FC236}">
                  <a16:creationId xmlns:a16="http://schemas.microsoft.com/office/drawing/2014/main" id="{CFA6A94A-CCA5-4046-B052-4433F3A3F526}"/>
                </a:ext>
              </a:extLst>
            </p:cNvPr>
            <p:cNvCxnSpPr>
              <a:cxnSpLocks/>
            </p:cNvCxnSpPr>
            <p:nvPr/>
          </p:nvCxnSpPr>
          <p:spPr>
            <a:xfrm rot="10800000" flipH="1" flipV="1">
              <a:off x="6249658" y="5308477"/>
              <a:ext cx="188453" cy="282929"/>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234" name="Группа 233">
              <a:extLst>
                <a:ext uri="{FF2B5EF4-FFF2-40B4-BE49-F238E27FC236}">
                  <a16:creationId xmlns:a16="http://schemas.microsoft.com/office/drawing/2014/main" id="{016DCF8A-8C5E-469A-A518-2F4E57709ABB}"/>
                </a:ext>
              </a:extLst>
            </p:cNvPr>
            <p:cNvGrpSpPr/>
            <p:nvPr/>
          </p:nvGrpSpPr>
          <p:grpSpPr>
            <a:xfrm>
              <a:off x="5845611" y="5393588"/>
              <a:ext cx="161606" cy="161606"/>
              <a:chOff x="5928871" y="2336889"/>
              <a:chExt cx="384042" cy="384042"/>
            </a:xfrm>
          </p:grpSpPr>
          <p:sp>
            <p:nvSpPr>
              <p:cNvPr id="241" name="Овал 240">
                <a:extLst>
                  <a:ext uri="{FF2B5EF4-FFF2-40B4-BE49-F238E27FC236}">
                    <a16:creationId xmlns:a16="http://schemas.microsoft.com/office/drawing/2014/main" id="{7E6037F2-6173-4F56-8F37-85131EE94A05}"/>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2" name="Овал 241">
                <a:extLst>
                  <a:ext uri="{FF2B5EF4-FFF2-40B4-BE49-F238E27FC236}">
                    <a16:creationId xmlns:a16="http://schemas.microsoft.com/office/drawing/2014/main" id="{F48348B0-C016-4CC1-BDCA-F31F5D2D64EB}"/>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nvGrpSpPr>
            <p:cNvPr id="235" name="Группа 234">
              <a:extLst>
                <a:ext uri="{FF2B5EF4-FFF2-40B4-BE49-F238E27FC236}">
                  <a16:creationId xmlns:a16="http://schemas.microsoft.com/office/drawing/2014/main" id="{FA9B59C0-3E1F-457D-89A3-5EA748513A60}"/>
                </a:ext>
              </a:extLst>
            </p:cNvPr>
            <p:cNvGrpSpPr/>
            <p:nvPr/>
          </p:nvGrpSpPr>
          <p:grpSpPr>
            <a:xfrm>
              <a:off x="6111720" y="5170539"/>
              <a:ext cx="161606" cy="161606"/>
              <a:chOff x="5928871" y="2336889"/>
              <a:chExt cx="384042" cy="384042"/>
            </a:xfrm>
          </p:grpSpPr>
          <p:sp>
            <p:nvSpPr>
              <p:cNvPr id="239" name="Овал 238">
                <a:extLst>
                  <a:ext uri="{FF2B5EF4-FFF2-40B4-BE49-F238E27FC236}">
                    <a16:creationId xmlns:a16="http://schemas.microsoft.com/office/drawing/2014/main" id="{5A2F6399-7C33-4A23-AFFF-A0CB29294155}"/>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0" name="Овал 239">
                <a:extLst>
                  <a:ext uri="{FF2B5EF4-FFF2-40B4-BE49-F238E27FC236}">
                    <a16:creationId xmlns:a16="http://schemas.microsoft.com/office/drawing/2014/main" id="{1091D49A-BD0E-4FAE-802D-5CC67AB671A1}"/>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grpSp>
      <p:grpSp>
        <p:nvGrpSpPr>
          <p:cNvPr id="243" name="Группа 242">
            <a:extLst>
              <a:ext uri="{FF2B5EF4-FFF2-40B4-BE49-F238E27FC236}">
                <a16:creationId xmlns:a16="http://schemas.microsoft.com/office/drawing/2014/main" id="{E2AA2202-76FC-48F7-A7D1-D41772700E5A}"/>
              </a:ext>
            </a:extLst>
          </p:cNvPr>
          <p:cNvGrpSpPr/>
          <p:nvPr/>
        </p:nvGrpSpPr>
        <p:grpSpPr>
          <a:xfrm>
            <a:off x="6798319" y="4896394"/>
            <a:ext cx="161606" cy="161606"/>
            <a:chOff x="5928871" y="2336889"/>
            <a:chExt cx="384042" cy="384042"/>
          </a:xfrm>
        </p:grpSpPr>
        <p:sp>
          <p:nvSpPr>
            <p:cNvPr id="244" name="Овал 243">
              <a:extLst>
                <a:ext uri="{FF2B5EF4-FFF2-40B4-BE49-F238E27FC236}">
                  <a16:creationId xmlns:a16="http://schemas.microsoft.com/office/drawing/2014/main" id="{A44CF844-3431-4C77-BCF4-35F5D378E7A9}"/>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45" name="Овал 244">
              <a:extLst>
                <a:ext uri="{FF2B5EF4-FFF2-40B4-BE49-F238E27FC236}">
                  <a16:creationId xmlns:a16="http://schemas.microsoft.com/office/drawing/2014/main" id="{E79C975B-756F-4B52-9DF4-5B412D539A9F}"/>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cxnSp>
        <p:nvCxnSpPr>
          <p:cNvPr id="246" name="Прямая соединительная линия 245">
            <a:extLst>
              <a:ext uri="{FF2B5EF4-FFF2-40B4-BE49-F238E27FC236}">
                <a16:creationId xmlns:a16="http://schemas.microsoft.com/office/drawing/2014/main" id="{979F0C02-8F20-423C-B6DD-B8ECB37A039E}"/>
              </a:ext>
            </a:extLst>
          </p:cNvPr>
          <p:cNvCxnSpPr>
            <a:cxnSpLocks/>
          </p:cNvCxnSpPr>
          <p:nvPr/>
        </p:nvCxnSpPr>
        <p:spPr>
          <a:xfrm flipH="1">
            <a:off x="6628855" y="5003781"/>
            <a:ext cx="171339" cy="55144"/>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247" name="Прямая соединительная линия 246">
            <a:extLst>
              <a:ext uri="{FF2B5EF4-FFF2-40B4-BE49-F238E27FC236}">
                <a16:creationId xmlns:a16="http://schemas.microsoft.com/office/drawing/2014/main" id="{E1704392-268E-4366-926C-A9EEA1952628}"/>
              </a:ext>
            </a:extLst>
          </p:cNvPr>
          <p:cNvCxnSpPr>
            <a:cxnSpLocks/>
          </p:cNvCxnSpPr>
          <p:nvPr/>
        </p:nvCxnSpPr>
        <p:spPr>
          <a:xfrm flipH="1" flipV="1">
            <a:off x="6938010" y="5048607"/>
            <a:ext cx="102833" cy="143567"/>
          </a:xfrm>
          <a:prstGeom prst="line">
            <a:avLst/>
          </a:prstGeom>
          <a:ln>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530" name="Группа 529">
            <a:extLst>
              <a:ext uri="{FF2B5EF4-FFF2-40B4-BE49-F238E27FC236}">
                <a16:creationId xmlns:a16="http://schemas.microsoft.com/office/drawing/2014/main" id="{A5CCAD36-EC36-4A0E-B329-EC672F519919}"/>
              </a:ext>
            </a:extLst>
          </p:cNvPr>
          <p:cNvGrpSpPr/>
          <p:nvPr/>
        </p:nvGrpSpPr>
        <p:grpSpPr>
          <a:xfrm>
            <a:off x="5007339" y="4541372"/>
            <a:ext cx="161606" cy="161606"/>
            <a:chOff x="5928871" y="2336889"/>
            <a:chExt cx="384042" cy="384042"/>
          </a:xfrm>
        </p:grpSpPr>
        <p:sp>
          <p:nvSpPr>
            <p:cNvPr id="531" name="Овал 530">
              <a:extLst>
                <a:ext uri="{FF2B5EF4-FFF2-40B4-BE49-F238E27FC236}">
                  <a16:creationId xmlns:a16="http://schemas.microsoft.com/office/drawing/2014/main" id="{99F77417-4679-4148-B665-F0D76CFD9BDC}"/>
                </a:ext>
              </a:extLst>
            </p:cNvPr>
            <p:cNvSpPr/>
            <p:nvPr/>
          </p:nvSpPr>
          <p:spPr>
            <a:xfrm>
              <a:off x="5928871" y="2336889"/>
              <a:ext cx="384042" cy="38404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32" name="Овал 531">
              <a:extLst>
                <a:ext uri="{FF2B5EF4-FFF2-40B4-BE49-F238E27FC236}">
                  <a16:creationId xmlns:a16="http://schemas.microsoft.com/office/drawing/2014/main" id="{D83F1CC8-6DAE-44EE-B7BE-4CCF1576BDDB}"/>
                </a:ext>
              </a:extLst>
            </p:cNvPr>
            <p:cNvSpPr/>
            <p:nvPr/>
          </p:nvSpPr>
          <p:spPr>
            <a:xfrm>
              <a:off x="5973896" y="2381914"/>
              <a:ext cx="293993" cy="293993"/>
            </a:xfrm>
            <a:prstGeom prst="ellipse">
              <a:avLst/>
            </a:prstGeom>
            <a:gradFill flip="none" rotWithShape="1">
              <a:gsLst>
                <a:gs pos="0">
                  <a:schemeClr val="accent3">
                    <a:lumMod val="60000"/>
                    <a:lumOff val="40000"/>
                  </a:schemeClr>
                </a:gs>
                <a:gs pos="100000">
                  <a:schemeClr val="accent3"/>
                </a:gs>
              </a:gsLst>
              <a:lin ang="13500000" scaled="1"/>
              <a:tileRect/>
            </a:gradFill>
            <a:ln w="6350">
              <a:noFill/>
              <a:miter lim="800000"/>
              <a:headEnd/>
              <a:tailEnd/>
            </a:ln>
            <a:effectLst/>
          </p:spPr>
          <p:txBody>
            <a:bodyPr vert="horz" wrap="square" lIns="576000" tIns="0" rIns="0" bIns="0" numCol="1" rtlCol="0" anchor="ctr" anchorCtr="0" compatLnSpc="1">
              <a:prstTxWarp prst="textNoShape">
                <a:avLst/>
              </a:prstTxWarp>
              <a:noAutofit/>
            </a:bodyPr>
            <a:lstStyle/>
            <a:p>
              <a:pPr marL="0" marR="0" lvl="0" indent="-542925" algn="l" defTabSz="895350" rtl="0" eaLnBrk="1" fontAlgn="auto" latinLnBrk="0" hangingPunct="1">
                <a:lnSpc>
                  <a:spcPct val="90000"/>
                </a:lnSpc>
                <a:spcBef>
                  <a:spcPts val="0"/>
                </a:spcBef>
                <a:spcAft>
                  <a:spcPts val="0"/>
                </a:spcAft>
                <a:buClr>
                  <a:srgbClr val="3A5BA7"/>
                </a:buClr>
                <a:buSzTx/>
                <a:buFontTx/>
                <a:buNone/>
                <a:tabLst/>
                <a:defRPr/>
              </a:pPr>
              <a:endParaRPr kumimoji="0" lang="ru-RU" sz="14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endParaRPr>
            </a:p>
          </p:txBody>
        </p:sp>
      </p:grpSp>
      <p:sp>
        <p:nvSpPr>
          <p:cNvPr id="238" name="Прямоугольник: скругленные углы 237">
            <a:extLst>
              <a:ext uri="{FF2B5EF4-FFF2-40B4-BE49-F238E27FC236}">
                <a16:creationId xmlns:a16="http://schemas.microsoft.com/office/drawing/2014/main" id="{02829A46-5F3D-4EE2-AEF8-FA750216DFAA}"/>
              </a:ext>
            </a:extLst>
          </p:cNvPr>
          <p:cNvSpPr/>
          <p:nvPr/>
        </p:nvSpPr>
        <p:spPr>
          <a:xfrm>
            <a:off x="4964276" y="3432780"/>
            <a:ext cx="479179" cy="1984561"/>
          </a:xfrm>
          <a:prstGeom prst="roundRect">
            <a:avLst>
              <a:gd name="adj" fmla="val 0"/>
            </a:avLst>
          </a:prstGeom>
          <a:solidFill>
            <a:schemeClr val="accent6">
              <a:lumMod val="40000"/>
              <a:lumOff val="60000"/>
              <a:alpha val="20000"/>
            </a:schemeClr>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0" i="0" u="none" strike="noStrike" kern="1200" cap="none" spc="0" normalizeH="0" baseline="0" noProof="0">
              <a:ln>
                <a:noFill/>
              </a:ln>
              <a:solidFill>
                <a:srgbClr val="FFFFFF"/>
              </a:solidFill>
              <a:effectLst/>
              <a:uLnTx/>
              <a:uFillTx/>
              <a:latin typeface="Segoe UI Light"/>
              <a:ea typeface="+mn-ea"/>
              <a:cs typeface="+mn-cs"/>
            </a:endParaRPr>
          </a:p>
        </p:txBody>
      </p:sp>
      <p:sp>
        <p:nvSpPr>
          <p:cNvPr id="232" name="Дуга 231">
            <a:extLst>
              <a:ext uri="{FF2B5EF4-FFF2-40B4-BE49-F238E27FC236}">
                <a16:creationId xmlns:a16="http://schemas.microsoft.com/office/drawing/2014/main" id="{C6F7D40C-B353-4300-B8B3-7C67F919A5E2}"/>
              </a:ext>
            </a:extLst>
          </p:cNvPr>
          <p:cNvSpPr/>
          <p:nvPr/>
        </p:nvSpPr>
        <p:spPr>
          <a:xfrm flipH="1">
            <a:off x="3567610" y="5217809"/>
            <a:ext cx="5437821" cy="478336"/>
          </a:xfrm>
          <a:prstGeom prst="arc">
            <a:avLst>
              <a:gd name="adj1" fmla="val 12765740"/>
              <a:gd name="adj2" fmla="val 10208490"/>
            </a:avLst>
          </a:prstGeom>
          <a:ln w="136525" cap="sq">
            <a:gradFill flip="none" rotWithShape="1">
              <a:gsLst>
                <a:gs pos="25000">
                  <a:schemeClr val="accent3">
                    <a:lumMod val="20000"/>
                    <a:lumOff val="80000"/>
                    <a:alpha val="0"/>
                  </a:schemeClr>
                </a:gs>
                <a:gs pos="73000">
                  <a:schemeClr val="accent3">
                    <a:alpha val="50000"/>
                  </a:schemeClr>
                </a:gs>
                <a:gs pos="100000">
                  <a:schemeClr val="accent3">
                    <a:lumMod val="60000"/>
                    <a:lumOff val="40000"/>
                    <a:alpha val="0"/>
                  </a:schemeClr>
                </a:gs>
              </a:gsLst>
              <a:lin ang="0" scaled="1"/>
              <a:tileRect/>
            </a:gra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236" name="Дуга 235">
            <a:extLst>
              <a:ext uri="{FF2B5EF4-FFF2-40B4-BE49-F238E27FC236}">
                <a16:creationId xmlns:a16="http://schemas.microsoft.com/office/drawing/2014/main" id="{FE866649-E093-4C67-8A94-012B2F675DDF}"/>
              </a:ext>
            </a:extLst>
          </p:cNvPr>
          <p:cNvSpPr/>
          <p:nvPr/>
        </p:nvSpPr>
        <p:spPr>
          <a:xfrm flipH="1">
            <a:off x="3445151" y="3764729"/>
            <a:ext cx="5386032" cy="478336"/>
          </a:xfrm>
          <a:prstGeom prst="arc">
            <a:avLst>
              <a:gd name="adj1" fmla="val 12765740"/>
              <a:gd name="adj2" fmla="val 10376550"/>
            </a:avLst>
          </a:prstGeom>
          <a:ln w="9525">
            <a:gradFill flip="none" rotWithShape="1">
              <a:gsLst>
                <a:gs pos="0">
                  <a:schemeClr val="accent3"/>
                </a:gs>
                <a:gs pos="100000">
                  <a:schemeClr val="accent3">
                    <a:lumMod val="40000"/>
                    <a:lumOff val="60000"/>
                    <a:alpha val="0"/>
                  </a:schemeClr>
                </a:gs>
                <a:gs pos="84000">
                  <a:schemeClr val="accent3">
                    <a:lumMod val="40000"/>
                    <a:lumOff val="60000"/>
                  </a:schemeClr>
                </a:gs>
              </a:gsLst>
              <a:lin ang="16200000" scaled="1"/>
              <a:tileRect/>
            </a:gradFill>
            <a:prstDash val="solid"/>
            <a:headEnd w="sm" len="sm"/>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D424C"/>
              </a:solidFill>
              <a:effectLst/>
              <a:uLnTx/>
              <a:uFillTx/>
              <a:latin typeface="Segoe UI Light"/>
              <a:ea typeface="+mn-ea"/>
              <a:cs typeface="+mn-cs"/>
            </a:endParaRPr>
          </a:p>
        </p:txBody>
      </p:sp>
      <p:sp>
        <p:nvSpPr>
          <p:cNvPr id="249" name="TextBox 248">
            <a:extLst>
              <a:ext uri="{FF2B5EF4-FFF2-40B4-BE49-F238E27FC236}">
                <a16:creationId xmlns:a16="http://schemas.microsoft.com/office/drawing/2014/main" id="{F52AE0A2-72C2-4802-B436-BF4EF3B50E49}"/>
              </a:ext>
            </a:extLst>
          </p:cNvPr>
          <p:cNvSpPr txBox="1"/>
          <p:nvPr/>
        </p:nvSpPr>
        <p:spPr>
          <a:xfrm>
            <a:off x="3308419" y="4042554"/>
            <a:ext cx="4233504" cy="453130"/>
          </a:xfrm>
          <a:prstGeom prst="rect">
            <a:avLst/>
          </a:prstGeom>
          <a:noFill/>
        </p:spPr>
        <p:txBody>
          <a:bodyPr wrap="square" rtlCol="0">
            <a:prstTxWarp prst="textArchDown">
              <a:avLst/>
            </a:prstTxWarp>
            <a:spAutoFit/>
          </a:bodyPr>
          <a:lstStyle/>
          <a:p>
            <a:pPr marL="0" marR="0" lvl="0" indent="0" algn="l" defTabSz="914400" rtl="0" eaLnBrk="1" fontAlgn="auto" latinLnBrk="0" hangingPunct="1">
              <a:spcBef>
                <a:spcPts val="0"/>
              </a:spcBef>
              <a:spcAft>
                <a:spcPts val="400"/>
              </a:spcAft>
              <a:buClrTx/>
              <a:buSzTx/>
              <a:buFontTx/>
              <a:buNone/>
              <a:tabLst/>
              <a:defRPr/>
            </a:pPr>
            <a:r>
              <a:rPr kumimoji="0" lang="ru-RU" sz="800" b="0" i="0" u="none" strike="noStrike" kern="0" cap="none" normalizeH="0" noProof="0">
                <a:ln>
                  <a:noFill/>
                </a:ln>
                <a:solidFill>
                  <a:srgbClr val="56B78D"/>
                </a:solidFill>
                <a:effectLst/>
                <a:uLnTx/>
                <a:uFillTx/>
                <a:latin typeface="Segoe UI Semibold"/>
                <a:ea typeface="+mn-ea"/>
                <a:cs typeface="+mn-cs"/>
              </a:rPr>
              <a:t>     ПРОГРАММЫ ТР</a:t>
            </a:r>
            <a:r>
              <a:rPr kumimoji="0" lang="ru-RU" sz="800" b="0" i="0" u="none" strike="noStrike" kern="0" cap="none" normalizeH="0" noProof="0">
                <a:ln>
                  <a:noFill/>
                </a:ln>
                <a:solidFill>
                  <a:srgbClr val="56B78D"/>
                </a:solidFill>
                <a:effectLst/>
                <a:highlight>
                  <a:srgbClr val="D9EFE6"/>
                </a:highlight>
                <a:uLnTx/>
                <a:uFillTx/>
                <a:latin typeface="Segoe UI Semibold"/>
                <a:ea typeface="+mn-ea"/>
                <a:cs typeface="+mn-cs"/>
              </a:rPr>
              <a:t>АН</a:t>
            </a:r>
            <a:r>
              <a:rPr kumimoji="0" lang="ru-RU" sz="800" b="0" i="0" u="none" strike="noStrike" kern="0" cap="none" normalizeH="0" noProof="0">
                <a:ln>
                  <a:noFill/>
                </a:ln>
                <a:solidFill>
                  <a:srgbClr val="56B78D"/>
                </a:solidFill>
                <a:effectLst/>
                <a:uLnTx/>
                <a:uFillTx/>
                <a:latin typeface="Segoe UI Semibold"/>
                <a:ea typeface="+mn-ea"/>
                <a:cs typeface="+mn-cs"/>
              </a:rPr>
              <a:t>СФОРМ</a:t>
            </a:r>
            <a:r>
              <a:rPr kumimoji="0" lang="ru-RU" sz="800" b="0" i="0" u="none" strike="noStrike" kern="0" cap="none" normalizeH="0" noProof="0">
                <a:ln>
                  <a:noFill/>
                </a:ln>
                <a:solidFill>
                  <a:srgbClr val="56B78D"/>
                </a:solidFill>
                <a:effectLst/>
                <a:highlight>
                  <a:srgbClr val="D9EFE6"/>
                </a:highlight>
                <a:uLnTx/>
                <a:uFillTx/>
                <a:latin typeface="Segoe UI Semibold"/>
                <a:ea typeface="+mn-ea"/>
                <a:cs typeface="+mn-cs"/>
              </a:rPr>
              <a:t>А</a:t>
            </a:r>
            <a:r>
              <a:rPr kumimoji="0" lang="ru-RU" sz="800" b="0" i="0" u="none" strike="noStrike" kern="0" cap="none" normalizeH="0" noProof="0">
                <a:ln>
                  <a:noFill/>
                </a:ln>
                <a:solidFill>
                  <a:srgbClr val="56B78D"/>
                </a:solidFill>
                <a:effectLst/>
                <a:uLnTx/>
                <a:uFillTx/>
                <a:latin typeface="Segoe UI Semibold"/>
                <a:ea typeface="+mn-ea"/>
                <a:cs typeface="+mn-cs"/>
              </a:rPr>
              <a:t>ЦИИ</a:t>
            </a:r>
            <a:endParaRPr kumimoji="0" lang="ru-RU" sz="800" b="0" i="0" u="none" strike="noStrike" kern="1200" cap="none" normalizeH="0" noProof="0">
              <a:ln>
                <a:noFill/>
              </a:ln>
              <a:solidFill>
                <a:srgbClr val="7D8696">
                  <a:lumMod val="75000"/>
                </a:srgbClr>
              </a:solidFill>
              <a:effectLst/>
              <a:uLnTx/>
              <a:uFillTx/>
              <a:latin typeface="Segoe UI Light"/>
              <a:ea typeface="+mn-ea"/>
              <a:cs typeface="+mn-cs"/>
            </a:endParaRPr>
          </a:p>
        </p:txBody>
      </p:sp>
      <p:sp>
        <p:nvSpPr>
          <p:cNvPr id="250" name="TextBox 249">
            <a:extLst>
              <a:ext uri="{FF2B5EF4-FFF2-40B4-BE49-F238E27FC236}">
                <a16:creationId xmlns:a16="http://schemas.microsoft.com/office/drawing/2014/main" id="{F19B0964-4F7A-4DA7-AC01-65CD2CB80ADA}"/>
              </a:ext>
            </a:extLst>
          </p:cNvPr>
          <p:cNvSpPr txBox="1"/>
          <p:nvPr/>
        </p:nvSpPr>
        <p:spPr>
          <a:xfrm>
            <a:off x="3340436" y="4183670"/>
            <a:ext cx="4233504" cy="453130"/>
          </a:xfrm>
          <a:prstGeom prst="rect">
            <a:avLst/>
          </a:prstGeom>
          <a:noFill/>
        </p:spPr>
        <p:txBody>
          <a:bodyPr wrap="square" rtlCol="0">
            <a:prstTxWarp prst="textArchDown">
              <a:avLst/>
            </a:prstTxWarp>
            <a:spAutoFit/>
          </a:bodyPr>
          <a:lstStyle/>
          <a:p>
            <a:pPr marL="0" marR="0" lvl="0" indent="0" algn="l" defTabSz="914400" rtl="0" eaLnBrk="1" fontAlgn="auto" latinLnBrk="0" hangingPunct="1">
              <a:spcBef>
                <a:spcPts val="0"/>
              </a:spcBef>
              <a:spcAft>
                <a:spcPts val="400"/>
              </a:spcAft>
              <a:buClrTx/>
              <a:buSzTx/>
              <a:buFontTx/>
              <a:buNone/>
              <a:tabLst/>
              <a:defRPr/>
            </a:pPr>
            <a:r>
              <a:rPr kumimoji="0" lang="ru-RU" sz="800" b="0" i="0" u="none" strike="noStrike" kern="0" cap="none" normalizeH="0" noProof="0">
                <a:ln>
                  <a:noFill/>
                </a:ln>
                <a:solidFill>
                  <a:srgbClr val="56B78D"/>
                </a:solidFill>
                <a:effectLst/>
                <a:uLnTx/>
                <a:uFillTx/>
                <a:latin typeface="Segoe UI Semibold"/>
                <a:ea typeface="+mn-ea"/>
                <a:cs typeface="+mn-cs"/>
              </a:rPr>
              <a:t>    КОМПЕТЕНЦИЙ</a:t>
            </a:r>
            <a:endParaRPr kumimoji="0" lang="ru-RU" sz="800" b="0" i="0" u="none" strike="noStrike" kern="1200" cap="none" normalizeH="0" noProof="0">
              <a:ln>
                <a:noFill/>
              </a:ln>
              <a:solidFill>
                <a:srgbClr val="7D8696">
                  <a:lumMod val="75000"/>
                </a:srgbClr>
              </a:solidFill>
              <a:effectLst/>
              <a:uLnTx/>
              <a:uFillTx/>
              <a:latin typeface="Segoe UI Light"/>
              <a:ea typeface="+mn-ea"/>
              <a:cs typeface="+mn-cs"/>
            </a:endParaRPr>
          </a:p>
        </p:txBody>
      </p:sp>
      <p:sp>
        <p:nvSpPr>
          <p:cNvPr id="311" name="TextBox 310">
            <a:extLst>
              <a:ext uri="{FF2B5EF4-FFF2-40B4-BE49-F238E27FC236}">
                <a16:creationId xmlns:a16="http://schemas.microsoft.com/office/drawing/2014/main" id="{A45B567D-8D56-4D70-9F23-ECDB757CDBBF}"/>
              </a:ext>
            </a:extLst>
          </p:cNvPr>
          <p:cNvSpPr txBox="1"/>
          <p:nvPr/>
        </p:nvSpPr>
        <p:spPr>
          <a:xfrm>
            <a:off x="6938010" y="1740653"/>
            <a:ext cx="1323469"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a:ln>
                  <a:noFill/>
                </a:ln>
                <a:solidFill>
                  <a:srgbClr val="3A5BA7"/>
                </a:solidFill>
                <a:effectLst/>
                <a:uLnTx/>
                <a:uFillTx/>
                <a:latin typeface="Segoe UI Semibold"/>
                <a:ea typeface="+mn-ea"/>
                <a:cs typeface="+mn-cs"/>
              </a:rPr>
              <a:t>КОМАНДА ПЕРВЫХ</a:t>
            </a:r>
          </a:p>
        </p:txBody>
      </p:sp>
    </p:spTree>
    <p:extLst>
      <p:ext uri="{BB962C8B-B14F-4D97-AF65-F5344CB8AC3E}">
        <p14:creationId xmlns:p14="http://schemas.microsoft.com/office/powerpoint/2010/main" val="2160129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2">
            <a:extLst>
              <a:ext uri="{FF2B5EF4-FFF2-40B4-BE49-F238E27FC236}">
                <a16:creationId xmlns:a16="http://schemas.microsoft.com/office/drawing/2014/main" id="{60ADE66C-4532-44DA-9822-E736511680FF}"/>
              </a:ext>
            </a:extLst>
          </p:cNvPr>
          <p:cNvSpPr txBox="1">
            <a:spLocks/>
          </p:cNvSpPr>
          <p:nvPr/>
        </p:nvSpPr>
        <p:spPr>
          <a:xfrm>
            <a:off x="814500" y="364159"/>
            <a:ext cx="10616905" cy="522053"/>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marR="5277">
              <a:spcBef>
                <a:spcPts val="104"/>
              </a:spcBef>
            </a:pPr>
            <a:r>
              <a:rPr lang="ru-RU" sz="1653" kern="0" spc="5">
                <a:latin typeface="Roboto" panose="02000000000000000000" pitchFamily="2" charset="0"/>
                <a:ea typeface="Roboto" panose="02000000000000000000" pitchFamily="2" charset="0"/>
                <a:cs typeface="Roboto" panose="02000000000000000000" pitchFamily="2" charset="0"/>
              </a:rPr>
              <a:t>КЛЮЧЕВЫЕ </a:t>
            </a:r>
            <a:r>
              <a:rPr lang="ru-RU" sz="1653" kern="0" spc="-25">
                <a:latin typeface="Roboto" panose="02000000000000000000" pitchFamily="2" charset="0"/>
                <a:ea typeface="Roboto" panose="02000000000000000000" pitchFamily="2" charset="0"/>
                <a:cs typeface="Roboto" panose="02000000000000000000" pitchFamily="2" charset="0"/>
              </a:rPr>
              <a:t>РЕШЕНИЯ BITOBE </a:t>
            </a:r>
            <a:r>
              <a:rPr lang="ru-RU" sz="1653" kern="0" spc="-41">
                <a:latin typeface="Roboto" panose="02000000000000000000" pitchFamily="2" charset="0"/>
                <a:ea typeface="Roboto" panose="02000000000000000000" pitchFamily="2" charset="0"/>
                <a:cs typeface="Roboto" panose="02000000000000000000" pitchFamily="2" charset="0"/>
              </a:rPr>
              <a:t>ПО </a:t>
            </a:r>
            <a:r>
              <a:rPr lang="ru-RU" sz="1653" kern="0" spc="5">
                <a:latin typeface="Roboto" panose="02000000000000000000" pitchFamily="2" charset="0"/>
                <a:ea typeface="Roboto" panose="02000000000000000000" pitchFamily="2" charset="0"/>
                <a:cs typeface="Roboto" panose="02000000000000000000" pitchFamily="2" charset="0"/>
              </a:rPr>
              <a:t>ЦЕЛОСТНОМУ </a:t>
            </a:r>
            <a:br>
              <a:rPr lang="ru-RU" sz="1653" kern="0" spc="5">
                <a:latin typeface="Roboto" panose="02000000000000000000" pitchFamily="2" charset="0"/>
                <a:ea typeface="Roboto" panose="02000000000000000000" pitchFamily="2" charset="0"/>
                <a:cs typeface="Roboto" panose="02000000000000000000" pitchFamily="2" charset="0"/>
              </a:rPr>
            </a:br>
            <a:r>
              <a:rPr lang="ru-RU" sz="1653" kern="0" spc="5">
                <a:latin typeface="Roboto" panose="02000000000000000000" pitchFamily="2" charset="0"/>
                <a:ea typeface="Roboto" panose="02000000000000000000" pitchFamily="2" charset="0"/>
                <a:cs typeface="Roboto" panose="02000000000000000000" pitchFamily="2" charset="0"/>
              </a:rPr>
              <a:t>ОРГАНИЗАЦИОННОМУ </a:t>
            </a:r>
            <a:r>
              <a:rPr lang="ru-RU" sz="1653" kern="0">
                <a:latin typeface="Roboto" panose="02000000000000000000" pitchFamily="2" charset="0"/>
                <a:ea typeface="Roboto" panose="02000000000000000000" pitchFamily="2" charset="0"/>
                <a:cs typeface="Roboto" panose="02000000000000000000" pitchFamily="2" charset="0"/>
              </a:rPr>
              <a:t>РАЗВИТИЮ</a:t>
            </a:r>
          </a:p>
        </p:txBody>
      </p:sp>
      <p:sp>
        <p:nvSpPr>
          <p:cNvPr id="4" name="object 4">
            <a:extLst>
              <a:ext uri="{FF2B5EF4-FFF2-40B4-BE49-F238E27FC236}">
                <a16:creationId xmlns:a16="http://schemas.microsoft.com/office/drawing/2014/main" id="{30B8B510-5D83-4BE2-9DBC-F0165D5511C6}"/>
              </a:ext>
            </a:extLst>
          </p:cNvPr>
          <p:cNvSpPr txBox="1"/>
          <p:nvPr/>
        </p:nvSpPr>
        <p:spPr>
          <a:xfrm>
            <a:off x="833287" y="1734933"/>
            <a:ext cx="2783195" cy="884075"/>
          </a:xfrm>
          <a:prstGeom prst="rect">
            <a:avLst/>
          </a:prstGeom>
        </p:spPr>
        <p:txBody>
          <a:bodyPr vert="horz" wrap="square" lIns="0" tIns="13195" rIns="0" bIns="0" rtlCol="0">
            <a:spAutoFit/>
          </a:bodyPr>
          <a:lstStyle/>
          <a:p>
            <a:pPr marL="142455" marR="5277" indent="-142455">
              <a:lnSpc>
                <a:spcPts val="1700"/>
              </a:lnSpc>
              <a:spcBef>
                <a:spcPts val="949"/>
              </a:spcBef>
              <a:buClr>
                <a:schemeClr val="tx2">
                  <a:lumMod val="75000"/>
                </a:schemeClr>
              </a:buClr>
              <a:buFont typeface="Wingdings" panose="05000000000000000000" pitchFamily="2" charset="2"/>
              <a:buChar char="§"/>
            </a:pPr>
            <a:r>
              <a:rPr sz="1259" err="1">
                <a:solidFill>
                  <a:srgbClr val="6D6E71"/>
                </a:solidFill>
                <a:latin typeface="Roboto" panose="02000000000000000000" pitchFamily="2" charset="0"/>
                <a:ea typeface="Roboto" panose="02000000000000000000" pitchFamily="2" charset="0"/>
                <a:cs typeface="Roboto" panose="02000000000000000000" pitchFamily="2" charset="0"/>
              </a:rPr>
              <a:t>Организационная</a:t>
            </a:r>
            <a:r>
              <a:rPr lang="ru-RU" sz="1259" spc="-72">
                <a:solidFill>
                  <a:srgbClr val="6D6E71"/>
                </a:solidFill>
                <a:latin typeface="Roboto" panose="02000000000000000000" pitchFamily="2" charset="0"/>
                <a:ea typeface="Roboto" panose="02000000000000000000" pitchFamily="2" charset="0"/>
                <a:cs typeface="Roboto" panose="02000000000000000000" pitchFamily="2" charset="0"/>
              </a:rPr>
              <a:t> </a:t>
            </a:r>
            <a:r>
              <a:rPr sz="1259" spc="-11" err="1">
                <a:solidFill>
                  <a:srgbClr val="6D6E71"/>
                </a:solidFill>
                <a:latin typeface="Roboto" panose="02000000000000000000" pitchFamily="2" charset="0"/>
                <a:ea typeface="Roboto" panose="02000000000000000000" pitchFamily="2" charset="0"/>
                <a:cs typeface="Roboto" panose="02000000000000000000" pitchFamily="2" charset="0"/>
              </a:rPr>
              <a:t>модель</a:t>
            </a:r>
            <a:endParaRPr lang="ru-RU" sz="1259" spc="-11">
              <a:solidFill>
                <a:srgbClr val="6D6E71"/>
              </a:solidFill>
              <a:latin typeface="Roboto" panose="02000000000000000000" pitchFamily="2" charset="0"/>
              <a:ea typeface="Roboto" panose="02000000000000000000" pitchFamily="2" charset="0"/>
              <a:cs typeface="Roboto" panose="02000000000000000000" pitchFamily="2" charset="0"/>
            </a:endParaRPr>
          </a:p>
          <a:p>
            <a:pPr marL="142455" marR="5277" indent="-142455">
              <a:lnSpc>
                <a:spcPts val="1700"/>
              </a:lnSpc>
              <a:spcBef>
                <a:spcPts val="949"/>
              </a:spcBef>
              <a:buClr>
                <a:schemeClr val="tx2">
                  <a:lumMod val="75000"/>
                </a:schemeClr>
              </a:buClr>
              <a:buFont typeface="Wingdings" panose="05000000000000000000" pitchFamily="2" charset="2"/>
              <a:buChar char="§"/>
            </a:pPr>
            <a:r>
              <a:rPr sz="1259" spc="-11" err="1">
                <a:solidFill>
                  <a:srgbClr val="6D6E71"/>
                </a:solidFill>
                <a:latin typeface="Roboto" panose="02000000000000000000" pitchFamily="2" charset="0"/>
                <a:ea typeface="Roboto" panose="02000000000000000000" pitchFamily="2" charset="0"/>
                <a:cs typeface="Roboto" panose="02000000000000000000" pitchFamily="2" charset="0"/>
              </a:rPr>
              <a:t>Люди</a:t>
            </a:r>
            <a:endParaRPr lang="ru-RU" sz="1259">
              <a:latin typeface="Roboto" panose="02000000000000000000" pitchFamily="2" charset="0"/>
              <a:ea typeface="Roboto" panose="02000000000000000000" pitchFamily="2" charset="0"/>
              <a:cs typeface="Roboto" panose="02000000000000000000" pitchFamily="2" charset="0"/>
            </a:endParaRPr>
          </a:p>
          <a:p>
            <a:pPr marL="142455" marR="5277" indent="-142455">
              <a:lnSpc>
                <a:spcPts val="1700"/>
              </a:lnSpc>
              <a:spcBef>
                <a:spcPts val="949"/>
              </a:spcBef>
              <a:buClr>
                <a:schemeClr val="tx2">
                  <a:lumMod val="75000"/>
                </a:schemeClr>
              </a:buClr>
              <a:buFont typeface="Wingdings" panose="05000000000000000000" pitchFamily="2" charset="2"/>
              <a:buChar char="§"/>
            </a:pPr>
            <a:r>
              <a:rPr sz="1259" spc="-11" err="1">
                <a:solidFill>
                  <a:srgbClr val="6D6E71"/>
                </a:solidFill>
                <a:latin typeface="Roboto" panose="02000000000000000000" pitchFamily="2" charset="0"/>
                <a:ea typeface="Roboto" panose="02000000000000000000" pitchFamily="2" charset="0"/>
                <a:cs typeface="Roboto" panose="02000000000000000000" pitchFamily="2" charset="0"/>
              </a:rPr>
              <a:t>Коммуникации</a:t>
            </a:r>
            <a:endParaRPr sz="1259">
              <a:latin typeface="Roboto" panose="02000000000000000000" pitchFamily="2" charset="0"/>
              <a:ea typeface="Roboto" panose="02000000000000000000" pitchFamily="2" charset="0"/>
              <a:cs typeface="Roboto" panose="02000000000000000000" pitchFamily="2" charset="0"/>
            </a:endParaRPr>
          </a:p>
        </p:txBody>
      </p:sp>
      <p:sp>
        <p:nvSpPr>
          <p:cNvPr id="5" name="object 24">
            <a:extLst>
              <a:ext uri="{FF2B5EF4-FFF2-40B4-BE49-F238E27FC236}">
                <a16:creationId xmlns:a16="http://schemas.microsoft.com/office/drawing/2014/main" id="{3BF88576-B2B3-4C01-8C44-AE751EAEB98E}"/>
              </a:ext>
            </a:extLst>
          </p:cNvPr>
          <p:cNvSpPr txBox="1"/>
          <p:nvPr/>
        </p:nvSpPr>
        <p:spPr>
          <a:xfrm>
            <a:off x="833284" y="5722388"/>
            <a:ext cx="8428409" cy="594637"/>
          </a:xfrm>
          <a:prstGeom prst="rect">
            <a:avLst/>
          </a:prstGeom>
        </p:spPr>
        <p:txBody>
          <a:bodyPr vert="horz" wrap="square" lIns="0" tIns="13195" rIns="0" bIns="0" rtlCol="0">
            <a:spAutoFit/>
          </a:bodyPr>
          <a:lstStyle/>
          <a:p>
            <a:pPr marR="5277">
              <a:spcBef>
                <a:spcPts val="1800"/>
              </a:spcBef>
            </a:pPr>
            <a:r>
              <a:rPr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t>BITOBE </a:t>
            </a:r>
            <a:r>
              <a:rPr lang="ru-RU"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t>—</a:t>
            </a:r>
            <a:r>
              <a:rPr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br>
              <a:rPr lang="ru-RU"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259" err="1">
                <a:solidFill>
                  <a:srgbClr val="6D6E71"/>
                </a:solidFill>
                <a:latin typeface="Roboto" panose="02000000000000000000" pitchFamily="2" charset="0"/>
                <a:ea typeface="Roboto" panose="02000000000000000000" pitchFamily="2" charset="0"/>
                <a:cs typeface="Roboto" panose="02000000000000000000" pitchFamily="2" charset="0"/>
              </a:rPr>
              <a:t>единственная</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российская</a:t>
            </a:r>
            <a:r>
              <a:rPr sz="1259">
                <a:solidFill>
                  <a:srgbClr val="6D6E71"/>
                </a:solidFill>
                <a:latin typeface="Roboto" panose="02000000000000000000" pitchFamily="2" charset="0"/>
                <a:ea typeface="Roboto" panose="02000000000000000000" pitchFamily="2" charset="0"/>
                <a:cs typeface="Roboto" panose="02000000000000000000" pitchFamily="2" charset="0"/>
              </a:rPr>
              <a:t> компания,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обладающая</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всеми</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br>
              <a:rPr lang="ru-RU" sz="1259">
                <a:solidFill>
                  <a:srgbClr val="6D6E71"/>
                </a:solidFill>
                <a:latin typeface="Roboto" panose="02000000000000000000" pitchFamily="2" charset="0"/>
                <a:ea typeface="Roboto" panose="02000000000000000000" pitchFamily="2" charset="0"/>
                <a:cs typeface="Roboto" panose="02000000000000000000" pitchFamily="2" charset="0"/>
              </a:rPr>
            </a:br>
            <a:r>
              <a:rPr sz="1259">
                <a:solidFill>
                  <a:srgbClr val="6D6E71"/>
                </a:solidFill>
                <a:latin typeface="Roboto" panose="02000000000000000000" pitchFamily="2" charset="0"/>
                <a:ea typeface="Roboto" panose="02000000000000000000" pitchFamily="2" charset="0"/>
                <a:cs typeface="Roboto" panose="02000000000000000000" pitchFamily="2" charset="0"/>
              </a:rPr>
              <a:t>3 компетенциями на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уровне</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требований</a:t>
            </a:r>
            <a:r>
              <a:rPr sz="1259">
                <a:solidFill>
                  <a:srgbClr val="6D6E71"/>
                </a:solidFill>
                <a:latin typeface="Roboto" panose="02000000000000000000" pitchFamily="2" charset="0"/>
                <a:ea typeface="Roboto" panose="02000000000000000000" pitchFamily="2" charset="0"/>
                <a:cs typeface="Roboto" panose="02000000000000000000" pitchFamily="2" charset="0"/>
              </a:rPr>
              <a:t> крупного бизнеса.</a:t>
            </a:r>
            <a:endParaRPr sz="1259">
              <a:latin typeface="Roboto" panose="02000000000000000000" pitchFamily="2" charset="0"/>
              <a:ea typeface="Roboto" panose="02000000000000000000" pitchFamily="2" charset="0"/>
              <a:cs typeface="Roboto" panose="02000000000000000000" pitchFamily="2" charset="0"/>
            </a:endParaRPr>
          </a:p>
        </p:txBody>
      </p:sp>
      <p:sp>
        <p:nvSpPr>
          <p:cNvPr id="6" name="object 23">
            <a:extLst>
              <a:ext uri="{FF2B5EF4-FFF2-40B4-BE49-F238E27FC236}">
                <a16:creationId xmlns:a16="http://schemas.microsoft.com/office/drawing/2014/main" id="{336FAEB2-70A0-4239-8554-9CE4C22BFD0C}"/>
              </a:ext>
            </a:extLst>
          </p:cNvPr>
          <p:cNvSpPr txBox="1"/>
          <p:nvPr/>
        </p:nvSpPr>
        <p:spPr>
          <a:xfrm>
            <a:off x="833286" y="1130639"/>
            <a:ext cx="4938864" cy="400866"/>
          </a:xfrm>
          <a:prstGeom prst="rect">
            <a:avLst/>
          </a:prstGeom>
        </p:spPr>
        <p:txBody>
          <a:bodyPr vert="horz" wrap="square" lIns="0" tIns="13195" rIns="0" bIns="0" rtlCol="0">
            <a:spAutoFit/>
          </a:bodyPr>
          <a:lstStyle/>
          <a:p>
            <a:pPr marR="5277"/>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Целостное организационное развитие компаний обязательно интегрирует 3 области изменений:</a:t>
            </a:r>
            <a:endParaRPr sz="1259">
              <a:latin typeface="Roboto" panose="02000000000000000000" pitchFamily="2" charset="0"/>
              <a:ea typeface="Roboto" panose="02000000000000000000" pitchFamily="2" charset="0"/>
              <a:cs typeface="Roboto" panose="02000000000000000000" pitchFamily="2" charset="0"/>
            </a:endParaRPr>
          </a:p>
        </p:txBody>
      </p:sp>
      <p:sp>
        <p:nvSpPr>
          <p:cNvPr id="7" name="object 8">
            <a:extLst>
              <a:ext uri="{FF2B5EF4-FFF2-40B4-BE49-F238E27FC236}">
                <a16:creationId xmlns:a16="http://schemas.microsoft.com/office/drawing/2014/main" id="{EA875BDA-60E7-4D78-BA63-B6D9DF80EF84}"/>
              </a:ext>
            </a:extLst>
          </p:cNvPr>
          <p:cNvSpPr txBox="1"/>
          <p:nvPr/>
        </p:nvSpPr>
        <p:spPr>
          <a:xfrm>
            <a:off x="7638629" y="871187"/>
            <a:ext cx="3448997" cy="998209"/>
          </a:xfrm>
          <a:prstGeom prst="rect">
            <a:avLst/>
          </a:prstGeom>
        </p:spPr>
        <p:txBody>
          <a:bodyPr vert="horz" wrap="square" lIns="0" tIns="13195" rIns="0" bIns="0" rtlCol="0">
            <a:spAutoFit/>
          </a:bodyPr>
          <a:lstStyle/>
          <a:p>
            <a:pPr marL="13194" marR="5277">
              <a:spcBef>
                <a:spcPts val="104"/>
              </a:spcBef>
            </a:pPr>
            <a:r>
              <a:rPr lang="ru-RU" sz="3200">
                <a:solidFill>
                  <a:srgbClr val="252C69"/>
                </a:solidFill>
                <a:latin typeface="Roboto Medium" panose="02000000000000000000" pitchFamily="2" charset="0"/>
                <a:ea typeface="Roboto Medium" panose="02000000000000000000" pitchFamily="2" charset="0"/>
                <a:cs typeface="Roboto Medium" panose="02000000000000000000" pitchFamily="2" charset="0"/>
              </a:rPr>
              <a:t>7</a:t>
            </a:r>
            <a:r>
              <a:rPr lang="ru-RU" sz="1600">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1600">
                <a:solidFill>
                  <a:srgbClr val="252C69"/>
                </a:solidFill>
                <a:latin typeface="Roboto Medium" panose="02000000000000000000" pitchFamily="2" charset="0"/>
                <a:ea typeface="Roboto Medium" panose="02000000000000000000" pitchFamily="2" charset="0"/>
                <a:cs typeface="Roboto Medium" panose="02000000000000000000" pitchFamily="2" charset="0"/>
              </a:rPr>
              <a:t>КЛЮЧЕВЫХ РЕШЕНИЙ BITOBE </a:t>
            </a:r>
            <a:br>
              <a:rPr lang="ru-RU" sz="1600">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600">
                <a:solidFill>
                  <a:srgbClr val="252C69"/>
                </a:solidFill>
                <a:latin typeface="Roboto Medium" panose="02000000000000000000" pitchFamily="2" charset="0"/>
                <a:ea typeface="Roboto Medium" panose="02000000000000000000" pitchFamily="2" charset="0"/>
                <a:cs typeface="Roboto Medium" panose="02000000000000000000" pitchFamily="2" charset="0"/>
              </a:rPr>
              <a:t>В ОБЛАСТИ ЦЕЛОСТНОГО  ОРГАНИЗАЦИОННОГО РАЗВИТИЯ</a:t>
            </a:r>
            <a:endParaRPr sz="1600">
              <a:latin typeface="Roboto Medium" panose="02000000000000000000" pitchFamily="2" charset="0"/>
              <a:ea typeface="Roboto Medium" panose="02000000000000000000" pitchFamily="2" charset="0"/>
              <a:cs typeface="Roboto Medium" panose="02000000000000000000" pitchFamily="2" charset="0"/>
            </a:endParaRPr>
          </a:p>
        </p:txBody>
      </p:sp>
      <p:sp>
        <p:nvSpPr>
          <p:cNvPr id="8" name="object 22">
            <a:extLst>
              <a:ext uri="{FF2B5EF4-FFF2-40B4-BE49-F238E27FC236}">
                <a16:creationId xmlns:a16="http://schemas.microsoft.com/office/drawing/2014/main" id="{3AE323C4-DE50-4ECE-9CFF-0B574387FF00}"/>
              </a:ext>
            </a:extLst>
          </p:cNvPr>
          <p:cNvSpPr/>
          <p:nvPr/>
        </p:nvSpPr>
        <p:spPr>
          <a:xfrm>
            <a:off x="7651295" y="2113407"/>
            <a:ext cx="302839" cy="4303267"/>
          </a:xfrm>
          <a:custGeom>
            <a:avLst/>
            <a:gdLst/>
            <a:ahLst/>
            <a:cxnLst/>
            <a:rect l="l" t="t" r="r" b="b"/>
            <a:pathLst>
              <a:path h="2472054">
                <a:moveTo>
                  <a:pt x="0" y="0"/>
                </a:moveTo>
                <a:lnTo>
                  <a:pt x="0" y="2472004"/>
                </a:lnTo>
              </a:path>
            </a:pathLst>
          </a:custGeom>
          <a:ln w="6350">
            <a:solidFill>
              <a:srgbClr val="6D6E71"/>
            </a:solidFill>
          </a:ln>
        </p:spPr>
        <p:txBody>
          <a:bodyPr wrap="square" lIns="0" tIns="0" rIns="0" bIns="0" rtlCol="0"/>
          <a:lstStyle/>
          <a:p>
            <a:endParaRPr sz="1870"/>
          </a:p>
        </p:txBody>
      </p:sp>
      <p:pic>
        <p:nvPicPr>
          <p:cNvPr id="9" name="Рисунок 8">
            <a:extLst>
              <a:ext uri="{FF2B5EF4-FFF2-40B4-BE49-F238E27FC236}">
                <a16:creationId xmlns:a16="http://schemas.microsoft.com/office/drawing/2014/main" id="{13B37949-9FD5-4492-BF6F-EB6E5A6D09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17508" y="1719653"/>
            <a:ext cx="4007045" cy="3577718"/>
          </a:xfrm>
          <a:prstGeom prst="rect">
            <a:avLst/>
          </a:prstGeom>
        </p:spPr>
      </p:pic>
      <p:sp>
        <p:nvSpPr>
          <p:cNvPr id="10" name="object 20">
            <a:extLst>
              <a:ext uri="{FF2B5EF4-FFF2-40B4-BE49-F238E27FC236}">
                <a16:creationId xmlns:a16="http://schemas.microsoft.com/office/drawing/2014/main" id="{B34C800D-1007-450C-B8FA-21595F109095}"/>
              </a:ext>
            </a:extLst>
          </p:cNvPr>
          <p:cNvSpPr txBox="1"/>
          <p:nvPr/>
        </p:nvSpPr>
        <p:spPr>
          <a:xfrm>
            <a:off x="7803446" y="1929224"/>
            <a:ext cx="245999" cy="4425836"/>
          </a:xfrm>
          <a:prstGeom prst="rect">
            <a:avLst/>
          </a:prstGeom>
        </p:spPr>
        <p:txBody>
          <a:bodyPr vert="horz" wrap="square" lIns="0" tIns="52777" rIns="0" bIns="0" rtlCol="0">
            <a:spAutoFit/>
          </a:bodyPr>
          <a:lstStyle/>
          <a:p>
            <a:pPr marL="15833">
              <a:lnSpc>
                <a:spcPts val="4700"/>
              </a:lnSpc>
              <a:spcBef>
                <a:spcPts val="416"/>
              </a:spcBef>
            </a:pPr>
            <a:r>
              <a:rPr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1</a:t>
            </a:r>
            <a:endParaRPr sz="2400">
              <a:latin typeface="Roboto Medium" panose="02000000000000000000" pitchFamily="2" charset="0"/>
              <a:ea typeface="Roboto Medium" panose="02000000000000000000" pitchFamily="2" charset="0"/>
              <a:cs typeface="Roboto Medium" panose="02000000000000000000" pitchFamily="2" charset="0"/>
            </a:endParaRPr>
          </a:p>
          <a:p>
            <a:pPr marL="15833">
              <a:lnSpc>
                <a:spcPts val="4700"/>
              </a:lnSpc>
              <a:spcBef>
                <a:spcPts val="312"/>
              </a:spcBef>
            </a:pPr>
            <a:r>
              <a:rPr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2</a:t>
            </a:r>
            <a:endParaRPr sz="2400">
              <a:latin typeface="Roboto Medium" panose="02000000000000000000" pitchFamily="2" charset="0"/>
              <a:ea typeface="Roboto Medium" panose="02000000000000000000" pitchFamily="2" charset="0"/>
              <a:cs typeface="Roboto Medium" panose="02000000000000000000" pitchFamily="2" charset="0"/>
            </a:endParaRPr>
          </a:p>
          <a:p>
            <a:pPr marL="15833">
              <a:lnSpc>
                <a:spcPts val="4700"/>
              </a:lnSpc>
              <a:spcBef>
                <a:spcPts val="316"/>
              </a:spcBef>
            </a:pPr>
            <a:r>
              <a:rPr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3</a:t>
            </a:r>
            <a:endParaRPr lang="ru-RU"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a:p>
            <a:pPr marL="15833">
              <a:lnSpc>
                <a:spcPts val="4700"/>
              </a:lnSpc>
              <a:spcBef>
                <a:spcPts val="316"/>
              </a:spcBef>
            </a:pPr>
            <a:r>
              <a:rPr lang="ru-RU"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4</a:t>
            </a:r>
          </a:p>
          <a:p>
            <a:pPr marL="15833">
              <a:lnSpc>
                <a:spcPts val="4700"/>
              </a:lnSpc>
              <a:spcBef>
                <a:spcPts val="316"/>
              </a:spcBef>
            </a:pPr>
            <a:r>
              <a:rPr lang="ru-RU"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5</a:t>
            </a:r>
          </a:p>
          <a:p>
            <a:pPr marL="15833">
              <a:lnSpc>
                <a:spcPts val="4700"/>
              </a:lnSpc>
              <a:spcBef>
                <a:spcPts val="316"/>
              </a:spcBef>
            </a:pPr>
            <a:r>
              <a:rPr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6</a:t>
            </a:r>
            <a:endParaRPr sz="2400">
              <a:latin typeface="Roboto Medium" panose="02000000000000000000" pitchFamily="2" charset="0"/>
              <a:ea typeface="Roboto Medium" panose="02000000000000000000" pitchFamily="2" charset="0"/>
              <a:cs typeface="Roboto Medium" panose="02000000000000000000" pitchFamily="2" charset="0"/>
            </a:endParaRPr>
          </a:p>
          <a:p>
            <a:pPr marL="15833">
              <a:lnSpc>
                <a:spcPts val="4700"/>
              </a:lnSpc>
              <a:spcBef>
                <a:spcPts val="312"/>
              </a:spcBef>
            </a:pPr>
            <a:r>
              <a:rPr sz="2400" spc="25">
                <a:solidFill>
                  <a:srgbClr val="252C69"/>
                </a:solidFill>
                <a:latin typeface="Roboto Medium" panose="02000000000000000000" pitchFamily="2" charset="0"/>
                <a:ea typeface="Roboto Medium" panose="02000000000000000000" pitchFamily="2" charset="0"/>
                <a:cs typeface="Roboto Medium" panose="02000000000000000000" pitchFamily="2" charset="0"/>
              </a:rPr>
              <a:t>7</a:t>
            </a:r>
            <a:endParaRPr sz="2400">
              <a:latin typeface="Roboto Medium" panose="02000000000000000000" pitchFamily="2" charset="0"/>
              <a:ea typeface="Roboto Medium" panose="02000000000000000000" pitchFamily="2" charset="0"/>
              <a:cs typeface="Roboto Medium" panose="02000000000000000000" pitchFamily="2" charset="0"/>
            </a:endParaRPr>
          </a:p>
        </p:txBody>
      </p:sp>
      <p:sp>
        <p:nvSpPr>
          <p:cNvPr id="18" name="object 10">
            <a:extLst>
              <a:ext uri="{FF2B5EF4-FFF2-40B4-BE49-F238E27FC236}">
                <a16:creationId xmlns:a16="http://schemas.microsoft.com/office/drawing/2014/main" id="{58AA16F6-3ECF-4FC2-946A-9AFA9FF8C5E7}"/>
              </a:ext>
            </a:extLst>
          </p:cNvPr>
          <p:cNvSpPr txBox="1"/>
          <p:nvPr/>
        </p:nvSpPr>
        <p:spPr>
          <a:xfrm>
            <a:off x="8333085" y="3471046"/>
            <a:ext cx="2622849" cy="182922"/>
          </a:xfrm>
          <a:prstGeom prst="rect">
            <a:avLst/>
          </a:prstGeom>
        </p:spPr>
        <p:txBody>
          <a:bodyPr vert="horz" wrap="square" lIns="0" tIns="13195" rIns="0" bIns="0" rtlCol="0">
            <a:spAutoFit/>
          </a:bodyPr>
          <a:lstStyle/>
          <a:p>
            <a:pPr marL="13194">
              <a:spcBef>
                <a:spcPts val="104"/>
              </a:spcBef>
            </a:pPr>
            <a:r>
              <a:rPr sz="1102" spc="-5">
                <a:solidFill>
                  <a:srgbClr val="6D6E71"/>
                </a:solidFill>
                <a:latin typeface="Roboto"/>
                <a:cs typeface="Roboto"/>
              </a:rPr>
              <a:t>Развитие </a:t>
            </a:r>
            <a:r>
              <a:rPr sz="1102" spc="-11">
                <a:solidFill>
                  <a:srgbClr val="6D6E71"/>
                </a:solidFill>
                <a:latin typeface="Roboto"/>
                <a:cs typeface="Roboto"/>
              </a:rPr>
              <a:t>команд </a:t>
            </a:r>
            <a:r>
              <a:rPr sz="1102" spc="-5">
                <a:solidFill>
                  <a:srgbClr val="6D6E71"/>
                </a:solidFill>
                <a:latin typeface="Roboto"/>
                <a:cs typeface="Roboto"/>
              </a:rPr>
              <a:t>первого</a:t>
            </a:r>
            <a:r>
              <a:rPr sz="1102" spc="-36">
                <a:solidFill>
                  <a:srgbClr val="6D6E71"/>
                </a:solidFill>
                <a:latin typeface="Roboto"/>
                <a:cs typeface="Roboto"/>
              </a:rPr>
              <a:t> </a:t>
            </a:r>
            <a:r>
              <a:rPr sz="1102" spc="-5">
                <a:solidFill>
                  <a:srgbClr val="6D6E71"/>
                </a:solidFill>
                <a:latin typeface="Roboto"/>
                <a:cs typeface="Roboto"/>
              </a:rPr>
              <a:t>уровня</a:t>
            </a:r>
            <a:endParaRPr sz="1102">
              <a:latin typeface="Roboto"/>
              <a:cs typeface="Roboto"/>
            </a:endParaRPr>
          </a:p>
        </p:txBody>
      </p:sp>
      <p:sp>
        <p:nvSpPr>
          <p:cNvPr id="19" name="object 14">
            <a:extLst>
              <a:ext uri="{FF2B5EF4-FFF2-40B4-BE49-F238E27FC236}">
                <a16:creationId xmlns:a16="http://schemas.microsoft.com/office/drawing/2014/main" id="{DC53A255-6EE4-4158-853A-FD67D574A3DA}"/>
              </a:ext>
            </a:extLst>
          </p:cNvPr>
          <p:cNvSpPr txBox="1"/>
          <p:nvPr/>
        </p:nvSpPr>
        <p:spPr>
          <a:xfrm>
            <a:off x="8333085" y="2848971"/>
            <a:ext cx="3261504" cy="182922"/>
          </a:xfrm>
          <a:prstGeom prst="rect">
            <a:avLst/>
          </a:prstGeom>
        </p:spPr>
        <p:txBody>
          <a:bodyPr vert="horz" wrap="square" lIns="0" tIns="13195" rIns="0" bIns="0" rtlCol="0">
            <a:spAutoFit/>
          </a:bodyPr>
          <a:lstStyle/>
          <a:p>
            <a:pPr marL="13194">
              <a:spcBef>
                <a:spcPts val="104"/>
              </a:spcBef>
            </a:pPr>
            <a:r>
              <a:rPr sz="1102" spc="-11">
                <a:solidFill>
                  <a:srgbClr val="6D6E71"/>
                </a:solidFill>
                <a:latin typeface="Roboto"/>
                <a:cs typeface="Roboto"/>
              </a:rPr>
              <a:t>Трансформация корпоративной</a:t>
            </a:r>
            <a:r>
              <a:rPr sz="1102">
                <a:solidFill>
                  <a:srgbClr val="6D6E71"/>
                </a:solidFill>
                <a:latin typeface="Roboto"/>
                <a:cs typeface="Roboto"/>
              </a:rPr>
              <a:t> </a:t>
            </a:r>
            <a:r>
              <a:rPr sz="1102" spc="-16">
                <a:solidFill>
                  <a:srgbClr val="6D6E71"/>
                </a:solidFill>
                <a:latin typeface="Roboto"/>
                <a:cs typeface="Roboto"/>
              </a:rPr>
              <a:t>культуры</a:t>
            </a:r>
            <a:endParaRPr sz="1102">
              <a:latin typeface="Roboto"/>
              <a:cs typeface="Roboto"/>
            </a:endParaRPr>
          </a:p>
        </p:txBody>
      </p:sp>
      <p:sp>
        <p:nvSpPr>
          <p:cNvPr id="20" name="object 18">
            <a:extLst>
              <a:ext uri="{FF2B5EF4-FFF2-40B4-BE49-F238E27FC236}">
                <a16:creationId xmlns:a16="http://schemas.microsoft.com/office/drawing/2014/main" id="{57FA177C-421C-41F8-95F3-251575FD984A}"/>
              </a:ext>
            </a:extLst>
          </p:cNvPr>
          <p:cNvSpPr txBox="1"/>
          <p:nvPr/>
        </p:nvSpPr>
        <p:spPr>
          <a:xfrm>
            <a:off x="8333085" y="2237939"/>
            <a:ext cx="2691081" cy="182922"/>
          </a:xfrm>
          <a:prstGeom prst="rect">
            <a:avLst/>
          </a:prstGeom>
        </p:spPr>
        <p:txBody>
          <a:bodyPr vert="horz" wrap="square" lIns="0" tIns="13195" rIns="0" bIns="0" rtlCol="0">
            <a:spAutoFit/>
          </a:bodyPr>
          <a:lstStyle/>
          <a:p>
            <a:pPr marL="13194">
              <a:spcBef>
                <a:spcPts val="104"/>
              </a:spcBef>
            </a:pPr>
            <a:r>
              <a:rPr sz="1102">
                <a:solidFill>
                  <a:srgbClr val="6D6E71"/>
                </a:solidFill>
                <a:latin typeface="Roboto"/>
                <a:cs typeface="Roboto"/>
              </a:rPr>
              <a:t>Организационная</a:t>
            </a:r>
            <a:r>
              <a:rPr sz="1102" spc="-63">
                <a:solidFill>
                  <a:srgbClr val="6D6E71"/>
                </a:solidFill>
                <a:latin typeface="Roboto"/>
                <a:cs typeface="Roboto"/>
              </a:rPr>
              <a:t> </a:t>
            </a:r>
            <a:r>
              <a:rPr sz="1102" spc="-5">
                <a:solidFill>
                  <a:srgbClr val="6D6E71"/>
                </a:solidFill>
                <a:latin typeface="Roboto"/>
                <a:cs typeface="Roboto"/>
              </a:rPr>
              <a:t>трансформация</a:t>
            </a:r>
            <a:endParaRPr sz="1102">
              <a:latin typeface="Roboto"/>
              <a:cs typeface="Roboto"/>
            </a:endParaRPr>
          </a:p>
        </p:txBody>
      </p:sp>
      <p:sp>
        <p:nvSpPr>
          <p:cNvPr id="21" name="object 10">
            <a:extLst>
              <a:ext uri="{FF2B5EF4-FFF2-40B4-BE49-F238E27FC236}">
                <a16:creationId xmlns:a16="http://schemas.microsoft.com/office/drawing/2014/main" id="{29535EE4-03F6-4EE9-93F9-24F87A26E75D}"/>
              </a:ext>
            </a:extLst>
          </p:cNvPr>
          <p:cNvSpPr txBox="1"/>
          <p:nvPr/>
        </p:nvSpPr>
        <p:spPr>
          <a:xfrm>
            <a:off x="8333085" y="4039609"/>
            <a:ext cx="2622849" cy="352519"/>
          </a:xfrm>
          <a:prstGeom prst="rect">
            <a:avLst/>
          </a:prstGeom>
        </p:spPr>
        <p:txBody>
          <a:bodyPr vert="horz" wrap="square" lIns="0" tIns="13195" rIns="0" bIns="0" rtlCol="0">
            <a:spAutoFit/>
          </a:bodyPr>
          <a:lstStyle/>
          <a:p>
            <a:r>
              <a:rPr lang="ru-RU" sz="1102">
                <a:solidFill>
                  <a:srgbClr val="6D6E71"/>
                </a:solidFill>
                <a:latin typeface="Roboto" panose="02000000000000000000" pitchFamily="2" charset="0"/>
                <a:ea typeface="Roboto" panose="02000000000000000000" pitchFamily="2" charset="0"/>
                <a:cs typeface="Roboto" panose="02000000000000000000" pitchFamily="2" charset="0"/>
              </a:rPr>
              <a:t>Обучение и развитие: от компетенций </a:t>
            </a:r>
            <a:br>
              <a:rPr lang="ru-RU" sz="1102">
                <a:solidFill>
                  <a:srgbClr val="6D6E71"/>
                </a:solidFill>
                <a:latin typeface="Roboto" panose="02000000000000000000" pitchFamily="2" charset="0"/>
                <a:ea typeface="Roboto" panose="02000000000000000000" pitchFamily="2" charset="0"/>
                <a:cs typeface="Roboto" panose="02000000000000000000" pitchFamily="2" charset="0"/>
              </a:rPr>
            </a:br>
            <a:r>
              <a:rPr lang="ru-RU" sz="1102">
                <a:solidFill>
                  <a:srgbClr val="6D6E71"/>
                </a:solidFill>
                <a:latin typeface="Roboto" panose="02000000000000000000" pitchFamily="2" charset="0"/>
                <a:ea typeface="Roboto" panose="02000000000000000000" pitchFamily="2" charset="0"/>
                <a:cs typeface="Roboto" panose="02000000000000000000" pitchFamily="2" charset="0"/>
              </a:rPr>
              <a:t>к бизнес-результату </a:t>
            </a:r>
          </a:p>
        </p:txBody>
      </p:sp>
      <p:sp>
        <p:nvSpPr>
          <p:cNvPr id="22" name="object 10">
            <a:extLst>
              <a:ext uri="{FF2B5EF4-FFF2-40B4-BE49-F238E27FC236}">
                <a16:creationId xmlns:a16="http://schemas.microsoft.com/office/drawing/2014/main" id="{E34C3D7C-ABFD-4CA2-B3BA-FF151ED0661E}"/>
              </a:ext>
            </a:extLst>
          </p:cNvPr>
          <p:cNvSpPr txBox="1"/>
          <p:nvPr/>
        </p:nvSpPr>
        <p:spPr>
          <a:xfrm>
            <a:off x="8333085" y="4668870"/>
            <a:ext cx="2622849" cy="351878"/>
          </a:xfrm>
          <a:prstGeom prst="rect">
            <a:avLst/>
          </a:prstGeom>
        </p:spPr>
        <p:txBody>
          <a:bodyPr vert="horz" wrap="square" lIns="0" tIns="13195" rIns="0" bIns="0" rtlCol="0">
            <a:spAutoFit/>
          </a:bodyPr>
          <a:lstStyle/>
          <a:p>
            <a:r>
              <a:rPr lang="ru-RU" sz="1100">
                <a:solidFill>
                  <a:srgbClr val="6D6E71"/>
                </a:solidFill>
                <a:latin typeface="Roboto" panose="02000000000000000000" pitchFamily="2" charset="0"/>
                <a:ea typeface="Roboto" panose="02000000000000000000" pitchFamily="2" charset="0"/>
                <a:cs typeface="Roboto" panose="02000000000000000000" pitchFamily="2" charset="0"/>
              </a:rPr>
              <a:t>Развитие опыта сотрудника </a:t>
            </a:r>
            <a:br>
              <a:rPr lang="ru-RU" sz="1100">
                <a:solidFill>
                  <a:srgbClr val="6D6E71"/>
                </a:solidFill>
                <a:latin typeface="Roboto" panose="02000000000000000000" pitchFamily="2" charset="0"/>
                <a:ea typeface="Roboto" panose="02000000000000000000" pitchFamily="2" charset="0"/>
                <a:cs typeface="Roboto" panose="02000000000000000000" pitchFamily="2" charset="0"/>
              </a:rPr>
            </a:br>
            <a:r>
              <a:rPr lang="ru-RU" sz="1100">
                <a:solidFill>
                  <a:srgbClr val="6D6E71"/>
                </a:solidFill>
                <a:latin typeface="Roboto" panose="02000000000000000000" pitchFamily="2" charset="0"/>
                <a:ea typeface="Roboto" panose="02000000000000000000" pitchFamily="2" charset="0"/>
                <a:cs typeface="Roboto" panose="02000000000000000000" pitchFamily="2" charset="0"/>
              </a:rPr>
              <a:t>и ценностное предложение</a:t>
            </a:r>
          </a:p>
        </p:txBody>
      </p:sp>
      <p:sp>
        <p:nvSpPr>
          <p:cNvPr id="23" name="object 10">
            <a:extLst>
              <a:ext uri="{FF2B5EF4-FFF2-40B4-BE49-F238E27FC236}">
                <a16:creationId xmlns:a16="http://schemas.microsoft.com/office/drawing/2014/main" id="{60048FAC-F0BC-44BB-B312-9C0BB1D60932}"/>
              </a:ext>
            </a:extLst>
          </p:cNvPr>
          <p:cNvSpPr txBox="1"/>
          <p:nvPr/>
        </p:nvSpPr>
        <p:spPr>
          <a:xfrm>
            <a:off x="8333085" y="5385870"/>
            <a:ext cx="2998393" cy="182922"/>
          </a:xfrm>
          <a:prstGeom prst="rect">
            <a:avLst/>
          </a:prstGeom>
        </p:spPr>
        <p:txBody>
          <a:bodyPr vert="horz" wrap="square" lIns="0" tIns="13195" rIns="0" bIns="0" rtlCol="0">
            <a:spAutoFit/>
          </a:bodyPr>
          <a:lstStyle/>
          <a:p>
            <a:pPr marL="13194">
              <a:spcBef>
                <a:spcPts val="104"/>
              </a:spcBef>
            </a:pPr>
            <a:r>
              <a:rPr lang="ru-RU" sz="1102" spc="-5">
                <a:solidFill>
                  <a:srgbClr val="6D6E71"/>
                </a:solidFill>
                <a:latin typeface="Roboto"/>
                <a:cs typeface="Roboto"/>
              </a:rPr>
              <a:t>Стратегия развития </a:t>
            </a:r>
            <a:r>
              <a:rPr lang="ru-RU" sz="1102" spc="-11">
                <a:solidFill>
                  <a:srgbClr val="6D6E71"/>
                </a:solidFill>
                <a:latin typeface="Roboto"/>
                <a:cs typeface="Roboto"/>
              </a:rPr>
              <a:t>человеческого </a:t>
            </a:r>
            <a:r>
              <a:rPr lang="ru-RU" sz="1102" spc="-5">
                <a:solidFill>
                  <a:srgbClr val="6D6E71"/>
                </a:solidFill>
                <a:latin typeface="Roboto"/>
                <a:cs typeface="Roboto"/>
              </a:rPr>
              <a:t>капитала</a:t>
            </a:r>
            <a:endParaRPr lang="ru-RU" sz="1102">
              <a:latin typeface="Roboto"/>
              <a:cs typeface="Roboto"/>
            </a:endParaRPr>
          </a:p>
        </p:txBody>
      </p:sp>
      <p:sp>
        <p:nvSpPr>
          <p:cNvPr id="24" name="object 10">
            <a:extLst>
              <a:ext uri="{FF2B5EF4-FFF2-40B4-BE49-F238E27FC236}">
                <a16:creationId xmlns:a16="http://schemas.microsoft.com/office/drawing/2014/main" id="{AD471472-0074-4D4F-8F2B-CFA04D45F71E}"/>
              </a:ext>
            </a:extLst>
          </p:cNvPr>
          <p:cNvSpPr txBox="1"/>
          <p:nvPr/>
        </p:nvSpPr>
        <p:spPr>
          <a:xfrm>
            <a:off x="8333085" y="5937307"/>
            <a:ext cx="2998393" cy="352519"/>
          </a:xfrm>
          <a:prstGeom prst="rect">
            <a:avLst/>
          </a:prstGeom>
        </p:spPr>
        <p:txBody>
          <a:bodyPr vert="horz" wrap="square" lIns="0" tIns="13195" rIns="0" bIns="0" rtlCol="0">
            <a:spAutoFit/>
          </a:bodyPr>
          <a:lstStyle/>
          <a:p>
            <a:pPr marL="13194" marR="5277">
              <a:spcBef>
                <a:spcPts val="104"/>
              </a:spcBef>
            </a:pPr>
            <a:r>
              <a:rPr lang="ru-RU" sz="1102" spc="-11">
                <a:solidFill>
                  <a:srgbClr val="6D6E71"/>
                </a:solidFill>
                <a:latin typeface="Roboto"/>
                <a:cs typeface="Roboto"/>
              </a:rPr>
              <a:t>Комплексное </a:t>
            </a:r>
            <a:r>
              <a:rPr lang="ru-RU" sz="1102" spc="-5">
                <a:solidFill>
                  <a:srgbClr val="6D6E71"/>
                </a:solidFill>
                <a:latin typeface="Roboto"/>
                <a:cs typeface="Roboto"/>
              </a:rPr>
              <a:t>профессиональное  </a:t>
            </a:r>
            <a:br>
              <a:rPr lang="ru-RU" sz="1102" spc="-5">
                <a:solidFill>
                  <a:srgbClr val="6D6E71"/>
                </a:solidFill>
                <a:latin typeface="Roboto"/>
                <a:cs typeface="Roboto"/>
              </a:rPr>
            </a:br>
            <a:r>
              <a:rPr lang="ru-RU" sz="1102">
                <a:solidFill>
                  <a:srgbClr val="6D6E71"/>
                </a:solidFill>
                <a:latin typeface="Roboto"/>
                <a:cs typeface="Roboto"/>
              </a:rPr>
              <a:t>и </a:t>
            </a:r>
            <a:r>
              <a:rPr lang="ru-RU" sz="1102" spc="-5">
                <a:solidFill>
                  <a:srgbClr val="6D6E71"/>
                </a:solidFill>
                <a:latin typeface="Roboto"/>
                <a:cs typeface="Roboto"/>
              </a:rPr>
              <a:t>карьерное</a:t>
            </a:r>
            <a:r>
              <a:rPr lang="ru-RU" sz="1102" spc="-11">
                <a:solidFill>
                  <a:srgbClr val="6D6E71"/>
                </a:solidFill>
                <a:latin typeface="Roboto"/>
                <a:cs typeface="Roboto"/>
              </a:rPr>
              <a:t> </a:t>
            </a:r>
            <a:r>
              <a:rPr lang="ru-RU" sz="1102">
                <a:solidFill>
                  <a:srgbClr val="6D6E71"/>
                </a:solidFill>
                <a:latin typeface="Roboto"/>
                <a:cs typeface="Roboto"/>
              </a:rPr>
              <a:t>развитие</a:t>
            </a:r>
            <a:endParaRPr lang="ru-RU" sz="1102">
              <a:latin typeface="Roboto"/>
              <a:cs typeface="Roboto"/>
            </a:endParaRPr>
          </a:p>
        </p:txBody>
      </p:sp>
      <p:sp>
        <p:nvSpPr>
          <p:cNvPr id="25" name="object 30">
            <a:extLst>
              <a:ext uri="{FF2B5EF4-FFF2-40B4-BE49-F238E27FC236}">
                <a16:creationId xmlns:a16="http://schemas.microsoft.com/office/drawing/2014/main" id="{216AB9CC-5221-4005-A9B8-BD6CEE9252BA}"/>
              </a:ext>
            </a:extLst>
          </p:cNvPr>
          <p:cNvSpPr/>
          <p:nvPr/>
        </p:nvSpPr>
        <p:spPr>
          <a:xfrm flipV="1">
            <a:off x="4828895" y="2990481"/>
            <a:ext cx="2822399" cy="106425"/>
          </a:xfrm>
          <a:custGeom>
            <a:avLst/>
            <a:gdLst/>
            <a:ahLst/>
            <a:cxnLst/>
            <a:rect l="l" t="t" r="r" b="b"/>
            <a:pathLst>
              <a:path w="2136775">
                <a:moveTo>
                  <a:pt x="0" y="0"/>
                </a:moveTo>
                <a:lnTo>
                  <a:pt x="2136597" y="0"/>
                </a:lnTo>
              </a:path>
            </a:pathLst>
          </a:custGeom>
          <a:ln w="6350">
            <a:solidFill>
              <a:srgbClr val="6D6E71"/>
            </a:solidFill>
          </a:ln>
        </p:spPr>
        <p:txBody>
          <a:bodyPr wrap="square" lIns="0" tIns="0" rIns="0" bIns="0" rtlCol="0"/>
          <a:lstStyle/>
          <a:p>
            <a:endParaRPr sz="1870"/>
          </a:p>
        </p:txBody>
      </p:sp>
      <p:sp>
        <p:nvSpPr>
          <p:cNvPr id="26" name="Овал 25">
            <a:extLst>
              <a:ext uri="{FF2B5EF4-FFF2-40B4-BE49-F238E27FC236}">
                <a16:creationId xmlns:a16="http://schemas.microsoft.com/office/drawing/2014/main" id="{75273C3B-7153-4BC9-8612-C1986E4EB9A8}"/>
              </a:ext>
            </a:extLst>
          </p:cNvPr>
          <p:cNvSpPr/>
          <p:nvPr/>
        </p:nvSpPr>
        <p:spPr>
          <a:xfrm>
            <a:off x="4785900" y="3061807"/>
            <a:ext cx="74851" cy="74851"/>
          </a:xfrm>
          <a:prstGeom prst="ellipse">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834"/>
          </a:p>
        </p:txBody>
      </p:sp>
      <p:sp>
        <p:nvSpPr>
          <p:cNvPr id="70" name="object 25">
            <a:extLst>
              <a:ext uri="{FF2B5EF4-FFF2-40B4-BE49-F238E27FC236}">
                <a16:creationId xmlns:a16="http://schemas.microsoft.com/office/drawing/2014/main" id="{4220F962-CA15-4602-9C5C-AA684FD6CD0B}"/>
              </a:ext>
            </a:extLst>
          </p:cNvPr>
          <p:cNvSpPr/>
          <p:nvPr/>
        </p:nvSpPr>
        <p:spPr>
          <a:xfrm>
            <a:off x="8065695" y="2807037"/>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73" name="object 25">
            <a:extLst>
              <a:ext uri="{FF2B5EF4-FFF2-40B4-BE49-F238E27FC236}">
                <a16:creationId xmlns:a16="http://schemas.microsoft.com/office/drawing/2014/main" id="{69089588-676D-40BB-B4FF-5252BFACBAD4}"/>
              </a:ext>
            </a:extLst>
          </p:cNvPr>
          <p:cNvSpPr/>
          <p:nvPr/>
        </p:nvSpPr>
        <p:spPr>
          <a:xfrm>
            <a:off x="8065695" y="2185714"/>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77" name="object 25">
            <a:extLst>
              <a:ext uri="{FF2B5EF4-FFF2-40B4-BE49-F238E27FC236}">
                <a16:creationId xmlns:a16="http://schemas.microsoft.com/office/drawing/2014/main" id="{97CAF333-D11C-480A-9129-39FB83F30128}"/>
              </a:ext>
            </a:extLst>
          </p:cNvPr>
          <p:cNvSpPr/>
          <p:nvPr/>
        </p:nvSpPr>
        <p:spPr>
          <a:xfrm>
            <a:off x="8065695" y="3435687"/>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78" name="object 25">
            <a:extLst>
              <a:ext uri="{FF2B5EF4-FFF2-40B4-BE49-F238E27FC236}">
                <a16:creationId xmlns:a16="http://schemas.microsoft.com/office/drawing/2014/main" id="{92A4C8E8-249F-4B50-8A05-323D1BD3E346}"/>
              </a:ext>
            </a:extLst>
          </p:cNvPr>
          <p:cNvSpPr/>
          <p:nvPr/>
        </p:nvSpPr>
        <p:spPr>
          <a:xfrm>
            <a:off x="8065695" y="4064337"/>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79" name="object 25">
            <a:extLst>
              <a:ext uri="{FF2B5EF4-FFF2-40B4-BE49-F238E27FC236}">
                <a16:creationId xmlns:a16="http://schemas.microsoft.com/office/drawing/2014/main" id="{8DE423B1-A4BD-4972-A74A-92CFF85158AA}"/>
              </a:ext>
            </a:extLst>
          </p:cNvPr>
          <p:cNvSpPr/>
          <p:nvPr/>
        </p:nvSpPr>
        <p:spPr>
          <a:xfrm>
            <a:off x="8065695" y="4702512"/>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80" name="object 25">
            <a:extLst>
              <a:ext uri="{FF2B5EF4-FFF2-40B4-BE49-F238E27FC236}">
                <a16:creationId xmlns:a16="http://schemas.microsoft.com/office/drawing/2014/main" id="{6E795B7A-CAC5-4F49-888A-07EA3B283B88}"/>
              </a:ext>
            </a:extLst>
          </p:cNvPr>
          <p:cNvSpPr/>
          <p:nvPr/>
        </p:nvSpPr>
        <p:spPr>
          <a:xfrm>
            <a:off x="8065695" y="5340687"/>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
        <p:nvSpPr>
          <p:cNvPr id="81" name="object 25">
            <a:extLst>
              <a:ext uri="{FF2B5EF4-FFF2-40B4-BE49-F238E27FC236}">
                <a16:creationId xmlns:a16="http://schemas.microsoft.com/office/drawing/2014/main" id="{498FB178-B498-42B5-9C3E-4B2805D2E3D2}"/>
              </a:ext>
            </a:extLst>
          </p:cNvPr>
          <p:cNvSpPr/>
          <p:nvPr/>
        </p:nvSpPr>
        <p:spPr>
          <a:xfrm>
            <a:off x="8065695" y="5988387"/>
            <a:ext cx="112466" cy="299177"/>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9525">
            <a:solidFill>
              <a:srgbClr val="252C69"/>
            </a:solidFill>
          </a:ln>
        </p:spPr>
        <p:txBody>
          <a:bodyPr wrap="square" lIns="0" tIns="0" rIns="0" bIns="0" rtlCol="0"/>
          <a:lstStyle/>
          <a:p>
            <a:endParaRPr sz="1870"/>
          </a:p>
        </p:txBody>
      </p:sp>
    </p:spTree>
    <p:extLst>
      <p:ext uri="{BB962C8B-B14F-4D97-AF65-F5344CB8AC3E}">
        <p14:creationId xmlns:p14="http://schemas.microsoft.com/office/powerpoint/2010/main" val="1204291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6">
            <a:extLst>
              <a:ext uri="{FF2B5EF4-FFF2-40B4-BE49-F238E27FC236}">
                <a16:creationId xmlns:a16="http://schemas.microsoft.com/office/drawing/2014/main" id="{D0E27EC3-6AE9-4C87-8869-493BAFB0790C}"/>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1</a:t>
            </a:r>
            <a:endParaRPr sz="3778">
              <a:solidFill>
                <a:schemeClr val="bg1"/>
              </a:solidFill>
              <a:latin typeface="Roboto"/>
              <a:cs typeface="Roboto"/>
            </a:endParaRPr>
          </a:p>
        </p:txBody>
      </p:sp>
      <p:sp>
        <p:nvSpPr>
          <p:cNvPr id="3" name="object 32">
            <a:extLst>
              <a:ext uri="{FF2B5EF4-FFF2-40B4-BE49-F238E27FC236}">
                <a16:creationId xmlns:a16="http://schemas.microsoft.com/office/drawing/2014/main" id="{1EFB64B7-0278-4E02-ABF8-CC2D68DC4ED2}"/>
              </a:ext>
            </a:extLst>
          </p:cNvPr>
          <p:cNvSpPr txBox="1">
            <a:spLocks/>
          </p:cNvSpPr>
          <p:nvPr/>
        </p:nvSpPr>
        <p:spPr>
          <a:xfrm>
            <a:off x="822290" y="494536"/>
            <a:ext cx="4467433" cy="267689"/>
          </a:xfrm>
          <a:prstGeom prst="rect">
            <a:avLst/>
          </a:prstGeom>
        </p:spPr>
        <p:txBody>
          <a:bodyPr vert="horz" wrap="square" lIns="0" tIns="13195" rIns="0" bIns="0" rtlCol="0">
            <a:spAutoFit/>
          </a:bodyPr>
          <a:lstStyle>
            <a:defPPr>
              <a:defRPr lang="ru-RU"/>
            </a:defPPr>
            <a:lvl1pPr marL="13194" marR="5277">
              <a:spcBef>
                <a:spcPts val="104"/>
              </a:spcBef>
              <a:defRPr sz="1653" b="0" i="0" kern="0" spc="5">
                <a:solidFill>
                  <a:schemeClr val="bg1"/>
                </a:solidFill>
                <a:latin typeface="Roboto" panose="02000000000000000000" pitchFamily="2" charset="0"/>
                <a:ea typeface="Roboto" panose="02000000000000000000" pitchFamily="2" charset="0"/>
                <a:cs typeface="Roboto" panose="02000000000000000000" pitchFamily="2" charset="0"/>
              </a:defRPr>
            </a:lvl1pPr>
          </a:lstStyle>
          <a:p>
            <a:r>
              <a:rPr lang="ru-RU"/>
              <a:t>ОРГАНИЗАЦИОННАЯ ТРАНСФОРМАЦИЯ</a:t>
            </a:r>
          </a:p>
        </p:txBody>
      </p:sp>
      <p:sp>
        <p:nvSpPr>
          <p:cNvPr id="4" name="object 17">
            <a:extLst>
              <a:ext uri="{FF2B5EF4-FFF2-40B4-BE49-F238E27FC236}">
                <a16:creationId xmlns:a16="http://schemas.microsoft.com/office/drawing/2014/main" id="{9AF698A8-A087-481A-9F84-129B487FA493}"/>
              </a:ext>
            </a:extLst>
          </p:cNvPr>
          <p:cNvSpPr txBox="1"/>
          <p:nvPr/>
        </p:nvSpPr>
        <p:spPr>
          <a:xfrm>
            <a:off x="833058" y="1117603"/>
            <a:ext cx="5352589" cy="594637"/>
          </a:xfrm>
          <a:prstGeom prst="rect">
            <a:avLst/>
          </a:prstGeom>
        </p:spPr>
        <p:txBody>
          <a:bodyPr vert="horz" wrap="square" lIns="0" tIns="13195" rIns="0" bIns="0" rtlCol="0">
            <a:spAutoFit/>
          </a:bodyPr>
          <a:lstStyle/>
          <a:p>
            <a:pPr marR="5277"/>
            <a:r>
              <a:rPr lang="ru-RU" sz="1259" spc="-11">
                <a:solidFill>
                  <a:srgbClr val="6D6E71"/>
                </a:solidFill>
                <a:latin typeface="Roboto" panose="02000000000000000000" pitchFamily="2" charset="0"/>
                <a:ea typeface="Roboto" panose="02000000000000000000" pitchFamily="2" charset="0"/>
                <a:cs typeface="Roboto" panose="02000000000000000000" pitchFamily="2" charset="0"/>
              </a:rPr>
              <a:t>Сегодня </a:t>
            </a:r>
            <a:r>
              <a:rPr lang="ru-RU" sz="1259" spc="-5">
                <a:solidFill>
                  <a:srgbClr val="6D6E71"/>
                </a:solidFill>
                <a:latin typeface="Roboto" panose="02000000000000000000" pitchFamily="2" charset="0"/>
                <a:ea typeface="Roboto" panose="02000000000000000000" pitchFamily="2" charset="0"/>
                <a:cs typeface="Roboto" panose="02000000000000000000" pitchFamily="2" charset="0"/>
              </a:rPr>
              <a:t>перед </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многими </a:t>
            </a:r>
            <a:r>
              <a:rPr lang="ru-RU" sz="1259" spc="-11">
                <a:solidFill>
                  <a:srgbClr val="6D6E71"/>
                </a:solidFill>
                <a:latin typeface="Roboto" panose="02000000000000000000" pitchFamily="2" charset="0"/>
                <a:ea typeface="Roboto" panose="02000000000000000000" pitchFamily="2" charset="0"/>
                <a:cs typeface="Roboto" panose="02000000000000000000" pitchFamily="2" charset="0"/>
              </a:rPr>
              <a:t>компаниями стоит </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задача </a:t>
            </a:r>
            <a:r>
              <a:rPr lang="ru-RU" sz="1259" spc="-5">
                <a:solidFill>
                  <a:srgbClr val="6D6E71"/>
                </a:solidFill>
                <a:latin typeface="Roboto" panose="02000000000000000000" pitchFamily="2" charset="0"/>
                <a:ea typeface="Roboto" panose="02000000000000000000" pitchFamily="2" charset="0"/>
                <a:cs typeface="Roboto" panose="02000000000000000000" pitchFamily="2" charset="0"/>
              </a:rPr>
              <a:t>организационных преобра</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зований. </a:t>
            </a:r>
            <a:r>
              <a:rPr lang="ru-RU" sz="1259" spc="-5">
                <a:solidFill>
                  <a:srgbClr val="6D6E71"/>
                </a:solidFill>
                <a:latin typeface="Roboto" panose="02000000000000000000" pitchFamily="2" charset="0"/>
                <a:ea typeface="Roboto" panose="02000000000000000000" pitchFamily="2" charset="0"/>
                <a:cs typeface="Roboto" panose="02000000000000000000" pitchFamily="2" charset="0"/>
              </a:rPr>
              <a:t>Мы предлагаем опираться </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на </a:t>
            </a:r>
            <a:r>
              <a:rPr lang="ru-RU" sz="1259" spc="-5">
                <a:solidFill>
                  <a:srgbClr val="6D6E71"/>
                </a:solidFill>
                <a:latin typeface="Roboto" panose="02000000000000000000" pitchFamily="2" charset="0"/>
                <a:ea typeface="Roboto" panose="02000000000000000000" pitchFamily="2" charset="0"/>
                <a:cs typeface="Roboto" panose="02000000000000000000" pitchFamily="2" charset="0"/>
              </a:rPr>
              <a:t>следующие принципы при реализации  </a:t>
            </a:r>
            <a:r>
              <a:rPr lang="ru-RU" sz="1259" spc="-11">
                <a:solidFill>
                  <a:srgbClr val="6D6E71"/>
                </a:solidFill>
                <a:latin typeface="Roboto" panose="02000000000000000000" pitchFamily="2" charset="0"/>
                <a:ea typeface="Roboto" panose="02000000000000000000" pitchFamily="2" charset="0"/>
                <a:cs typeface="Roboto" panose="02000000000000000000" pitchFamily="2" charset="0"/>
              </a:rPr>
              <a:t>проектов </a:t>
            </a:r>
            <a:r>
              <a:rPr lang="ru-RU" sz="1259" spc="-5">
                <a:solidFill>
                  <a:srgbClr val="6D6E71"/>
                </a:solidFill>
                <a:latin typeface="Roboto" panose="02000000000000000000" pitchFamily="2" charset="0"/>
                <a:ea typeface="Roboto" panose="02000000000000000000" pitchFamily="2" charset="0"/>
                <a:cs typeface="Roboto" panose="02000000000000000000" pitchFamily="2" charset="0"/>
              </a:rPr>
              <a:t>организационной трансформации:</a:t>
            </a:r>
            <a:endParaRPr lang="ru-RU" sz="1259">
              <a:latin typeface="Roboto" panose="02000000000000000000" pitchFamily="2" charset="0"/>
              <a:ea typeface="Roboto" panose="02000000000000000000" pitchFamily="2" charset="0"/>
              <a:cs typeface="Roboto" panose="02000000000000000000" pitchFamily="2" charset="0"/>
            </a:endParaRPr>
          </a:p>
        </p:txBody>
      </p:sp>
      <p:grpSp>
        <p:nvGrpSpPr>
          <p:cNvPr id="7" name="Группа 6">
            <a:extLst>
              <a:ext uri="{FF2B5EF4-FFF2-40B4-BE49-F238E27FC236}">
                <a16:creationId xmlns:a16="http://schemas.microsoft.com/office/drawing/2014/main" id="{4D575D1A-CC18-43CE-8240-C1481446D37C}"/>
              </a:ext>
            </a:extLst>
          </p:cNvPr>
          <p:cNvGrpSpPr/>
          <p:nvPr/>
        </p:nvGrpSpPr>
        <p:grpSpPr>
          <a:xfrm>
            <a:off x="344876" y="2011739"/>
            <a:ext cx="241361" cy="167713"/>
            <a:chOff x="8235951" y="3248026"/>
            <a:chExt cx="525463" cy="365125"/>
          </a:xfrm>
          <a:solidFill>
            <a:srgbClr val="252C69"/>
          </a:solidFill>
        </p:grpSpPr>
        <p:sp>
          <p:nvSpPr>
            <p:cNvPr id="8" name="Freeform 180">
              <a:extLst>
                <a:ext uri="{FF2B5EF4-FFF2-40B4-BE49-F238E27FC236}">
                  <a16:creationId xmlns:a16="http://schemas.microsoft.com/office/drawing/2014/main" id="{0AD54661-B659-476A-A79D-C65610622EA0}"/>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9" name="Freeform 181">
              <a:extLst>
                <a:ext uri="{FF2B5EF4-FFF2-40B4-BE49-F238E27FC236}">
                  <a16:creationId xmlns:a16="http://schemas.microsoft.com/office/drawing/2014/main" id="{2B90B7B1-5D18-4FDA-AAE1-F389225EC472}"/>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2">
              <a:extLst>
                <a:ext uri="{FF2B5EF4-FFF2-40B4-BE49-F238E27FC236}">
                  <a16:creationId xmlns:a16="http://schemas.microsoft.com/office/drawing/2014/main" id="{AD6DF1B2-0613-4776-A338-737BCC0CAE1B}"/>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3">
              <a:extLst>
                <a:ext uri="{FF2B5EF4-FFF2-40B4-BE49-F238E27FC236}">
                  <a16:creationId xmlns:a16="http://schemas.microsoft.com/office/drawing/2014/main" id="{9E24AAA6-A7DD-46DD-A056-6B2392482D1B}"/>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4">
              <a:extLst>
                <a:ext uri="{FF2B5EF4-FFF2-40B4-BE49-F238E27FC236}">
                  <a16:creationId xmlns:a16="http://schemas.microsoft.com/office/drawing/2014/main" id="{575FB4B6-9022-4E47-B1D7-4EE2714BBEB8}"/>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3" name="Freeform 185">
              <a:extLst>
                <a:ext uri="{FF2B5EF4-FFF2-40B4-BE49-F238E27FC236}">
                  <a16:creationId xmlns:a16="http://schemas.microsoft.com/office/drawing/2014/main" id="{210B9EE5-157D-4324-9DE9-DF36619043D7}"/>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4" name="object 5">
            <a:extLst>
              <a:ext uri="{FF2B5EF4-FFF2-40B4-BE49-F238E27FC236}">
                <a16:creationId xmlns:a16="http://schemas.microsoft.com/office/drawing/2014/main" id="{763B757B-2416-4775-8D2F-C879BCA62D71}"/>
              </a:ext>
            </a:extLst>
          </p:cNvPr>
          <p:cNvSpPr/>
          <p:nvPr/>
        </p:nvSpPr>
        <p:spPr>
          <a:xfrm flipH="1">
            <a:off x="672533" y="1959559"/>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5" name="object 10">
            <a:extLst>
              <a:ext uri="{FF2B5EF4-FFF2-40B4-BE49-F238E27FC236}">
                <a16:creationId xmlns:a16="http://schemas.microsoft.com/office/drawing/2014/main" id="{461FF9D5-C80A-4FCC-A3DC-E3F4A61DB388}"/>
              </a:ext>
            </a:extLst>
          </p:cNvPr>
          <p:cNvSpPr txBox="1"/>
          <p:nvPr/>
        </p:nvSpPr>
        <p:spPr>
          <a:xfrm>
            <a:off x="823469" y="1942661"/>
            <a:ext cx="5402519" cy="785330"/>
          </a:xfrm>
          <a:prstGeom prst="rect">
            <a:avLst/>
          </a:prstGeom>
        </p:spPr>
        <p:txBody>
          <a:bodyPr vert="horz" wrap="square" lIns="0" tIns="13195" rIns="0" bIns="0" rtlCol="0">
            <a:spAutoFit/>
          </a:bodyPr>
          <a:lstStyle/>
          <a:p>
            <a:pPr marL="12495" marR="5277">
              <a:lnSpc>
                <a:spcPts val="1259"/>
              </a:lnSpc>
              <a:spcBef>
                <a:spcPts val="945"/>
              </a:spcBef>
              <a:buClr>
                <a:srgbClr val="252C69"/>
              </a:buClr>
            </a:pPr>
            <a:r>
              <a:rPr sz="980" err="1">
                <a:solidFill>
                  <a:srgbClr val="6D6E71"/>
                </a:solidFill>
                <a:latin typeface="Roboto"/>
                <a:cs typeface="Roboto"/>
              </a:rPr>
              <a:t>Команда</a:t>
            </a:r>
            <a:r>
              <a:rPr sz="980">
                <a:solidFill>
                  <a:srgbClr val="6D6E71"/>
                </a:solidFill>
                <a:latin typeface="Roboto"/>
                <a:cs typeface="Roboto"/>
              </a:rPr>
              <a:t> </a:t>
            </a:r>
            <a:r>
              <a:rPr sz="980" err="1">
                <a:solidFill>
                  <a:srgbClr val="6D6E71"/>
                </a:solidFill>
                <a:latin typeface="Roboto"/>
                <a:cs typeface="Roboto"/>
              </a:rPr>
              <a:t>первого</a:t>
            </a:r>
            <a:r>
              <a:rPr sz="980">
                <a:solidFill>
                  <a:srgbClr val="6D6E71"/>
                </a:solidFill>
                <a:latin typeface="Roboto"/>
                <a:cs typeface="Roboto"/>
              </a:rPr>
              <a:t> </a:t>
            </a:r>
            <a:r>
              <a:rPr sz="980" err="1">
                <a:solidFill>
                  <a:srgbClr val="6D6E71"/>
                </a:solidFill>
                <a:latin typeface="Roboto"/>
                <a:cs typeface="Roboto"/>
              </a:rPr>
              <a:t>уровня</a:t>
            </a:r>
            <a:r>
              <a:rPr sz="980">
                <a:solidFill>
                  <a:srgbClr val="6D6E71"/>
                </a:solidFill>
                <a:latin typeface="Roboto"/>
                <a:cs typeface="Roboto"/>
              </a:rPr>
              <a:t> </a:t>
            </a:r>
            <a:r>
              <a:rPr sz="980" err="1">
                <a:solidFill>
                  <a:srgbClr val="6D6E71"/>
                </a:solidFill>
                <a:latin typeface="Roboto"/>
                <a:cs typeface="Roboto"/>
              </a:rPr>
              <a:t>является</a:t>
            </a:r>
            <a:r>
              <a:rPr sz="980">
                <a:solidFill>
                  <a:srgbClr val="6D6E71"/>
                </a:solidFill>
                <a:latin typeface="Roboto"/>
                <a:cs typeface="Roboto"/>
              </a:rPr>
              <a:t> </a:t>
            </a:r>
            <a:r>
              <a:rPr sz="980" err="1">
                <a:solidFill>
                  <a:srgbClr val="6D6E71"/>
                </a:solidFill>
                <a:latin typeface="Roboto"/>
                <a:cs typeface="Roboto"/>
              </a:rPr>
              <a:t>драйвером</a:t>
            </a:r>
            <a:r>
              <a:rPr sz="980">
                <a:solidFill>
                  <a:srgbClr val="6D6E71"/>
                </a:solidFill>
                <a:latin typeface="Roboto"/>
                <a:cs typeface="Roboto"/>
              </a:rPr>
              <a:t>, </a:t>
            </a:r>
            <a:r>
              <a:rPr sz="980" err="1">
                <a:solidFill>
                  <a:srgbClr val="6D6E71"/>
                </a:solidFill>
                <a:latin typeface="Roboto"/>
                <a:cs typeface="Roboto"/>
              </a:rPr>
              <a:t>определяет</a:t>
            </a:r>
            <a:r>
              <a:rPr sz="980">
                <a:solidFill>
                  <a:srgbClr val="6D6E71"/>
                </a:solidFill>
                <a:latin typeface="Roboto"/>
                <a:cs typeface="Roboto"/>
              </a:rPr>
              <a:t> </a:t>
            </a:r>
            <a:r>
              <a:rPr sz="980" err="1">
                <a:solidFill>
                  <a:srgbClr val="6D6E71"/>
                </a:solidFill>
                <a:latin typeface="Roboto"/>
                <a:cs typeface="Roboto"/>
              </a:rPr>
              <a:t>цели</a:t>
            </a:r>
            <a:r>
              <a:rPr sz="980">
                <a:solidFill>
                  <a:srgbClr val="6D6E71"/>
                </a:solidFill>
                <a:latin typeface="Roboto"/>
                <a:cs typeface="Roboto"/>
              </a:rPr>
              <a:t>, </a:t>
            </a:r>
            <a:r>
              <a:rPr sz="980" err="1">
                <a:solidFill>
                  <a:srgbClr val="6D6E71"/>
                </a:solidFill>
                <a:latin typeface="Roboto"/>
                <a:cs typeface="Roboto"/>
              </a:rPr>
              <a:t>задачи</a:t>
            </a:r>
            <a:r>
              <a:rPr sz="980">
                <a:solidFill>
                  <a:srgbClr val="6D6E71"/>
                </a:solidFill>
                <a:latin typeface="Roboto"/>
                <a:cs typeface="Roboto"/>
              </a:rPr>
              <a:t> и КПЭ</a:t>
            </a:r>
            <a:r>
              <a:rPr lang="ru-RU" sz="980">
                <a:solidFill>
                  <a:srgbClr val="6D6E71"/>
                </a:solidFill>
                <a:latin typeface="Roboto"/>
                <a:cs typeface="Roboto"/>
              </a:rPr>
              <a:t> </a:t>
            </a:r>
            <a:r>
              <a:rPr sz="980" err="1">
                <a:solidFill>
                  <a:srgbClr val="6D6E71"/>
                </a:solidFill>
                <a:latin typeface="Roboto"/>
                <a:cs typeface="Roboto"/>
              </a:rPr>
              <a:t>трансформации</a:t>
            </a:r>
            <a:r>
              <a:rPr sz="980">
                <a:solidFill>
                  <a:srgbClr val="6D6E71"/>
                </a:solidFill>
                <a:latin typeface="Roboto"/>
                <a:cs typeface="Roboto"/>
              </a:rPr>
              <a:t>, </a:t>
            </a:r>
            <a:r>
              <a:rPr sz="980" err="1">
                <a:solidFill>
                  <a:srgbClr val="6D6E71"/>
                </a:solidFill>
                <a:latin typeface="Roboto"/>
                <a:cs typeface="Roboto"/>
              </a:rPr>
              <a:t>целевую</a:t>
            </a:r>
            <a:r>
              <a:rPr sz="980">
                <a:solidFill>
                  <a:srgbClr val="6D6E71"/>
                </a:solidFill>
                <a:latin typeface="Roboto"/>
                <a:cs typeface="Roboto"/>
              </a:rPr>
              <a:t> </a:t>
            </a:r>
            <a:r>
              <a:rPr sz="980" err="1">
                <a:solidFill>
                  <a:srgbClr val="6D6E71"/>
                </a:solidFill>
                <a:latin typeface="Roboto"/>
                <a:cs typeface="Roboto"/>
              </a:rPr>
              <a:t>оргмодель</a:t>
            </a:r>
            <a:r>
              <a:rPr sz="980">
                <a:solidFill>
                  <a:srgbClr val="6D6E71"/>
                </a:solidFill>
                <a:latin typeface="Roboto"/>
                <a:cs typeface="Roboto"/>
              </a:rPr>
              <a:t>.</a:t>
            </a:r>
            <a:endParaRPr sz="980">
              <a:latin typeface="Roboto"/>
              <a:cs typeface="Roboto"/>
            </a:endParaRPr>
          </a:p>
          <a:p>
            <a:pPr marL="12495" marR="5277">
              <a:lnSpc>
                <a:spcPts val="1259"/>
              </a:lnSpc>
              <a:spcBef>
                <a:spcPts val="945"/>
              </a:spcBef>
              <a:buClr>
                <a:srgbClr val="252C69"/>
              </a:buClr>
            </a:pPr>
            <a:r>
              <a:rPr sz="980" err="1">
                <a:solidFill>
                  <a:srgbClr val="6D6E71"/>
                </a:solidFill>
                <a:latin typeface="Roboto"/>
                <a:cs typeface="Roboto"/>
              </a:rPr>
              <a:t>Все</a:t>
            </a:r>
            <a:r>
              <a:rPr sz="980">
                <a:solidFill>
                  <a:srgbClr val="6D6E71"/>
                </a:solidFill>
                <a:latin typeface="Roboto"/>
                <a:cs typeface="Roboto"/>
              </a:rPr>
              <a:t> </a:t>
            </a:r>
            <a:r>
              <a:rPr sz="980" err="1">
                <a:solidFill>
                  <a:srgbClr val="6D6E71"/>
                </a:solidFill>
                <a:latin typeface="Roboto"/>
                <a:cs typeface="Roboto"/>
              </a:rPr>
              <a:t>ключевые</a:t>
            </a:r>
            <a:r>
              <a:rPr sz="980">
                <a:solidFill>
                  <a:srgbClr val="6D6E71"/>
                </a:solidFill>
                <a:latin typeface="Roboto"/>
                <a:cs typeface="Roboto"/>
              </a:rPr>
              <a:t> </a:t>
            </a:r>
            <a:r>
              <a:rPr sz="980" err="1">
                <a:solidFill>
                  <a:srgbClr val="6D6E71"/>
                </a:solidFill>
                <a:latin typeface="Roboto"/>
                <a:cs typeface="Roboto"/>
              </a:rPr>
              <a:t>решения</a:t>
            </a:r>
            <a:r>
              <a:rPr sz="980">
                <a:solidFill>
                  <a:srgbClr val="6D6E71"/>
                </a:solidFill>
                <a:latin typeface="Roboto"/>
                <a:cs typeface="Roboto"/>
              </a:rPr>
              <a:t> </a:t>
            </a:r>
            <a:r>
              <a:rPr sz="980" err="1">
                <a:solidFill>
                  <a:srgbClr val="6D6E71"/>
                </a:solidFill>
                <a:latin typeface="Roboto"/>
                <a:cs typeface="Roboto"/>
              </a:rPr>
              <a:t>рассматриваются</a:t>
            </a:r>
            <a:r>
              <a:rPr sz="980">
                <a:solidFill>
                  <a:srgbClr val="6D6E71"/>
                </a:solidFill>
                <a:latin typeface="Roboto"/>
                <a:cs typeface="Roboto"/>
              </a:rPr>
              <a:t> и </a:t>
            </a:r>
            <a:r>
              <a:rPr sz="980" err="1">
                <a:solidFill>
                  <a:srgbClr val="6D6E71"/>
                </a:solidFill>
                <a:latin typeface="Roboto"/>
                <a:cs typeface="Roboto"/>
              </a:rPr>
              <a:t>принимаются</a:t>
            </a:r>
            <a:r>
              <a:rPr lang="ru-RU" sz="980">
                <a:solidFill>
                  <a:srgbClr val="6D6E71"/>
                </a:solidFill>
                <a:latin typeface="Roboto"/>
                <a:cs typeface="Roboto"/>
              </a:rPr>
              <a:t> </a:t>
            </a:r>
            <a:r>
              <a:rPr sz="980">
                <a:solidFill>
                  <a:srgbClr val="6D6E71"/>
                </a:solidFill>
                <a:latin typeface="Roboto"/>
                <a:cs typeface="Roboto"/>
              </a:rPr>
              <a:t> </a:t>
            </a:r>
            <a:r>
              <a:rPr sz="980" err="1">
                <a:solidFill>
                  <a:srgbClr val="6D6E71"/>
                </a:solidFill>
                <a:latin typeface="Roboto"/>
                <a:cs typeface="Roboto"/>
              </a:rPr>
              <a:t>совместно</a:t>
            </a:r>
            <a:r>
              <a:rPr sz="980">
                <a:solidFill>
                  <a:srgbClr val="6D6E71"/>
                </a:solidFill>
                <a:latin typeface="Roboto"/>
                <a:cs typeface="Roboto"/>
              </a:rPr>
              <a:t> </a:t>
            </a:r>
            <a:r>
              <a:rPr sz="980" err="1">
                <a:solidFill>
                  <a:srgbClr val="6D6E71"/>
                </a:solidFill>
                <a:latin typeface="Roboto"/>
                <a:cs typeface="Roboto"/>
              </a:rPr>
              <a:t>на</a:t>
            </a:r>
            <a:r>
              <a:rPr lang="ru-RU" sz="980">
                <a:solidFill>
                  <a:srgbClr val="6D6E71"/>
                </a:solidFill>
                <a:latin typeface="Roboto"/>
                <a:cs typeface="Roboto"/>
              </a:rPr>
              <a:t> </a:t>
            </a:r>
            <a:r>
              <a:rPr sz="980" err="1">
                <a:solidFill>
                  <a:srgbClr val="6D6E71"/>
                </a:solidFill>
                <a:latin typeface="Roboto"/>
                <a:cs typeface="Roboto"/>
              </a:rPr>
              <a:t>модерируемых</a:t>
            </a:r>
            <a:r>
              <a:rPr sz="980">
                <a:solidFill>
                  <a:srgbClr val="6D6E71"/>
                </a:solidFill>
                <a:latin typeface="Roboto"/>
                <a:cs typeface="Roboto"/>
              </a:rPr>
              <a:t> </a:t>
            </a:r>
            <a:r>
              <a:rPr sz="980" err="1">
                <a:solidFill>
                  <a:srgbClr val="6D6E71"/>
                </a:solidFill>
                <a:latin typeface="Roboto"/>
                <a:cs typeface="Roboto"/>
              </a:rPr>
              <a:t>сессиях</a:t>
            </a:r>
            <a:r>
              <a:rPr sz="980">
                <a:solidFill>
                  <a:srgbClr val="6D6E71"/>
                </a:solidFill>
                <a:latin typeface="Roboto"/>
                <a:cs typeface="Roboto"/>
              </a:rPr>
              <a:t>, </a:t>
            </a:r>
            <a:r>
              <a:rPr sz="980" err="1">
                <a:solidFill>
                  <a:srgbClr val="6D6E71"/>
                </a:solidFill>
                <a:latin typeface="Roboto"/>
                <a:cs typeface="Roboto"/>
              </a:rPr>
              <a:t>однозначно</a:t>
            </a:r>
            <a:r>
              <a:rPr sz="980">
                <a:solidFill>
                  <a:srgbClr val="6D6E71"/>
                </a:solidFill>
                <a:latin typeface="Roboto"/>
                <a:cs typeface="Roboto"/>
              </a:rPr>
              <a:t> </a:t>
            </a:r>
            <a:r>
              <a:rPr sz="980" err="1">
                <a:solidFill>
                  <a:srgbClr val="6D6E71"/>
                </a:solidFill>
                <a:latin typeface="Roboto"/>
                <a:cs typeface="Roboto"/>
              </a:rPr>
              <a:t>определяются</a:t>
            </a:r>
            <a:r>
              <a:rPr sz="980">
                <a:solidFill>
                  <a:srgbClr val="6D6E71"/>
                </a:solidFill>
                <a:latin typeface="Roboto"/>
                <a:cs typeface="Roboto"/>
              </a:rPr>
              <a:t> и </a:t>
            </a:r>
            <a:r>
              <a:rPr sz="980" err="1">
                <a:solidFill>
                  <a:srgbClr val="6D6E71"/>
                </a:solidFill>
                <a:latin typeface="Roboto"/>
                <a:cs typeface="Roboto"/>
              </a:rPr>
              <a:t>закрепляются</a:t>
            </a:r>
            <a:r>
              <a:rPr sz="980">
                <a:solidFill>
                  <a:srgbClr val="6D6E71"/>
                </a:solidFill>
                <a:latin typeface="Roboto"/>
                <a:cs typeface="Roboto"/>
              </a:rPr>
              <a:t> </a:t>
            </a:r>
            <a:r>
              <a:rPr sz="980" err="1">
                <a:solidFill>
                  <a:srgbClr val="6D6E71"/>
                </a:solidFill>
                <a:latin typeface="Roboto"/>
                <a:cs typeface="Roboto"/>
              </a:rPr>
              <a:t>ответственность</a:t>
            </a:r>
            <a:r>
              <a:rPr sz="980">
                <a:solidFill>
                  <a:srgbClr val="6D6E71"/>
                </a:solidFill>
                <a:latin typeface="Roboto"/>
                <a:cs typeface="Roboto"/>
              </a:rPr>
              <a:t> и </a:t>
            </a:r>
            <a:r>
              <a:rPr sz="980" err="1">
                <a:solidFill>
                  <a:srgbClr val="6D6E71"/>
                </a:solidFill>
                <a:latin typeface="Roboto"/>
                <a:cs typeface="Roboto"/>
              </a:rPr>
              <a:t>полномочия</a:t>
            </a:r>
            <a:r>
              <a:rPr sz="980">
                <a:solidFill>
                  <a:srgbClr val="6D6E71"/>
                </a:solidFill>
                <a:latin typeface="Roboto"/>
                <a:cs typeface="Roboto"/>
              </a:rPr>
              <a:t>.</a:t>
            </a:r>
            <a:endParaRPr sz="980">
              <a:latin typeface="Roboto"/>
              <a:cs typeface="Roboto"/>
            </a:endParaRPr>
          </a:p>
        </p:txBody>
      </p:sp>
      <p:sp>
        <p:nvSpPr>
          <p:cNvPr id="16" name="object 5">
            <a:extLst>
              <a:ext uri="{FF2B5EF4-FFF2-40B4-BE49-F238E27FC236}">
                <a16:creationId xmlns:a16="http://schemas.microsoft.com/office/drawing/2014/main" id="{26E9946B-22AC-4132-BBD8-6AD512A015A2}"/>
              </a:ext>
            </a:extLst>
          </p:cNvPr>
          <p:cNvSpPr/>
          <p:nvPr/>
        </p:nvSpPr>
        <p:spPr>
          <a:xfrm flipH="1">
            <a:off x="672533" y="2260347"/>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7" name="object 4">
            <a:extLst>
              <a:ext uri="{FF2B5EF4-FFF2-40B4-BE49-F238E27FC236}">
                <a16:creationId xmlns:a16="http://schemas.microsoft.com/office/drawing/2014/main" id="{53E65B40-2493-42DC-BDB2-C78B51625B42}"/>
              </a:ext>
            </a:extLst>
          </p:cNvPr>
          <p:cNvSpPr txBox="1"/>
          <p:nvPr/>
        </p:nvSpPr>
        <p:spPr>
          <a:xfrm>
            <a:off x="833058" y="2915586"/>
            <a:ext cx="5467333" cy="169777"/>
          </a:xfrm>
          <a:prstGeom prst="rect">
            <a:avLst/>
          </a:prstGeom>
        </p:spPr>
        <p:txBody>
          <a:bodyPr vert="horz" wrap="square" lIns="0" tIns="13195" rIns="0" bIns="0" rtlCol="0">
            <a:spAutoFit/>
          </a:bodyPr>
          <a:lstStyle/>
          <a:p>
            <a:pPr marL="12495">
              <a:lnSpc>
                <a:spcPts val="1259"/>
              </a:lnSpc>
              <a:spcBef>
                <a:spcPts val="104"/>
              </a:spcBef>
              <a:buClr>
                <a:srgbClr val="252C69"/>
              </a:buClr>
            </a:pPr>
            <a:r>
              <a:rPr lang="ru-RU" sz="980">
                <a:solidFill>
                  <a:srgbClr val="6D6E71"/>
                </a:solidFill>
                <a:latin typeface="Roboto"/>
                <a:cs typeface="Roboto"/>
              </a:rPr>
              <a:t>Внедрение новой </a:t>
            </a:r>
            <a:r>
              <a:rPr lang="ru-RU" sz="980" err="1">
                <a:solidFill>
                  <a:srgbClr val="6D6E71"/>
                </a:solidFill>
                <a:latin typeface="Roboto"/>
                <a:cs typeface="Roboto"/>
              </a:rPr>
              <a:t>оргмодели</a:t>
            </a:r>
            <a:r>
              <a:rPr lang="ru-RU" sz="980">
                <a:solidFill>
                  <a:srgbClr val="6D6E71"/>
                </a:solidFill>
                <a:latin typeface="Roboto"/>
                <a:cs typeface="Roboto"/>
              </a:rPr>
              <a:t> производится комплексно:</a:t>
            </a:r>
            <a:endParaRPr lang="ru-RU" sz="980">
              <a:latin typeface="Roboto"/>
              <a:cs typeface="Roboto"/>
            </a:endParaRPr>
          </a:p>
        </p:txBody>
      </p:sp>
      <p:grpSp>
        <p:nvGrpSpPr>
          <p:cNvPr id="18" name="Группа 17">
            <a:extLst>
              <a:ext uri="{FF2B5EF4-FFF2-40B4-BE49-F238E27FC236}">
                <a16:creationId xmlns:a16="http://schemas.microsoft.com/office/drawing/2014/main" id="{E4258A9D-3A87-421F-BF2C-9F8900275C26}"/>
              </a:ext>
            </a:extLst>
          </p:cNvPr>
          <p:cNvGrpSpPr/>
          <p:nvPr/>
        </p:nvGrpSpPr>
        <p:grpSpPr>
          <a:xfrm>
            <a:off x="323111" y="2984137"/>
            <a:ext cx="255244" cy="181832"/>
            <a:chOff x="10502900" y="3167063"/>
            <a:chExt cx="717550" cy="511176"/>
          </a:xfrm>
          <a:solidFill>
            <a:srgbClr val="252C69"/>
          </a:solidFill>
        </p:grpSpPr>
        <p:sp>
          <p:nvSpPr>
            <p:cNvPr id="19" name="Freeform 214">
              <a:extLst>
                <a:ext uri="{FF2B5EF4-FFF2-40B4-BE49-F238E27FC236}">
                  <a16:creationId xmlns:a16="http://schemas.microsoft.com/office/drawing/2014/main" id="{21F41CD6-6374-4F6D-91DC-C51B6566AED0}"/>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0" name="Freeform 215">
              <a:extLst>
                <a:ext uri="{FF2B5EF4-FFF2-40B4-BE49-F238E27FC236}">
                  <a16:creationId xmlns:a16="http://schemas.microsoft.com/office/drawing/2014/main" id="{4F913012-CD2A-4A16-BEE9-1D5A9284C936}"/>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1" name="Freeform 216">
              <a:extLst>
                <a:ext uri="{FF2B5EF4-FFF2-40B4-BE49-F238E27FC236}">
                  <a16:creationId xmlns:a16="http://schemas.microsoft.com/office/drawing/2014/main" id="{5D82BD44-3AD4-495A-BE25-293FBBDF7FF7}"/>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2" name="object 5">
            <a:extLst>
              <a:ext uri="{FF2B5EF4-FFF2-40B4-BE49-F238E27FC236}">
                <a16:creationId xmlns:a16="http://schemas.microsoft.com/office/drawing/2014/main" id="{EA85B048-8A3A-4621-B983-DEF4624021FD}"/>
              </a:ext>
            </a:extLst>
          </p:cNvPr>
          <p:cNvSpPr/>
          <p:nvPr/>
        </p:nvSpPr>
        <p:spPr>
          <a:xfrm flipH="1">
            <a:off x="672056" y="2922980"/>
            <a:ext cx="72456" cy="51891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31" name="object 14">
            <a:extLst>
              <a:ext uri="{FF2B5EF4-FFF2-40B4-BE49-F238E27FC236}">
                <a16:creationId xmlns:a16="http://schemas.microsoft.com/office/drawing/2014/main" id="{DB3B321B-21A8-4535-9496-90257CC196C9}"/>
              </a:ext>
            </a:extLst>
          </p:cNvPr>
          <p:cNvSpPr txBox="1"/>
          <p:nvPr/>
        </p:nvSpPr>
        <p:spPr>
          <a:xfrm>
            <a:off x="924712" y="3205723"/>
            <a:ext cx="1285202" cy="476515"/>
          </a:xfrm>
          <a:prstGeom prst="rect">
            <a:avLst/>
          </a:prstGeom>
        </p:spPr>
        <p:txBody>
          <a:bodyPr vert="horz" wrap="square" lIns="0" tIns="23089" rIns="0" bIns="0" rtlCol="0">
            <a:spAutoFit/>
          </a:bodyPr>
          <a:lstStyle/>
          <a:p>
            <a:pPr marL="13194" marR="5277">
              <a:lnSpc>
                <a:spcPts val="1200"/>
              </a:lnSpc>
              <a:spcBef>
                <a:spcPts val="181"/>
              </a:spcBef>
            </a:pPr>
            <a:r>
              <a:rPr sz="935">
                <a:solidFill>
                  <a:srgbClr val="252C69"/>
                </a:solidFill>
                <a:latin typeface="Roboto" panose="02000000000000000000" pitchFamily="2" charset="0"/>
                <a:ea typeface="Roboto" panose="02000000000000000000" pitchFamily="2" charset="0"/>
                <a:cs typeface="Roboto" panose="02000000000000000000" pitchFamily="2" charset="0"/>
              </a:rPr>
              <a:t>БИЗНЕС-ПРОЦЕССЫ/  ПРОДУКТЫ/  ПРОЕКТЫ</a:t>
            </a:r>
            <a:endParaRPr sz="935">
              <a:latin typeface="Roboto" panose="02000000000000000000" pitchFamily="2" charset="0"/>
              <a:ea typeface="Roboto" panose="02000000000000000000" pitchFamily="2" charset="0"/>
              <a:cs typeface="Roboto" panose="02000000000000000000" pitchFamily="2" charset="0"/>
            </a:endParaRPr>
          </a:p>
        </p:txBody>
      </p:sp>
      <p:sp>
        <p:nvSpPr>
          <p:cNvPr id="32" name="object 15">
            <a:extLst>
              <a:ext uri="{FF2B5EF4-FFF2-40B4-BE49-F238E27FC236}">
                <a16:creationId xmlns:a16="http://schemas.microsoft.com/office/drawing/2014/main" id="{2F662672-E0FB-4A92-97AA-B79D9989D0C8}"/>
              </a:ext>
            </a:extLst>
          </p:cNvPr>
          <p:cNvSpPr txBox="1"/>
          <p:nvPr/>
        </p:nvSpPr>
        <p:spPr>
          <a:xfrm>
            <a:off x="2776609" y="3205723"/>
            <a:ext cx="1270714" cy="476515"/>
          </a:xfrm>
          <a:prstGeom prst="rect">
            <a:avLst/>
          </a:prstGeom>
        </p:spPr>
        <p:txBody>
          <a:bodyPr vert="horz" wrap="square" lIns="0" tIns="23089" rIns="0" bIns="0" rtlCol="0">
            <a:spAutoFit/>
          </a:bodyPr>
          <a:lstStyle/>
          <a:p>
            <a:pPr marL="13194" marR="5277">
              <a:lnSpc>
                <a:spcPts val="1200"/>
              </a:lnSpc>
              <a:spcBef>
                <a:spcPts val="181"/>
              </a:spcBef>
            </a:pPr>
            <a:r>
              <a:rPr sz="935">
                <a:solidFill>
                  <a:srgbClr val="252C69"/>
                </a:solidFill>
                <a:latin typeface="Roboto" panose="02000000000000000000" pitchFamily="2" charset="0"/>
                <a:ea typeface="Roboto" panose="02000000000000000000" pitchFamily="2" charset="0"/>
                <a:cs typeface="Roboto" panose="02000000000000000000" pitchFamily="2" charset="0"/>
              </a:rPr>
              <a:t>ОРГАНИЗАЦИОННАЯ  СТРУКТУРА</a:t>
            </a:r>
            <a:endParaRPr sz="935">
              <a:latin typeface="Roboto" panose="02000000000000000000" pitchFamily="2" charset="0"/>
              <a:ea typeface="Roboto" panose="02000000000000000000" pitchFamily="2" charset="0"/>
              <a:cs typeface="Roboto" panose="02000000000000000000" pitchFamily="2" charset="0"/>
            </a:endParaRPr>
          </a:p>
          <a:p>
            <a:pPr marL="13194">
              <a:lnSpc>
                <a:spcPts val="1200"/>
              </a:lnSpc>
            </a:pPr>
            <a:r>
              <a:rPr sz="935">
                <a:solidFill>
                  <a:srgbClr val="252C69"/>
                </a:solidFill>
                <a:latin typeface="Roboto" panose="02000000000000000000" pitchFamily="2" charset="0"/>
                <a:ea typeface="Roboto" panose="02000000000000000000" pitchFamily="2" charset="0"/>
                <a:cs typeface="Roboto" panose="02000000000000000000" pitchFamily="2" charset="0"/>
              </a:rPr>
              <a:t>И РОЛЕВАЯ МОДЕЛЬ</a:t>
            </a:r>
            <a:endParaRPr sz="935">
              <a:latin typeface="Roboto" panose="02000000000000000000" pitchFamily="2" charset="0"/>
              <a:ea typeface="Roboto" panose="02000000000000000000" pitchFamily="2" charset="0"/>
              <a:cs typeface="Roboto" panose="02000000000000000000" pitchFamily="2" charset="0"/>
            </a:endParaRPr>
          </a:p>
        </p:txBody>
      </p:sp>
      <p:sp>
        <p:nvSpPr>
          <p:cNvPr id="33" name="object 16">
            <a:extLst>
              <a:ext uri="{FF2B5EF4-FFF2-40B4-BE49-F238E27FC236}">
                <a16:creationId xmlns:a16="http://schemas.microsoft.com/office/drawing/2014/main" id="{45BAC860-9F2B-4311-88BE-4CADBD3A02D2}"/>
              </a:ext>
            </a:extLst>
          </p:cNvPr>
          <p:cNvSpPr txBox="1"/>
          <p:nvPr/>
        </p:nvSpPr>
        <p:spPr>
          <a:xfrm>
            <a:off x="4720277" y="3205723"/>
            <a:ext cx="882325" cy="322627"/>
          </a:xfrm>
          <a:prstGeom prst="rect">
            <a:avLst/>
          </a:prstGeom>
        </p:spPr>
        <p:txBody>
          <a:bodyPr vert="horz" wrap="square" lIns="0" tIns="23089" rIns="0" bIns="0" rtlCol="0">
            <a:spAutoFit/>
          </a:bodyPr>
          <a:lstStyle/>
          <a:p>
            <a:pPr marL="13194" marR="5277">
              <a:lnSpc>
                <a:spcPts val="1200"/>
              </a:lnSpc>
              <a:spcBef>
                <a:spcPts val="181"/>
              </a:spcBef>
            </a:pPr>
            <a:r>
              <a:rPr sz="935">
                <a:solidFill>
                  <a:srgbClr val="252C69"/>
                </a:solidFill>
                <a:latin typeface="Roboto" panose="02000000000000000000" pitchFamily="2" charset="0"/>
                <a:ea typeface="Roboto" panose="02000000000000000000" pitchFamily="2" charset="0"/>
                <a:cs typeface="Roboto" panose="02000000000000000000" pitchFamily="2" charset="0"/>
              </a:rPr>
              <a:t>ТРЕБОВАНИЯ  </a:t>
            </a:r>
            <a:br>
              <a:rPr lang="ru-RU" sz="935">
                <a:solidFill>
                  <a:srgbClr val="252C69"/>
                </a:solidFill>
                <a:latin typeface="Roboto" panose="02000000000000000000" pitchFamily="2" charset="0"/>
                <a:ea typeface="Roboto" panose="02000000000000000000" pitchFamily="2" charset="0"/>
                <a:cs typeface="Roboto" panose="02000000000000000000" pitchFamily="2" charset="0"/>
              </a:rPr>
            </a:br>
            <a:r>
              <a:rPr sz="935">
                <a:solidFill>
                  <a:srgbClr val="252C69"/>
                </a:solidFill>
                <a:latin typeface="Roboto" panose="02000000000000000000" pitchFamily="2" charset="0"/>
                <a:ea typeface="Roboto" panose="02000000000000000000" pitchFamily="2" charset="0"/>
                <a:cs typeface="Roboto" panose="02000000000000000000" pitchFamily="2" charset="0"/>
              </a:rPr>
              <a:t>К ПЕРСОНАЛУ</a:t>
            </a:r>
            <a:endParaRPr sz="935">
              <a:latin typeface="Roboto" panose="02000000000000000000" pitchFamily="2" charset="0"/>
              <a:ea typeface="Roboto" panose="02000000000000000000" pitchFamily="2" charset="0"/>
              <a:cs typeface="Roboto" panose="02000000000000000000" pitchFamily="2" charset="0"/>
            </a:endParaRPr>
          </a:p>
        </p:txBody>
      </p:sp>
      <p:sp>
        <p:nvSpPr>
          <p:cNvPr id="34" name="object 22">
            <a:extLst>
              <a:ext uri="{FF2B5EF4-FFF2-40B4-BE49-F238E27FC236}">
                <a16:creationId xmlns:a16="http://schemas.microsoft.com/office/drawing/2014/main" id="{7574F957-F142-45C2-81AE-0479D529307A}"/>
              </a:ext>
            </a:extLst>
          </p:cNvPr>
          <p:cNvSpPr/>
          <p:nvPr/>
        </p:nvSpPr>
        <p:spPr>
          <a:xfrm>
            <a:off x="2437678" y="3237998"/>
            <a:ext cx="135902" cy="361521"/>
          </a:xfrm>
          <a:custGeom>
            <a:avLst/>
            <a:gdLst/>
            <a:ahLst/>
            <a:cxnLst/>
            <a:rect l="l" t="t" r="r" b="b"/>
            <a:pathLst>
              <a:path w="125094"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12700">
            <a:solidFill>
              <a:srgbClr val="252C69"/>
            </a:solidFill>
          </a:ln>
        </p:spPr>
        <p:txBody>
          <a:bodyPr wrap="square" lIns="0" tIns="0" rIns="0" bIns="0" rtlCol="0"/>
          <a:lstStyle/>
          <a:p>
            <a:endParaRPr sz="1870"/>
          </a:p>
        </p:txBody>
      </p:sp>
      <p:sp>
        <p:nvSpPr>
          <p:cNvPr id="35" name="object 23">
            <a:extLst>
              <a:ext uri="{FF2B5EF4-FFF2-40B4-BE49-F238E27FC236}">
                <a16:creationId xmlns:a16="http://schemas.microsoft.com/office/drawing/2014/main" id="{EB761F35-EE8C-465E-AB87-75CD00D75B2D}"/>
              </a:ext>
            </a:extLst>
          </p:cNvPr>
          <p:cNvSpPr/>
          <p:nvPr/>
        </p:nvSpPr>
        <p:spPr>
          <a:xfrm>
            <a:off x="2390114" y="3237998"/>
            <a:ext cx="135902" cy="361521"/>
          </a:xfrm>
          <a:custGeom>
            <a:avLst/>
            <a:gdLst/>
            <a:ahLst/>
            <a:cxnLst/>
            <a:rect l="l" t="t" r="r" b="b"/>
            <a:pathLst>
              <a:path w="125094"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12700">
            <a:solidFill>
              <a:srgbClr val="252C69"/>
            </a:solidFill>
          </a:ln>
        </p:spPr>
        <p:txBody>
          <a:bodyPr wrap="square" lIns="0" tIns="0" rIns="0" bIns="0" rtlCol="0"/>
          <a:lstStyle/>
          <a:p>
            <a:endParaRPr sz="1870"/>
          </a:p>
        </p:txBody>
      </p:sp>
      <p:sp>
        <p:nvSpPr>
          <p:cNvPr id="36" name="object 24">
            <a:extLst>
              <a:ext uri="{FF2B5EF4-FFF2-40B4-BE49-F238E27FC236}">
                <a16:creationId xmlns:a16="http://schemas.microsoft.com/office/drawing/2014/main" id="{8D445D91-D5DE-452B-B049-50C0C6333D7C}"/>
              </a:ext>
            </a:extLst>
          </p:cNvPr>
          <p:cNvSpPr/>
          <p:nvPr/>
        </p:nvSpPr>
        <p:spPr>
          <a:xfrm>
            <a:off x="4297917" y="3237998"/>
            <a:ext cx="135902" cy="361521"/>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12700">
            <a:solidFill>
              <a:srgbClr val="252C69"/>
            </a:solidFill>
          </a:ln>
        </p:spPr>
        <p:txBody>
          <a:bodyPr wrap="square" lIns="0" tIns="0" rIns="0" bIns="0" rtlCol="0"/>
          <a:lstStyle/>
          <a:p>
            <a:endParaRPr sz="1870"/>
          </a:p>
        </p:txBody>
      </p:sp>
      <p:sp>
        <p:nvSpPr>
          <p:cNvPr id="37" name="object 25">
            <a:extLst>
              <a:ext uri="{FF2B5EF4-FFF2-40B4-BE49-F238E27FC236}">
                <a16:creationId xmlns:a16="http://schemas.microsoft.com/office/drawing/2014/main" id="{0D530D4A-8AE4-4A06-B61A-9E3822741DCB}"/>
              </a:ext>
            </a:extLst>
          </p:cNvPr>
          <p:cNvSpPr/>
          <p:nvPr/>
        </p:nvSpPr>
        <p:spPr>
          <a:xfrm>
            <a:off x="4250352" y="3237998"/>
            <a:ext cx="135902" cy="361521"/>
          </a:xfrm>
          <a:custGeom>
            <a:avLst/>
            <a:gdLst/>
            <a:ahLst/>
            <a:cxnLst/>
            <a:rect l="l" t="t" r="r" b="b"/>
            <a:pathLst>
              <a:path w="125095" h="347980">
                <a:moveTo>
                  <a:pt x="0" y="347471"/>
                </a:moveTo>
                <a:lnTo>
                  <a:pt x="31137" y="303439"/>
                </a:lnTo>
                <a:lnTo>
                  <a:pt x="62274" y="259410"/>
                </a:lnTo>
                <a:lnTo>
                  <a:pt x="93411" y="215380"/>
                </a:lnTo>
                <a:lnTo>
                  <a:pt x="124548" y="171348"/>
                </a:lnTo>
                <a:lnTo>
                  <a:pt x="94345" y="128512"/>
                </a:lnTo>
                <a:lnTo>
                  <a:pt x="64141" y="85674"/>
                </a:lnTo>
                <a:lnTo>
                  <a:pt x="33937" y="42835"/>
                </a:lnTo>
                <a:lnTo>
                  <a:pt x="3733" y="0"/>
                </a:lnTo>
              </a:path>
            </a:pathLst>
          </a:custGeom>
          <a:ln w="12700">
            <a:solidFill>
              <a:srgbClr val="252C69"/>
            </a:solidFill>
          </a:ln>
        </p:spPr>
        <p:txBody>
          <a:bodyPr wrap="square" lIns="0" tIns="0" rIns="0" bIns="0" rtlCol="0"/>
          <a:lstStyle/>
          <a:p>
            <a:endParaRPr sz="1870"/>
          </a:p>
        </p:txBody>
      </p:sp>
      <p:sp>
        <p:nvSpPr>
          <p:cNvPr id="38" name="object 5">
            <a:extLst>
              <a:ext uri="{FF2B5EF4-FFF2-40B4-BE49-F238E27FC236}">
                <a16:creationId xmlns:a16="http://schemas.microsoft.com/office/drawing/2014/main" id="{85157A19-43F4-45BD-9F3A-FD7FF0C8F46A}"/>
              </a:ext>
            </a:extLst>
          </p:cNvPr>
          <p:cNvSpPr/>
          <p:nvPr/>
        </p:nvSpPr>
        <p:spPr>
          <a:xfrm flipH="1">
            <a:off x="672056" y="3171633"/>
            <a:ext cx="72456" cy="51891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40" name="Группа 39">
            <a:extLst>
              <a:ext uri="{FF2B5EF4-FFF2-40B4-BE49-F238E27FC236}">
                <a16:creationId xmlns:a16="http://schemas.microsoft.com/office/drawing/2014/main" id="{C1217296-60F7-4286-BB92-6C5C5698600C}"/>
              </a:ext>
            </a:extLst>
          </p:cNvPr>
          <p:cNvGrpSpPr/>
          <p:nvPr/>
        </p:nvGrpSpPr>
        <p:grpSpPr>
          <a:xfrm>
            <a:off x="325844" y="3932136"/>
            <a:ext cx="257575" cy="182323"/>
            <a:chOff x="4800554" y="930116"/>
            <a:chExt cx="327660" cy="231933"/>
          </a:xfrm>
          <a:solidFill>
            <a:srgbClr val="252C69"/>
          </a:solidFill>
        </p:grpSpPr>
        <p:sp>
          <p:nvSpPr>
            <p:cNvPr id="41" name="Полилиния: фигура 40">
              <a:extLst>
                <a:ext uri="{FF2B5EF4-FFF2-40B4-BE49-F238E27FC236}">
                  <a16:creationId xmlns:a16="http://schemas.microsoft.com/office/drawing/2014/main" id="{6060073D-046C-41FF-85AB-56EBEB74F2C3}"/>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2" name="Полилиния: фигура 41">
              <a:extLst>
                <a:ext uri="{FF2B5EF4-FFF2-40B4-BE49-F238E27FC236}">
                  <a16:creationId xmlns:a16="http://schemas.microsoft.com/office/drawing/2014/main" id="{343F9D75-9373-4BA1-9FB7-7C18B1E8F2A6}"/>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3" name="Полилиния: фигура 42">
              <a:extLst>
                <a:ext uri="{FF2B5EF4-FFF2-40B4-BE49-F238E27FC236}">
                  <a16:creationId xmlns:a16="http://schemas.microsoft.com/office/drawing/2014/main" id="{62C4B369-CF5D-4B00-A772-35F622E27225}"/>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4" name="Полилиния: фигура 43">
              <a:extLst>
                <a:ext uri="{FF2B5EF4-FFF2-40B4-BE49-F238E27FC236}">
                  <a16:creationId xmlns:a16="http://schemas.microsoft.com/office/drawing/2014/main" id="{97942633-D494-46DE-A387-3D29D9AE4993}"/>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5" name="Полилиния: фигура 44">
              <a:extLst>
                <a:ext uri="{FF2B5EF4-FFF2-40B4-BE49-F238E27FC236}">
                  <a16:creationId xmlns:a16="http://schemas.microsoft.com/office/drawing/2014/main" id="{0F52767A-442B-48D3-A884-27DAA91374DD}"/>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6" name="Полилиния: фигура 45">
              <a:extLst>
                <a:ext uri="{FF2B5EF4-FFF2-40B4-BE49-F238E27FC236}">
                  <a16:creationId xmlns:a16="http://schemas.microsoft.com/office/drawing/2014/main" id="{DC2B7936-B9FC-48EB-852E-6231901EF128}"/>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47" name="object 4">
            <a:extLst>
              <a:ext uri="{FF2B5EF4-FFF2-40B4-BE49-F238E27FC236}">
                <a16:creationId xmlns:a16="http://schemas.microsoft.com/office/drawing/2014/main" id="{D471C21B-F165-4C54-834B-4D0874D784A6}"/>
              </a:ext>
            </a:extLst>
          </p:cNvPr>
          <p:cNvSpPr txBox="1"/>
          <p:nvPr/>
        </p:nvSpPr>
        <p:spPr>
          <a:xfrm>
            <a:off x="822796" y="3863044"/>
            <a:ext cx="5443413" cy="336489"/>
          </a:xfrm>
          <a:prstGeom prst="rect">
            <a:avLst/>
          </a:prstGeom>
        </p:spPr>
        <p:txBody>
          <a:bodyPr vert="horz" wrap="square" lIns="0" tIns="13195" rIns="0" bIns="0" rtlCol="0">
            <a:spAutoFit/>
          </a:bodyPr>
          <a:lstStyle/>
          <a:p>
            <a:pPr marL="12495" marR="5277">
              <a:lnSpc>
                <a:spcPts val="1259"/>
              </a:lnSpc>
              <a:spcBef>
                <a:spcPts val="104"/>
              </a:spcBef>
              <a:buClr>
                <a:srgbClr val="252C69"/>
              </a:buClr>
            </a:pPr>
            <a:r>
              <a:rPr lang="ru-RU" sz="980">
                <a:solidFill>
                  <a:srgbClr val="747578"/>
                </a:solidFill>
                <a:latin typeface="Roboto"/>
                <a:cs typeface="Roboto"/>
              </a:rPr>
              <a:t>Коммуникационное сопровождение — важный элемент дорожной карты трансформации, который проходит по всему периметру компании.</a:t>
            </a:r>
          </a:p>
        </p:txBody>
      </p:sp>
      <p:sp>
        <p:nvSpPr>
          <p:cNvPr id="48" name="object 5">
            <a:extLst>
              <a:ext uri="{FF2B5EF4-FFF2-40B4-BE49-F238E27FC236}">
                <a16:creationId xmlns:a16="http://schemas.microsoft.com/office/drawing/2014/main" id="{8FB20DDE-6294-4D6B-808F-F95CE6966BF0}"/>
              </a:ext>
            </a:extLst>
          </p:cNvPr>
          <p:cNvSpPr/>
          <p:nvPr/>
        </p:nvSpPr>
        <p:spPr>
          <a:xfrm flipH="1">
            <a:off x="672056" y="3861010"/>
            <a:ext cx="71977" cy="37777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57" name="Группа 56">
            <a:extLst>
              <a:ext uri="{FF2B5EF4-FFF2-40B4-BE49-F238E27FC236}">
                <a16:creationId xmlns:a16="http://schemas.microsoft.com/office/drawing/2014/main" id="{667F4AFD-B2C2-4F79-9384-16F658674027}"/>
              </a:ext>
            </a:extLst>
          </p:cNvPr>
          <p:cNvGrpSpPr/>
          <p:nvPr/>
        </p:nvGrpSpPr>
        <p:grpSpPr>
          <a:xfrm>
            <a:off x="344876" y="4465410"/>
            <a:ext cx="241361" cy="167713"/>
            <a:chOff x="8235951" y="3248026"/>
            <a:chExt cx="525463" cy="365125"/>
          </a:xfrm>
          <a:solidFill>
            <a:srgbClr val="252C69"/>
          </a:solidFill>
        </p:grpSpPr>
        <p:sp>
          <p:nvSpPr>
            <p:cNvPr id="58" name="Freeform 180">
              <a:extLst>
                <a:ext uri="{FF2B5EF4-FFF2-40B4-BE49-F238E27FC236}">
                  <a16:creationId xmlns:a16="http://schemas.microsoft.com/office/drawing/2014/main" id="{620CAB4C-25E9-4DF5-B146-70D494AD0D64}"/>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9" name="Freeform 181">
              <a:extLst>
                <a:ext uri="{FF2B5EF4-FFF2-40B4-BE49-F238E27FC236}">
                  <a16:creationId xmlns:a16="http://schemas.microsoft.com/office/drawing/2014/main" id="{400390F7-11DF-4380-BC18-4394D3AE075F}"/>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0" name="Freeform 182">
              <a:extLst>
                <a:ext uri="{FF2B5EF4-FFF2-40B4-BE49-F238E27FC236}">
                  <a16:creationId xmlns:a16="http://schemas.microsoft.com/office/drawing/2014/main" id="{97C11389-07AD-47B8-A70B-6A75094401D4}"/>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1" name="Freeform 183">
              <a:extLst>
                <a:ext uri="{FF2B5EF4-FFF2-40B4-BE49-F238E27FC236}">
                  <a16:creationId xmlns:a16="http://schemas.microsoft.com/office/drawing/2014/main" id="{FEA1DFC8-D7D4-44F6-813C-6489251F524F}"/>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2" name="Freeform 184">
              <a:extLst>
                <a:ext uri="{FF2B5EF4-FFF2-40B4-BE49-F238E27FC236}">
                  <a16:creationId xmlns:a16="http://schemas.microsoft.com/office/drawing/2014/main" id="{AE8E04BA-5281-44FF-B538-9D75180FA206}"/>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3" name="Freeform 185">
              <a:extLst>
                <a:ext uri="{FF2B5EF4-FFF2-40B4-BE49-F238E27FC236}">
                  <a16:creationId xmlns:a16="http://schemas.microsoft.com/office/drawing/2014/main" id="{A8031742-ACDA-41BC-92A2-61AE5AC6E8FC}"/>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64" name="object 5">
            <a:extLst>
              <a:ext uri="{FF2B5EF4-FFF2-40B4-BE49-F238E27FC236}">
                <a16:creationId xmlns:a16="http://schemas.microsoft.com/office/drawing/2014/main" id="{A8931DE5-3D7C-48A1-83E9-72415892F603}"/>
              </a:ext>
            </a:extLst>
          </p:cNvPr>
          <p:cNvSpPr/>
          <p:nvPr/>
        </p:nvSpPr>
        <p:spPr>
          <a:xfrm flipH="1">
            <a:off x="672533" y="4413230"/>
            <a:ext cx="71976" cy="37777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65" name="object 4">
            <a:extLst>
              <a:ext uri="{FF2B5EF4-FFF2-40B4-BE49-F238E27FC236}">
                <a16:creationId xmlns:a16="http://schemas.microsoft.com/office/drawing/2014/main" id="{68F326DA-15E6-42CF-BAD3-4212E1AEF37F}"/>
              </a:ext>
            </a:extLst>
          </p:cNvPr>
          <p:cNvSpPr txBox="1"/>
          <p:nvPr/>
        </p:nvSpPr>
        <p:spPr>
          <a:xfrm>
            <a:off x="822796" y="4430996"/>
            <a:ext cx="6020475" cy="336489"/>
          </a:xfrm>
          <a:prstGeom prst="rect">
            <a:avLst/>
          </a:prstGeom>
        </p:spPr>
        <p:txBody>
          <a:bodyPr vert="horz" wrap="square" lIns="0" tIns="13195" rIns="0" bIns="0" rtlCol="0">
            <a:spAutoFit/>
          </a:bodyPr>
          <a:lstStyle/>
          <a:p>
            <a:pPr marL="12495" marR="5277">
              <a:lnSpc>
                <a:spcPts val="1259"/>
              </a:lnSpc>
              <a:spcBef>
                <a:spcPts val="104"/>
              </a:spcBef>
              <a:buClr>
                <a:srgbClr val="252C69"/>
              </a:buClr>
            </a:pPr>
            <a:r>
              <a:rPr lang="ru-RU" sz="980">
                <a:solidFill>
                  <a:srgbClr val="6D6E71"/>
                </a:solidFill>
                <a:latin typeface="Roboto"/>
                <a:cs typeface="Roboto"/>
              </a:rPr>
              <a:t>Развитие команды первого уровня и обучение руководителей работе в новой </a:t>
            </a:r>
            <a:r>
              <a:rPr lang="ru-RU" sz="980" err="1">
                <a:solidFill>
                  <a:srgbClr val="6D6E71"/>
                </a:solidFill>
                <a:latin typeface="Roboto"/>
                <a:cs typeface="Roboto"/>
              </a:rPr>
              <a:t>оргмодели</a:t>
            </a:r>
            <a:r>
              <a:rPr lang="ru-RU" sz="980">
                <a:solidFill>
                  <a:srgbClr val="6D6E71"/>
                </a:solidFill>
                <a:latin typeface="Roboto"/>
                <a:cs typeface="Roboto"/>
              </a:rPr>
              <a:t> </a:t>
            </a:r>
            <a:br>
              <a:rPr lang="ru-RU" sz="980">
                <a:solidFill>
                  <a:srgbClr val="6D6E71"/>
                </a:solidFill>
                <a:latin typeface="Roboto"/>
                <a:cs typeface="Roboto"/>
              </a:rPr>
            </a:br>
            <a:r>
              <a:rPr lang="ru-RU" sz="980">
                <a:solidFill>
                  <a:srgbClr val="6D6E71"/>
                </a:solidFill>
                <a:latin typeface="Roboto"/>
                <a:cs typeface="Roboto"/>
              </a:rPr>
              <a:t>закрепляет успех организационной трансформации.</a:t>
            </a:r>
            <a:endParaRPr lang="ru-RU" sz="980">
              <a:latin typeface="Roboto"/>
              <a:cs typeface="Roboto"/>
            </a:endParaRPr>
          </a:p>
        </p:txBody>
      </p:sp>
      <p:sp>
        <p:nvSpPr>
          <p:cNvPr id="69" name="object 44">
            <a:extLst>
              <a:ext uri="{FF2B5EF4-FFF2-40B4-BE49-F238E27FC236}">
                <a16:creationId xmlns:a16="http://schemas.microsoft.com/office/drawing/2014/main" id="{69B1325D-4473-4C86-9775-5F3AEFD7286F}"/>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70" name="object 30">
            <a:extLst>
              <a:ext uri="{FF2B5EF4-FFF2-40B4-BE49-F238E27FC236}">
                <a16:creationId xmlns:a16="http://schemas.microsoft.com/office/drawing/2014/main" id="{29408484-869C-4BF1-9257-E93C1349AC72}"/>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71" name="object 30">
            <a:extLst>
              <a:ext uri="{FF2B5EF4-FFF2-40B4-BE49-F238E27FC236}">
                <a16:creationId xmlns:a16="http://schemas.microsoft.com/office/drawing/2014/main" id="{EF3F4161-903B-4FD9-AF0E-0F3C91273CF3}"/>
              </a:ext>
            </a:extLst>
          </p:cNvPr>
          <p:cNvSpPr txBox="1"/>
          <p:nvPr/>
        </p:nvSpPr>
        <p:spPr>
          <a:xfrm>
            <a:off x="6410228" y="5988397"/>
            <a:ext cx="3423794" cy="859709"/>
          </a:xfrm>
          <a:prstGeom prst="rect">
            <a:avLst/>
          </a:prstGeom>
        </p:spPr>
        <p:txBody>
          <a:bodyPr vert="horz" wrap="square" lIns="0" tIns="13195" rIns="0" bIns="0" rtlCol="0">
            <a:spAutoFit/>
          </a:bodyPr>
          <a:lstStyle/>
          <a:p>
            <a:pPr marL="87739" marR="206482"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остановка проектного управления</a:t>
            </a:r>
          </a:p>
          <a:p>
            <a:pPr marL="87739" marR="206482"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витие организационной структуры</a:t>
            </a:r>
          </a:p>
          <a:p>
            <a:pPr marL="87739" marR="206482"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Методология управления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дуктами</a:t>
            </a:r>
          </a:p>
          <a:p>
            <a:pPr marL="87739" marR="206482"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72" name="object 30">
            <a:extLst>
              <a:ext uri="{FF2B5EF4-FFF2-40B4-BE49-F238E27FC236}">
                <a16:creationId xmlns:a16="http://schemas.microsoft.com/office/drawing/2014/main" id="{B331D285-645D-4C8E-A145-4810A4DE2F5E}"/>
              </a:ext>
            </a:extLst>
          </p:cNvPr>
          <p:cNvSpPr txBox="1"/>
          <p:nvPr/>
        </p:nvSpPr>
        <p:spPr>
          <a:xfrm>
            <a:off x="3456770" y="5988397"/>
            <a:ext cx="3310883" cy="1008468"/>
          </a:xfrm>
          <a:prstGeom prst="rect">
            <a:avLst/>
          </a:prstGeom>
        </p:spPr>
        <p:txBody>
          <a:bodyPr vert="horz" wrap="square" lIns="0" tIns="13195" rIns="0" bIns="0" rtlCol="0">
            <a:spAutoFit/>
          </a:bodyPr>
          <a:lstStyle/>
          <a:p>
            <a:pPr marL="87739" marR="254640" indent="-74545">
              <a:spcBef>
                <a:spcPts val="529"/>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механик работы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гибких команд</a:t>
            </a:r>
          </a:p>
          <a:p>
            <a:pPr marL="87739" marR="254640" indent="-74545">
              <a:spcBef>
                <a:spcPts val="529"/>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ектирование холдинговой структуры</a:t>
            </a:r>
          </a:p>
          <a:p>
            <a:pPr marL="87739" marR="254640" indent="-74545">
              <a:spcBef>
                <a:spcPts val="529"/>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моделей зрелости функций</a:t>
            </a:r>
          </a:p>
          <a:p>
            <a:pPr marL="87739" marR="254640" indent="-74545">
              <a:spcBef>
                <a:spcPts val="529"/>
              </a:spcBef>
              <a:buFontTx/>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254640" indent="-74545">
              <a:spcBef>
                <a:spcPts val="529"/>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73" name="object 30">
            <a:extLst>
              <a:ext uri="{FF2B5EF4-FFF2-40B4-BE49-F238E27FC236}">
                <a16:creationId xmlns:a16="http://schemas.microsoft.com/office/drawing/2014/main" id="{777052D2-C7A5-4BD3-BA17-E569B9116981}"/>
              </a:ext>
            </a:extLst>
          </p:cNvPr>
          <p:cNvSpPr txBox="1"/>
          <p:nvPr/>
        </p:nvSpPr>
        <p:spPr>
          <a:xfrm>
            <a:off x="9235622" y="5988398"/>
            <a:ext cx="4213250" cy="336489"/>
          </a:xfrm>
          <a:prstGeom prst="rect">
            <a:avLst/>
          </a:prstGeom>
        </p:spPr>
        <p:txBody>
          <a:bodyPr vert="horz" wrap="square" lIns="0" tIns="13195" rIns="0" bIns="0" rtlCol="0">
            <a:spAutoFit/>
          </a:bodyPr>
          <a:lstStyle/>
          <a:p>
            <a:pPr marL="87739" marR="136556"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писание и  оптимизация бизнес-процессов</a:t>
            </a:r>
          </a:p>
          <a:p>
            <a:pPr marL="87739" marR="136556"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95" name="object 28">
            <a:extLst>
              <a:ext uri="{FF2B5EF4-FFF2-40B4-BE49-F238E27FC236}">
                <a16:creationId xmlns:a16="http://schemas.microsoft.com/office/drawing/2014/main" id="{D49559EE-BCC7-4F5D-85F5-BCAB4FF95A9E}"/>
              </a:ext>
            </a:extLst>
          </p:cNvPr>
          <p:cNvSpPr txBox="1"/>
          <p:nvPr/>
        </p:nvSpPr>
        <p:spPr>
          <a:xfrm>
            <a:off x="6682369" y="1144271"/>
            <a:ext cx="5163793" cy="982179"/>
          </a:xfrm>
          <a:prstGeom prst="rect">
            <a:avLst/>
          </a:prstGeom>
        </p:spPr>
        <p:txBody>
          <a:bodyPr vert="horz" wrap="square" lIns="0" tIns="13195" rIns="0" bIns="0" rtlCol="0">
            <a:spAutoFit/>
          </a:bodyPr>
          <a:lstStyle/>
          <a:p>
            <a:pPr marR="5277"/>
            <a:r>
              <a:rPr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t>ОРГАНИЗАЦИОННАЯ ЭФФЕКТИВНОСТЬ </a:t>
            </a:r>
            <a:r>
              <a:rPr lang="ru-RU" sz="1259">
                <a:solidFill>
                  <a:srgbClr val="252C69"/>
                </a:solidFill>
                <a:latin typeface="Roboto Medium" panose="02000000000000000000" pitchFamily="2" charset="0"/>
                <a:ea typeface="Roboto Medium" panose="02000000000000000000" pitchFamily="2" charset="0"/>
                <a:cs typeface="Roboto Medium" panose="02000000000000000000" pitchFamily="2" charset="0"/>
              </a:rPr>
              <a:t>—</a:t>
            </a:r>
            <a:br>
              <a:rPr lang="ru-RU" sz="1259">
                <a:solidFill>
                  <a:srgbClr val="252C69"/>
                </a:solidFill>
                <a:latin typeface="Roboto" panose="02000000000000000000" pitchFamily="2" charset="0"/>
                <a:ea typeface="Roboto" panose="02000000000000000000" pitchFamily="2" charset="0"/>
                <a:cs typeface="Roboto" panose="02000000000000000000" pitchFamily="2" charset="0"/>
              </a:rPr>
            </a:b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это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способность</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компании</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организовывать</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деятельность</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применяя</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определенную</a:t>
            </a:r>
            <a:r>
              <a:rPr lang="ru-RU"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совокупность</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инструментов</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br>
              <a:rPr lang="ru-RU" sz="1259">
                <a:solidFill>
                  <a:srgbClr val="6D6E71"/>
                </a:solidFill>
                <a:latin typeface="Roboto" panose="02000000000000000000" pitchFamily="2" charset="0"/>
                <a:ea typeface="Roboto" panose="02000000000000000000" pitchFamily="2" charset="0"/>
                <a:cs typeface="Roboto" panose="02000000000000000000" pitchFamily="2" charset="0"/>
              </a:rPr>
            </a:br>
            <a:r>
              <a:rPr sz="1259" err="1">
                <a:solidFill>
                  <a:srgbClr val="6D6E71"/>
                </a:solidFill>
                <a:latin typeface="Roboto" panose="02000000000000000000" pitchFamily="2" charset="0"/>
                <a:ea typeface="Roboto" panose="02000000000000000000" pitchFamily="2" charset="0"/>
                <a:cs typeface="Roboto" panose="02000000000000000000" pitchFamily="2" charset="0"/>
              </a:rPr>
              <a:t>управления</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чтобы</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достигать</a:t>
            </a:r>
            <a:r>
              <a:rPr sz="1259">
                <a:solidFill>
                  <a:srgbClr val="6D6E71"/>
                </a:solidFill>
                <a:latin typeface="Roboto" panose="02000000000000000000" pitchFamily="2" charset="0"/>
                <a:ea typeface="Roboto" panose="02000000000000000000" pitchFamily="2" charset="0"/>
                <a:cs typeface="Roboto" panose="02000000000000000000" pitchFamily="2" charset="0"/>
              </a:rPr>
              <a:t> поставленных целей, </a:t>
            </a:r>
            <a:br>
              <a:rPr lang="ru-RU" sz="1259">
                <a:solidFill>
                  <a:srgbClr val="6D6E71"/>
                </a:solidFill>
                <a:latin typeface="Roboto" panose="02000000000000000000" pitchFamily="2" charset="0"/>
                <a:ea typeface="Roboto" panose="02000000000000000000" pitchFamily="2" charset="0"/>
                <a:cs typeface="Roboto" panose="02000000000000000000" pitchFamily="2" charset="0"/>
              </a:rPr>
            </a:br>
            <a:r>
              <a:rPr sz="1259" err="1">
                <a:solidFill>
                  <a:srgbClr val="6D6E71"/>
                </a:solidFill>
                <a:latin typeface="Roboto" panose="02000000000000000000" pitchFamily="2" charset="0"/>
                <a:ea typeface="Roboto" panose="02000000000000000000" pitchFamily="2" charset="0"/>
                <a:cs typeface="Roboto" panose="02000000000000000000" pitchFamily="2" charset="0"/>
              </a:rPr>
              <a:t>оптимально</a:t>
            </a:r>
            <a:r>
              <a:rPr sz="1259">
                <a:solidFill>
                  <a:srgbClr val="6D6E71"/>
                </a:solidFill>
                <a:latin typeface="Roboto" panose="02000000000000000000" pitchFamily="2" charset="0"/>
                <a:ea typeface="Roboto" panose="02000000000000000000" pitchFamily="2" charset="0"/>
                <a:cs typeface="Roboto" panose="02000000000000000000" pitchFamily="2" charset="0"/>
              </a:rPr>
              <a:t> используя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имеющиеся</a:t>
            </a:r>
            <a:r>
              <a:rPr sz="1259">
                <a:solidFill>
                  <a:srgbClr val="6D6E71"/>
                </a:solidFill>
                <a:latin typeface="Roboto" panose="02000000000000000000" pitchFamily="2" charset="0"/>
                <a:ea typeface="Roboto" panose="02000000000000000000" pitchFamily="2" charset="0"/>
                <a:cs typeface="Roboto" panose="02000000000000000000" pitchFamily="2" charset="0"/>
              </a:rPr>
              <a:t> </a:t>
            </a:r>
            <a:r>
              <a:rPr sz="1259" err="1">
                <a:solidFill>
                  <a:srgbClr val="6D6E71"/>
                </a:solidFill>
                <a:latin typeface="Roboto" panose="02000000000000000000" pitchFamily="2" charset="0"/>
                <a:ea typeface="Roboto" panose="02000000000000000000" pitchFamily="2" charset="0"/>
                <a:cs typeface="Roboto" panose="02000000000000000000" pitchFamily="2" charset="0"/>
              </a:rPr>
              <a:t>ресурсы</a:t>
            </a:r>
            <a:r>
              <a:rPr sz="1259">
                <a:solidFill>
                  <a:srgbClr val="6D6E71"/>
                </a:solidFill>
                <a:latin typeface="Roboto" panose="02000000000000000000" pitchFamily="2" charset="0"/>
                <a:ea typeface="Roboto" panose="02000000000000000000" pitchFamily="2" charset="0"/>
                <a:cs typeface="Roboto" panose="02000000000000000000" pitchFamily="2" charset="0"/>
              </a:rPr>
              <a:t>.</a:t>
            </a:r>
            <a:endParaRPr sz="1259">
              <a:latin typeface="Roboto" panose="02000000000000000000" pitchFamily="2" charset="0"/>
              <a:ea typeface="Roboto" panose="02000000000000000000" pitchFamily="2" charset="0"/>
              <a:cs typeface="Roboto" panose="02000000000000000000" pitchFamily="2" charset="0"/>
            </a:endParaRPr>
          </a:p>
        </p:txBody>
      </p:sp>
      <p:sp>
        <p:nvSpPr>
          <p:cNvPr id="138" name="object 28">
            <a:extLst>
              <a:ext uri="{FF2B5EF4-FFF2-40B4-BE49-F238E27FC236}">
                <a16:creationId xmlns:a16="http://schemas.microsoft.com/office/drawing/2014/main" id="{D38B1B78-3569-4F04-8449-7E40388E1146}"/>
              </a:ext>
            </a:extLst>
          </p:cNvPr>
          <p:cNvSpPr txBox="1"/>
          <p:nvPr/>
        </p:nvSpPr>
        <p:spPr>
          <a:xfrm>
            <a:off x="6682369" y="2370280"/>
            <a:ext cx="5163793" cy="382656"/>
          </a:xfrm>
          <a:prstGeom prst="rect">
            <a:avLst/>
          </a:prstGeom>
        </p:spPr>
        <p:txBody>
          <a:bodyPr vert="horz" wrap="square" lIns="0" tIns="13195" rIns="0" bIns="0" rtlCol="0">
            <a:spAutoFit/>
          </a:bodyPr>
          <a:lstStyle/>
          <a:p>
            <a:pPr marR="5277"/>
            <a:r>
              <a:rPr lang="ru-RU" sz="1200" spc="-31">
                <a:solidFill>
                  <a:srgbClr val="252C69"/>
                </a:solidFill>
                <a:latin typeface="Roboto" panose="02000000000000000000" pitchFamily="2" charset="0"/>
                <a:ea typeface="Roboto" panose="02000000000000000000" pitchFamily="2" charset="0"/>
                <a:cs typeface="Roboto" panose="02000000000000000000" pitchFamily="2" charset="0"/>
              </a:rPr>
              <a:t>СИСТЕМА УПРАВЛЕНИЯ ОРГАНИЗАЦИОННОЙ </a:t>
            </a:r>
            <a:br>
              <a:rPr lang="ru-RU" sz="1200" spc="-31">
                <a:solidFill>
                  <a:srgbClr val="252C69"/>
                </a:solidFill>
                <a:latin typeface="Roboto" panose="02000000000000000000" pitchFamily="2" charset="0"/>
                <a:ea typeface="Roboto" panose="02000000000000000000" pitchFamily="2" charset="0"/>
                <a:cs typeface="Roboto" panose="02000000000000000000" pitchFamily="2" charset="0"/>
              </a:rPr>
            </a:br>
            <a:r>
              <a:rPr lang="ru-RU" sz="1200" spc="-31">
                <a:solidFill>
                  <a:srgbClr val="252C69"/>
                </a:solidFill>
                <a:latin typeface="Roboto" panose="02000000000000000000" pitchFamily="2" charset="0"/>
                <a:ea typeface="Roboto" panose="02000000000000000000" pitchFamily="2" charset="0"/>
                <a:cs typeface="Roboto" panose="02000000000000000000" pitchFamily="2" charset="0"/>
              </a:rPr>
              <a:t>ЭФФЕКТИВНОСТЬЮ</a:t>
            </a:r>
            <a:endParaRPr sz="1200">
              <a:latin typeface="Roboto" panose="02000000000000000000" pitchFamily="2" charset="0"/>
              <a:ea typeface="Roboto" panose="02000000000000000000" pitchFamily="2" charset="0"/>
              <a:cs typeface="Roboto" panose="02000000000000000000" pitchFamily="2" charset="0"/>
            </a:endParaRPr>
          </a:p>
        </p:txBody>
      </p:sp>
      <p:sp>
        <p:nvSpPr>
          <p:cNvPr id="66" name="Прямоугольник 65">
            <a:extLst>
              <a:ext uri="{FF2B5EF4-FFF2-40B4-BE49-F238E27FC236}">
                <a16:creationId xmlns:a16="http://schemas.microsoft.com/office/drawing/2014/main" id="{882AEED0-185F-4DC6-9AA9-8804307CB76A}"/>
              </a:ext>
            </a:extLst>
          </p:cNvPr>
          <p:cNvSpPr/>
          <p:nvPr/>
        </p:nvSpPr>
        <p:spPr>
          <a:xfrm>
            <a:off x="6655951" y="4985968"/>
            <a:ext cx="258516" cy="1564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 name="object 29">
            <a:extLst>
              <a:ext uri="{FF2B5EF4-FFF2-40B4-BE49-F238E27FC236}">
                <a16:creationId xmlns:a16="http://schemas.microsoft.com/office/drawing/2014/main" id="{443523F6-8DA3-4881-9F88-BCDDB9898409}"/>
              </a:ext>
            </a:extLst>
          </p:cNvPr>
          <p:cNvSpPr txBox="1"/>
          <p:nvPr/>
        </p:nvSpPr>
        <p:spPr>
          <a:xfrm>
            <a:off x="6851650" y="5224087"/>
            <a:ext cx="4331334" cy="285450"/>
          </a:xfrm>
          <a:prstGeom prst="rect">
            <a:avLst/>
          </a:prstGeom>
        </p:spPr>
        <p:txBody>
          <a:bodyPr vert="horz" wrap="square" lIns="0" tIns="13195" rIns="0" bIns="0" rtlCol="0">
            <a:spAutoFit/>
          </a:bodyPr>
          <a:lstStyle/>
          <a:p>
            <a:pPr marR="5277">
              <a:lnSpc>
                <a:spcPts val="1100"/>
              </a:lnSpc>
              <a:spcBef>
                <a:spcPts val="300"/>
              </a:spcBef>
            </a:pPr>
            <a:r>
              <a:rPr sz="787" spc="-5" err="1">
                <a:solidFill>
                  <a:srgbClr val="6D6E71"/>
                </a:solidFill>
                <a:latin typeface="Roboto"/>
                <a:cs typeface="Roboto"/>
              </a:rPr>
              <a:t>Модель</a:t>
            </a:r>
            <a:r>
              <a:rPr sz="787" spc="-5">
                <a:solidFill>
                  <a:srgbClr val="6D6E71"/>
                </a:solidFill>
                <a:latin typeface="Roboto"/>
                <a:cs typeface="Roboto"/>
              </a:rPr>
              <a:t> RUN-CHANGE-DISRUPT </a:t>
            </a:r>
            <a:r>
              <a:rPr sz="787" spc="-5" err="1">
                <a:solidFill>
                  <a:srgbClr val="6D6E71"/>
                </a:solidFill>
                <a:latin typeface="Roboto"/>
                <a:cs typeface="Roboto"/>
              </a:rPr>
              <a:t>предложена</a:t>
            </a:r>
            <a:r>
              <a:rPr sz="787" spc="-5">
                <a:solidFill>
                  <a:srgbClr val="6D6E71"/>
                </a:solidFill>
                <a:latin typeface="Roboto"/>
                <a:cs typeface="Roboto"/>
              </a:rPr>
              <a:t> </a:t>
            </a:r>
            <a:r>
              <a:rPr sz="787" spc="-11">
                <a:solidFill>
                  <a:srgbClr val="6D6E71"/>
                </a:solidFill>
                <a:latin typeface="Roboto"/>
                <a:cs typeface="Roboto"/>
              </a:rPr>
              <a:t>исследовательской </a:t>
            </a:r>
            <a:r>
              <a:rPr sz="787">
                <a:solidFill>
                  <a:srgbClr val="6D6E71"/>
                </a:solidFill>
                <a:latin typeface="Roboto"/>
                <a:cs typeface="Roboto"/>
              </a:rPr>
              <a:t>и </a:t>
            </a:r>
            <a:r>
              <a:rPr sz="787" spc="-11" err="1">
                <a:solidFill>
                  <a:srgbClr val="6D6E71"/>
                </a:solidFill>
                <a:latin typeface="Roboto"/>
                <a:cs typeface="Roboto"/>
              </a:rPr>
              <a:t>консалтинговой</a:t>
            </a:r>
            <a:r>
              <a:rPr sz="787" spc="-11">
                <a:solidFill>
                  <a:srgbClr val="6D6E71"/>
                </a:solidFill>
                <a:latin typeface="Roboto"/>
                <a:cs typeface="Roboto"/>
              </a:rPr>
              <a:t>  </a:t>
            </a:r>
            <a:r>
              <a:rPr lang="ru-RU" sz="787" spc="-11">
                <a:solidFill>
                  <a:srgbClr val="6D6E71"/>
                </a:solidFill>
                <a:latin typeface="Roboto"/>
                <a:cs typeface="Roboto"/>
              </a:rPr>
              <a:t>              </a:t>
            </a:r>
            <a:r>
              <a:rPr sz="787" spc="-11" err="1">
                <a:solidFill>
                  <a:srgbClr val="6D6E71"/>
                </a:solidFill>
                <a:latin typeface="Roboto"/>
                <a:cs typeface="Roboto"/>
              </a:rPr>
              <a:t>компанией</a:t>
            </a:r>
            <a:r>
              <a:rPr sz="787" spc="-11">
                <a:solidFill>
                  <a:srgbClr val="6D6E71"/>
                </a:solidFill>
                <a:latin typeface="Roboto"/>
                <a:cs typeface="Roboto"/>
              </a:rPr>
              <a:t> </a:t>
            </a:r>
            <a:r>
              <a:rPr sz="787" spc="-5">
                <a:solidFill>
                  <a:srgbClr val="6D6E71"/>
                </a:solidFill>
                <a:latin typeface="Roboto"/>
                <a:cs typeface="Roboto"/>
              </a:rPr>
              <a:t>GARTNER</a:t>
            </a:r>
            <a:endParaRPr sz="787">
              <a:latin typeface="Roboto"/>
              <a:cs typeface="Roboto"/>
            </a:endParaRPr>
          </a:p>
        </p:txBody>
      </p:sp>
      <p:pic>
        <p:nvPicPr>
          <p:cNvPr id="68" name="Рисунок 67">
            <a:extLst>
              <a:ext uri="{FF2B5EF4-FFF2-40B4-BE49-F238E27FC236}">
                <a16:creationId xmlns:a16="http://schemas.microsoft.com/office/drawing/2014/main" id="{DE399796-DFF2-400A-A8DD-A0DBC4B9BA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09766" y="5003664"/>
            <a:ext cx="100013" cy="100013"/>
          </a:xfrm>
          <a:prstGeom prst="rect">
            <a:avLst/>
          </a:prstGeom>
        </p:spPr>
      </p:pic>
      <p:sp>
        <p:nvSpPr>
          <p:cNvPr id="76" name="object 29">
            <a:extLst>
              <a:ext uri="{FF2B5EF4-FFF2-40B4-BE49-F238E27FC236}">
                <a16:creationId xmlns:a16="http://schemas.microsoft.com/office/drawing/2014/main" id="{55A93D67-99E6-4C04-80A5-30C1BC09220B}"/>
              </a:ext>
            </a:extLst>
          </p:cNvPr>
          <p:cNvSpPr txBox="1"/>
          <p:nvPr/>
        </p:nvSpPr>
        <p:spPr>
          <a:xfrm>
            <a:off x="6843271" y="4978977"/>
            <a:ext cx="4331334" cy="134447"/>
          </a:xfrm>
          <a:prstGeom prst="rect">
            <a:avLst/>
          </a:prstGeom>
        </p:spPr>
        <p:txBody>
          <a:bodyPr vert="horz" wrap="square" lIns="0" tIns="13195" rIns="0" bIns="0" rtlCol="0">
            <a:spAutoFit/>
          </a:bodyPr>
          <a:lstStyle/>
          <a:p>
            <a:pPr marL="13194" marR="5277">
              <a:spcBef>
                <a:spcPts val="104"/>
              </a:spcBef>
            </a:pPr>
            <a:r>
              <a:rPr sz="787" spc="-5" err="1">
                <a:solidFill>
                  <a:srgbClr val="747578"/>
                </a:solidFill>
                <a:latin typeface="Roboto"/>
                <a:cs typeface="Roboto"/>
              </a:rPr>
              <a:t>Модель</a:t>
            </a:r>
            <a:r>
              <a:rPr sz="787" spc="-5">
                <a:solidFill>
                  <a:srgbClr val="747578"/>
                </a:solidFill>
                <a:latin typeface="Roboto"/>
                <a:cs typeface="Roboto"/>
              </a:rPr>
              <a:t> </a:t>
            </a:r>
            <a:r>
              <a:rPr lang="en-US" sz="787" spc="-5">
                <a:solidFill>
                  <a:srgbClr val="747578"/>
                </a:solidFill>
                <a:latin typeface="Roboto"/>
                <a:cs typeface="Roboto"/>
              </a:rPr>
              <a:t>BITOBE</a:t>
            </a:r>
            <a:endParaRPr sz="787">
              <a:solidFill>
                <a:srgbClr val="747578"/>
              </a:solidFill>
              <a:latin typeface="Roboto"/>
              <a:cs typeface="Roboto"/>
            </a:endParaRPr>
          </a:p>
        </p:txBody>
      </p:sp>
      <p:sp>
        <p:nvSpPr>
          <p:cNvPr id="77" name="object 29">
            <a:extLst>
              <a:ext uri="{FF2B5EF4-FFF2-40B4-BE49-F238E27FC236}">
                <a16:creationId xmlns:a16="http://schemas.microsoft.com/office/drawing/2014/main" id="{BD3C9308-257B-4471-B043-D1664E16A1E5}"/>
              </a:ext>
            </a:extLst>
          </p:cNvPr>
          <p:cNvSpPr txBox="1"/>
          <p:nvPr/>
        </p:nvSpPr>
        <p:spPr>
          <a:xfrm>
            <a:off x="6729265" y="5191947"/>
            <a:ext cx="95605" cy="141564"/>
          </a:xfrm>
          <a:prstGeom prst="rect">
            <a:avLst/>
          </a:prstGeom>
        </p:spPr>
        <p:txBody>
          <a:bodyPr vert="horz" wrap="square" lIns="0" tIns="13195" rIns="0" bIns="0" rtlCol="0">
            <a:spAutoFit/>
          </a:bodyPr>
          <a:lstStyle/>
          <a:p>
            <a:pPr marR="5277">
              <a:lnSpc>
                <a:spcPts val="1100"/>
              </a:lnSpc>
              <a:spcBef>
                <a:spcPts val="300"/>
              </a:spcBef>
            </a:pPr>
            <a:r>
              <a:rPr lang="ru-RU" sz="700" spc="-5">
                <a:solidFill>
                  <a:srgbClr val="6D6E71"/>
                </a:solidFill>
                <a:latin typeface="Roboto"/>
                <a:cs typeface="Roboto"/>
              </a:rPr>
              <a:t>1</a:t>
            </a:r>
            <a:endParaRPr sz="700">
              <a:solidFill>
                <a:srgbClr val="6D6E71"/>
              </a:solidFill>
              <a:latin typeface="Roboto"/>
              <a:cs typeface="Roboto"/>
            </a:endParaRPr>
          </a:p>
        </p:txBody>
      </p:sp>
      <p:pic>
        <p:nvPicPr>
          <p:cNvPr id="25" name="Рисунок 24" descr="Изображение выглядит как снимок экрана&#10;&#10;Автоматически созданное описание">
            <a:extLst>
              <a:ext uri="{FF2B5EF4-FFF2-40B4-BE49-F238E27FC236}">
                <a16:creationId xmlns:a16="http://schemas.microsoft.com/office/drawing/2014/main" id="{0E71D182-5134-41AC-AF93-07A5A7C7164E}"/>
              </a:ext>
            </a:extLst>
          </p:cNvPr>
          <p:cNvPicPr>
            <a:picLocks noChangeAspect="1"/>
          </p:cNvPicPr>
          <p:nvPr/>
        </p:nvPicPr>
        <p:blipFill rotWithShape="1">
          <a:blip r:embed="rId5">
            <a:extLst>
              <a:ext uri="{28A0092B-C50C-407E-A947-70E740481C1C}">
                <a14:useLocalDpi xmlns:a14="http://schemas.microsoft.com/office/drawing/2010/main" val="0"/>
              </a:ext>
            </a:extLst>
          </a:blip>
          <a:srcRect l="22727" t="32053" r="21134" b="24983"/>
          <a:stretch/>
        </p:blipFill>
        <p:spPr>
          <a:xfrm>
            <a:off x="6677890" y="2924175"/>
            <a:ext cx="4436158" cy="1909763"/>
          </a:xfrm>
          <a:prstGeom prst="rect">
            <a:avLst/>
          </a:prstGeom>
        </p:spPr>
      </p:pic>
    </p:spTree>
    <p:extLst>
      <p:ext uri="{BB962C8B-B14F-4D97-AF65-F5344CB8AC3E}">
        <p14:creationId xmlns:p14="http://schemas.microsoft.com/office/powerpoint/2010/main" val="3722417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D9329A55-D1CC-4D2D-86EA-FA12649EF950}"/>
              </a:ext>
            </a:extLst>
          </p:cNvPr>
          <p:cNvPicPr>
            <a:picLocks noChangeAspect="1"/>
          </p:cNvPicPr>
          <p:nvPr/>
        </p:nvPicPr>
        <p:blipFill>
          <a:blip r:embed="rId3"/>
          <a:stretch>
            <a:fillRect/>
          </a:stretch>
        </p:blipFill>
        <p:spPr>
          <a:xfrm>
            <a:off x="6796511" y="296848"/>
            <a:ext cx="4002333" cy="5308504"/>
          </a:xfrm>
          <a:prstGeom prst="rect">
            <a:avLst/>
          </a:prstGeom>
        </p:spPr>
      </p:pic>
      <p:sp>
        <p:nvSpPr>
          <p:cNvPr id="44" name="Прямоугольник 43">
            <a:extLst>
              <a:ext uri="{FF2B5EF4-FFF2-40B4-BE49-F238E27FC236}">
                <a16:creationId xmlns:a16="http://schemas.microsoft.com/office/drawing/2014/main" id="{FCE439E4-D055-4F3E-A408-96BA377DF146}"/>
              </a:ext>
            </a:extLst>
          </p:cNvPr>
          <p:cNvSpPr/>
          <p:nvPr/>
        </p:nvSpPr>
        <p:spPr>
          <a:xfrm>
            <a:off x="3637850" y="4446244"/>
            <a:ext cx="188549" cy="2450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object 32">
            <a:extLst>
              <a:ext uri="{FF2B5EF4-FFF2-40B4-BE49-F238E27FC236}">
                <a16:creationId xmlns:a16="http://schemas.microsoft.com/office/drawing/2014/main" id="{8AB5DE18-626A-4F56-879A-935E98281222}"/>
              </a:ext>
            </a:extLst>
          </p:cNvPr>
          <p:cNvSpPr txBox="1">
            <a:spLocks/>
          </p:cNvSpPr>
          <p:nvPr/>
        </p:nvSpPr>
        <p:spPr>
          <a:xfrm>
            <a:off x="822290" y="494536"/>
            <a:ext cx="5142575" cy="267689"/>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a:spcBef>
                <a:spcPts val="104"/>
              </a:spcBef>
            </a:pPr>
            <a:r>
              <a:rPr lang="ru-RU" sz="1653">
                <a:latin typeface="Roboto" panose="02000000000000000000" pitchFamily="2" charset="0"/>
                <a:ea typeface="Roboto" panose="02000000000000000000" pitchFamily="2" charset="0"/>
                <a:cs typeface="Roboto" panose="02000000000000000000" pitchFamily="2" charset="0"/>
              </a:rPr>
              <a:t>ТРАНСФОРМАЦИЯ КОРПОРАТИВНОЙ КУЛЬТУРЫ</a:t>
            </a:r>
          </a:p>
        </p:txBody>
      </p:sp>
      <p:sp>
        <p:nvSpPr>
          <p:cNvPr id="5" name="object 17">
            <a:extLst>
              <a:ext uri="{FF2B5EF4-FFF2-40B4-BE49-F238E27FC236}">
                <a16:creationId xmlns:a16="http://schemas.microsoft.com/office/drawing/2014/main" id="{C139ECCE-F5E3-4709-BC59-741FF9D6D9D5}"/>
              </a:ext>
            </a:extLst>
          </p:cNvPr>
          <p:cNvSpPr txBox="1"/>
          <p:nvPr/>
        </p:nvSpPr>
        <p:spPr>
          <a:xfrm>
            <a:off x="833059" y="1117603"/>
            <a:ext cx="5467333" cy="400866"/>
          </a:xfrm>
          <a:prstGeom prst="rect">
            <a:avLst/>
          </a:prstGeom>
        </p:spPr>
        <p:txBody>
          <a:bodyPr vert="horz" wrap="square" lIns="0" tIns="13195" rIns="0" bIns="0" rtlCol="0">
            <a:spAutoFit/>
          </a:bodyPr>
          <a:lstStyle/>
          <a:p>
            <a:pPr marR="5277"/>
            <a:r>
              <a:rPr lang="ru-RU" sz="1259" spc="-5">
                <a:solidFill>
                  <a:srgbClr val="6D6E71"/>
                </a:solidFill>
                <a:latin typeface="Roboto"/>
                <a:cs typeface="Roboto"/>
              </a:rPr>
              <a:t>Мы </a:t>
            </a:r>
            <a:r>
              <a:rPr lang="ru-RU" sz="1259" spc="-16">
                <a:solidFill>
                  <a:srgbClr val="6D6E71"/>
                </a:solidFill>
                <a:latin typeface="Roboto"/>
                <a:cs typeface="Roboto"/>
              </a:rPr>
              <a:t>подходим </a:t>
            </a:r>
            <a:r>
              <a:rPr lang="ru-RU" sz="1259">
                <a:solidFill>
                  <a:srgbClr val="6D6E71"/>
                </a:solidFill>
                <a:latin typeface="Roboto"/>
                <a:cs typeface="Roboto"/>
              </a:rPr>
              <a:t>к </a:t>
            </a:r>
            <a:r>
              <a:rPr lang="ru-RU" sz="1259" spc="-5">
                <a:solidFill>
                  <a:srgbClr val="6D6E71"/>
                </a:solidFill>
                <a:latin typeface="Roboto"/>
                <a:cs typeface="Roboto"/>
              </a:rPr>
              <a:t>трансформации </a:t>
            </a:r>
            <a:r>
              <a:rPr lang="ru-RU" sz="1259" spc="-11">
                <a:solidFill>
                  <a:srgbClr val="6D6E71"/>
                </a:solidFill>
                <a:latin typeface="Roboto"/>
                <a:cs typeface="Roboto"/>
              </a:rPr>
              <a:t>корпоративной </a:t>
            </a:r>
            <a:r>
              <a:rPr lang="ru-RU" sz="1259" spc="-16">
                <a:solidFill>
                  <a:srgbClr val="6D6E71"/>
                </a:solidFill>
                <a:latin typeface="Roboto"/>
                <a:cs typeface="Roboto"/>
              </a:rPr>
              <a:t>культуры </a:t>
            </a:r>
            <a:r>
              <a:rPr lang="ru-RU" sz="1259" spc="-11">
                <a:solidFill>
                  <a:srgbClr val="6D6E71"/>
                </a:solidFill>
                <a:latin typeface="Roboto"/>
                <a:cs typeface="Roboto"/>
              </a:rPr>
              <a:t>комплексно </a:t>
            </a:r>
            <a:r>
              <a:rPr lang="ru-RU" sz="1259">
                <a:solidFill>
                  <a:srgbClr val="6D6E71"/>
                </a:solidFill>
                <a:latin typeface="Roboto"/>
                <a:cs typeface="Roboto"/>
              </a:rPr>
              <a:t>— </a:t>
            </a:r>
            <a:r>
              <a:rPr lang="ru-RU" sz="1259" spc="-11">
                <a:solidFill>
                  <a:srgbClr val="6D6E71"/>
                </a:solidFill>
                <a:latin typeface="Roboto"/>
                <a:cs typeface="Roboto"/>
              </a:rPr>
              <a:t>от </a:t>
            </a:r>
            <a:r>
              <a:rPr lang="ru-RU" sz="1259" spc="-5">
                <a:solidFill>
                  <a:srgbClr val="6D6E71"/>
                </a:solidFill>
                <a:latin typeface="Roboto"/>
                <a:cs typeface="Roboto"/>
              </a:rPr>
              <a:t>идеи </a:t>
            </a:r>
            <a:r>
              <a:rPr lang="ru-RU" sz="1259">
                <a:solidFill>
                  <a:srgbClr val="6D6E71"/>
                </a:solidFill>
                <a:latin typeface="Roboto"/>
                <a:cs typeface="Roboto"/>
              </a:rPr>
              <a:t>до </a:t>
            </a:r>
            <a:r>
              <a:rPr lang="ru-RU" sz="1259" spc="-5">
                <a:solidFill>
                  <a:srgbClr val="6D6E71"/>
                </a:solidFill>
                <a:latin typeface="Roboto"/>
                <a:cs typeface="Roboto"/>
              </a:rPr>
              <a:t>внедрения </a:t>
            </a:r>
            <a:r>
              <a:rPr lang="ru-RU" sz="1259">
                <a:solidFill>
                  <a:srgbClr val="6D6E71"/>
                </a:solidFill>
                <a:latin typeface="Roboto"/>
                <a:cs typeface="Roboto"/>
              </a:rPr>
              <a:t>в </a:t>
            </a:r>
            <a:r>
              <a:rPr lang="ru-RU" sz="1259" spc="-5">
                <a:solidFill>
                  <a:srgbClr val="6D6E71"/>
                </a:solidFill>
                <a:latin typeface="Roboto"/>
                <a:cs typeface="Roboto"/>
              </a:rPr>
              <a:t>ежедневную деятельность</a:t>
            </a:r>
            <a:r>
              <a:rPr lang="ru-RU" sz="1259">
                <a:solidFill>
                  <a:srgbClr val="6D6E71"/>
                </a:solidFill>
                <a:latin typeface="Roboto"/>
                <a:cs typeface="Roboto"/>
              </a:rPr>
              <a:t> </a:t>
            </a:r>
            <a:r>
              <a:rPr lang="ru-RU" sz="1259" spc="-5">
                <a:solidFill>
                  <a:srgbClr val="6D6E71"/>
                </a:solidFill>
                <a:latin typeface="Roboto"/>
                <a:cs typeface="Roboto"/>
              </a:rPr>
              <a:t>организации.</a:t>
            </a:r>
            <a:endParaRPr lang="ru-RU" sz="1259">
              <a:latin typeface="Roboto"/>
              <a:cs typeface="Roboto"/>
            </a:endParaRPr>
          </a:p>
        </p:txBody>
      </p:sp>
      <p:sp>
        <p:nvSpPr>
          <p:cNvPr id="7" name="object 4">
            <a:extLst>
              <a:ext uri="{FF2B5EF4-FFF2-40B4-BE49-F238E27FC236}">
                <a16:creationId xmlns:a16="http://schemas.microsoft.com/office/drawing/2014/main" id="{56F96FAF-7B1E-4107-B817-05459937C962}"/>
              </a:ext>
            </a:extLst>
          </p:cNvPr>
          <p:cNvSpPr txBox="1"/>
          <p:nvPr/>
        </p:nvSpPr>
        <p:spPr>
          <a:xfrm>
            <a:off x="833059" y="1741646"/>
            <a:ext cx="5447032" cy="1157227"/>
          </a:xfrm>
          <a:prstGeom prst="rect">
            <a:avLst/>
          </a:prstGeom>
        </p:spPr>
        <p:txBody>
          <a:bodyPr vert="horz" wrap="square" lIns="0" tIns="13195" rIns="0" bIns="0" rtlCol="0">
            <a:spAutoFit/>
          </a:bodyPr>
          <a:lstStyle/>
          <a:p>
            <a:pPr marL="12495" marR="5937">
              <a:lnSpc>
                <a:spcPts val="1259"/>
              </a:lnSpc>
              <a:spcBef>
                <a:spcPts val="315"/>
              </a:spcBef>
              <a:buClr>
                <a:srgbClr val="252C69"/>
              </a:buClr>
            </a:pPr>
            <a:r>
              <a:rPr lang="ru-RU" sz="980">
                <a:solidFill>
                  <a:srgbClr val="6D6E71"/>
                </a:solidFill>
                <a:latin typeface="Roboto"/>
                <a:cs typeface="Roboto"/>
              </a:rPr>
              <a:t>Для </a:t>
            </a:r>
            <a:r>
              <a:rPr lang="ru-RU" sz="980">
                <a:solidFill>
                  <a:srgbClr val="747578"/>
                </a:solidFill>
                <a:latin typeface="Roboto"/>
                <a:cs typeface="Roboto"/>
              </a:rPr>
              <a:t>замера «как есть» </a:t>
            </a:r>
            <a:r>
              <a:rPr lang="ru-RU" sz="980">
                <a:solidFill>
                  <a:srgbClr val="6D6E71"/>
                </a:solidFill>
                <a:latin typeface="Roboto"/>
                <a:cs typeface="Roboto"/>
              </a:rPr>
              <a:t>используется кейс-ориентированное исследование текущих ценностей.</a:t>
            </a:r>
          </a:p>
          <a:p>
            <a:pPr marL="12495" marR="5937">
              <a:lnSpc>
                <a:spcPts val="1259"/>
              </a:lnSpc>
              <a:spcBef>
                <a:spcPts val="945"/>
              </a:spcBef>
              <a:buClr>
                <a:srgbClr val="252C69"/>
              </a:buClr>
            </a:pPr>
            <a:r>
              <a:rPr lang="ru-RU" sz="980">
                <a:solidFill>
                  <a:srgbClr val="6D6E71"/>
                </a:solidFill>
                <a:latin typeface="Roboto"/>
                <a:cs typeface="Roboto"/>
              </a:rPr>
              <a:t>Целевой уровень культуры проектируется в соответствии с моделью Спиральной динамики</a:t>
            </a:r>
            <a:r>
              <a:rPr lang="ru-RU" sz="980" baseline="30000">
                <a:solidFill>
                  <a:srgbClr val="6D6E71"/>
                </a:solidFill>
                <a:latin typeface="Roboto"/>
                <a:cs typeface="Roboto"/>
              </a:rPr>
              <a:t>1 </a:t>
            </a:r>
            <a:r>
              <a:rPr lang="ru-RU" sz="980">
                <a:solidFill>
                  <a:srgbClr val="747578"/>
                </a:solidFill>
                <a:latin typeface="Roboto"/>
                <a:cs typeface="Roboto"/>
              </a:rPr>
              <a:t>совместно </a:t>
            </a:r>
            <a:r>
              <a:rPr lang="ru-RU" sz="980">
                <a:solidFill>
                  <a:srgbClr val="6D6E71"/>
                </a:solidFill>
                <a:latin typeface="Roboto"/>
                <a:cs typeface="Roboto"/>
              </a:rPr>
              <a:t>с топ-менеджментом в сессионном формате с акцентами </a:t>
            </a:r>
            <a:br>
              <a:rPr lang="ru-RU" sz="980">
                <a:solidFill>
                  <a:srgbClr val="6D6E71"/>
                </a:solidFill>
                <a:latin typeface="Roboto"/>
                <a:cs typeface="Roboto"/>
              </a:rPr>
            </a:br>
            <a:r>
              <a:rPr lang="ru-RU" sz="980">
                <a:solidFill>
                  <a:srgbClr val="6D6E71"/>
                </a:solidFill>
                <a:latin typeface="Roboto"/>
                <a:cs typeface="Roboto"/>
              </a:rPr>
              <a:t>для разных аудиторий компании: уровни управления, острова инноваций и т. п.</a:t>
            </a:r>
            <a:endParaRPr lang="ru-RU" sz="980">
              <a:latin typeface="Roboto"/>
              <a:cs typeface="Roboto"/>
            </a:endParaRPr>
          </a:p>
          <a:p>
            <a:pPr marL="12495" marR="5937">
              <a:lnSpc>
                <a:spcPts val="1259"/>
              </a:lnSpc>
              <a:spcBef>
                <a:spcPts val="315"/>
              </a:spcBef>
              <a:buClr>
                <a:srgbClr val="252C69"/>
              </a:buClr>
            </a:pPr>
            <a:endParaRPr lang="ru-RU" sz="980">
              <a:latin typeface="Roboto"/>
              <a:cs typeface="Roboto"/>
            </a:endParaRPr>
          </a:p>
        </p:txBody>
      </p:sp>
      <p:grpSp>
        <p:nvGrpSpPr>
          <p:cNvPr id="8" name="Группа 7">
            <a:extLst>
              <a:ext uri="{FF2B5EF4-FFF2-40B4-BE49-F238E27FC236}">
                <a16:creationId xmlns:a16="http://schemas.microsoft.com/office/drawing/2014/main" id="{2B736D56-C618-40BD-9773-4FF5BF3A3C22}"/>
              </a:ext>
            </a:extLst>
          </p:cNvPr>
          <p:cNvGrpSpPr/>
          <p:nvPr/>
        </p:nvGrpSpPr>
        <p:grpSpPr>
          <a:xfrm>
            <a:off x="344876" y="1814300"/>
            <a:ext cx="241361" cy="167713"/>
            <a:chOff x="8235951" y="3248026"/>
            <a:chExt cx="525463" cy="365125"/>
          </a:xfrm>
          <a:solidFill>
            <a:srgbClr val="252C69"/>
          </a:solidFill>
        </p:grpSpPr>
        <p:sp>
          <p:nvSpPr>
            <p:cNvPr id="9" name="Freeform 180">
              <a:extLst>
                <a:ext uri="{FF2B5EF4-FFF2-40B4-BE49-F238E27FC236}">
                  <a16:creationId xmlns:a16="http://schemas.microsoft.com/office/drawing/2014/main" id="{F9637C3B-A8A3-4279-B317-454C255B9123}"/>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1">
              <a:extLst>
                <a:ext uri="{FF2B5EF4-FFF2-40B4-BE49-F238E27FC236}">
                  <a16:creationId xmlns:a16="http://schemas.microsoft.com/office/drawing/2014/main" id="{1134DB44-277D-433A-984E-FCEA1AF54AEB}"/>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2">
              <a:extLst>
                <a:ext uri="{FF2B5EF4-FFF2-40B4-BE49-F238E27FC236}">
                  <a16:creationId xmlns:a16="http://schemas.microsoft.com/office/drawing/2014/main" id="{6E76CAA4-D1CE-462B-A7DB-2EF8E38CD482}"/>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3">
              <a:extLst>
                <a:ext uri="{FF2B5EF4-FFF2-40B4-BE49-F238E27FC236}">
                  <a16:creationId xmlns:a16="http://schemas.microsoft.com/office/drawing/2014/main" id="{547959C1-5D78-447A-811A-16BE68B94C16}"/>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3" name="Freeform 184">
              <a:extLst>
                <a:ext uri="{FF2B5EF4-FFF2-40B4-BE49-F238E27FC236}">
                  <a16:creationId xmlns:a16="http://schemas.microsoft.com/office/drawing/2014/main" id="{2C9D0614-4084-4B5C-BD83-B3079D67276B}"/>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4" name="Freeform 185">
              <a:extLst>
                <a:ext uri="{FF2B5EF4-FFF2-40B4-BE49-F238E27FC236}">
                  <a16:creationId xmlns:a16="http://schemas.microsoft.com/office/drawing/2014/main" id="{841D2850-54B7-4B22-AA1F-846500F70BF6}"/>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5" name="object 5">
            <a:extLst>
              <a:ext uri="{FF2B5EF4-FFF2-40B4-BE49-F238E27FC236}">
                <a16:creationId xmlns:a16="http://schemas.microsoft.com/office/drawing/2014/main" id="{6202125F-453E-483B-8E1A-3CD164F5D23A}"/>
              </a:ext>
            </a:extLst>
          </p:cNvPr>
          <p:cNvSpPr/>
          <p:nvPr/>
        </p:nvSpPr>
        <p:spPr>
          <a:xfrm flipH="1">
            <a:off x="672533" y="1762120"/>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7" name="object 5">
            <a:extLst>
              <a:ext uri="{FF2B5EF4-FFF2-40B4-BE49-F238E27FC236}">
                <a16:creationId xmlns:a16="http://schemas.microsoft.com/office/drawing/2014/main" id="{45A8217E-5A34-4E0A-A808-378FE12CD97B}"/>
              </a:ext>
            </a:extLst>
          </p:cNvPr>
          <p:cNvSpPr/>
          <p:nvPr/>
        </p:nvSpPr>
        <p:spPr>
          <a:xfrm flipH="1">
            <a:off x="672533" y="2222540"/>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8" name="object 4">
            <a:extLst>
              <a:ext uri="{FF2B5EF4-FFF2-40B4-BE49-F238E27FC236}">
                <a16:creationId xmlns:a16="http://schemas.microsoft.com/office/drawing/2014/main" id="{E23D2830-E470-4E26-93C4-006A21CDD467}"/>
              </a:ext>
            </a:extLst>
          </p:cNvPr>
          <p:cNvSpPr txBox="1"/>
          <p:nvPr/>
        </p:nvSpPr>
        <p:spPr>
          <a:xfrm>
            <a:off x="833058" y="2872991"/>
            <a:ext cx="5467333" cy="1465003"/>
          </a:xfrm>
          <a:prstGeom prst="rect">
            <a:avLst/>
          </a:prstGeom>
        </p:spPr>
        <p:txBody>
          <a:bodyPr vert="horz" wrap="square" lIns="0" tIns="13195" rIns="0" bIns="0" rtlCol="0">
            <a:spAutoFit/>
          </a:bodyPr>
          <a:lstStyle/>
          <a:p>
            <a:pPr marL="12495" marR="5277">
              <a:lnSpc>
                <a:spcPts val="1259"/>
              </a:lnSpc>
              <a:spcBef>
                <a:spcPts val="945"/>
              </a:spcBef>
              <a:buClr>
                <a:srgbClr val="252C69"/>
              </a:buClr>
            </a:pPr>
            <a:r>
              <a:rPr lang="ru-RU" sz="980">
                <a:solidFill>
                  <a:srgbClr val="6D6E71"/>
                </a:solidFill>
                <a:latin typeface="Roboto"/>
                <a:cs typeface="Roboto"/>
              </a:rPr>
              <a:t>Для конкретизации детализируется картина «как есть – как будет» для всех целевых аудиторий: то, что на уровне действий присуще другой культуре, </a:t>
            </a:r>
            <a:r>
              <a:rPr lang="ru-RU" sz="980">
                <a:solidFill>
                  <a:srgbClr val="747578"/>
                </a:solidFill>
                <a:latin typeface="Roboto"/>
                <a:cs typeface="Roboto"/>
              </a:rPr>
              <a:t>для каждого уровня управления и функции на основе модели.</a:t>
            </a:r>
          </a:p>
          <a:p>
            <a:pPr marL="12495" marR="5277">
              <a:lnSpc>
                <a:spcPts val="1259"/>
              </a:lnSpc>
              <a:spcBef>
                <a:spcPts val="945"/>
              </a:spcBef>
              <a:buClr>
                <a:srgbClr val="252C69"/>
              </a:buClr>
            </a:pPr>
            <a:r>
              <a:rPr lang="ru-RU" sz="980">
                <a:solidFill>
                  <a:srgbClr val="6D6E71"/>
                </a:solidFill>
                <a:latin typeface="Roboto"/>
                <a:cs typeface="Roboto"/>
              </a:rPr>
              <a:t>Для достижения уровня «как будет» людей проводят по всему циклу ADKAR</a:t>
            </a:r>
            <a:r>
              <a:rPr lang="ru-RU" sz="980" baseline="30000">
                <a:solidFill>
                  <a:srgbClr val="6D6E71"/>
                </a:solidFill>
                <a:latin typeface="Roboto"/>
                <a:cs typeface="Roboto"/>
              </a:rPr>
              <a:t>2</a:t>
            </a:r>
            <a:r>
              <a:rPr lang="ru-RU" sz="980">
                <a:solidFill>
                  <a:srgbClr val="6D6E71"/>
                </a:solidFill>
                <a:latin typeface="Roboto"/>
                <a:cs typeface="Roboto"/>
              </a:rPr>
              <a:t>, матрица месседжей может выстраиваться на основе мотивационного профиля, ключевые  месседжи доносятся на языке каждой аудитории по нужным каналам в правильной последовательности.</a:t>
            </a:r>
            <a:endParaRPr lang="ru-RU" sz="980">
              <a:latin typeface="Arial Narrow"/>
              <a:cs typeface="Arial Narrow"/>
            </a:endParaRPr>
          </a:p>
          <a:p>
            <a:pPr marL="12495" marR="5277">
              <a:lnSpc>
                <a:spcPts val="1259"/>
              </a:lnSpc>
              <a:spcBef>
                <a:spcPts val="104"/>
              </a:spcBef>
              <a:buClr>
                <a:srgbClr val="252C69"/>
              </a:buClr>
            </a:pPr>
            <a:endParaRPr lang="ru-RU" sz="980" spc="-5">
              <a:solidFill>
                <a:srgbClr val="6D6E71"/>
              </a:solidFill>
              <a:latin typeface="Roboto"/>
              <a:cs typeface="Roboto"/>
            </a:endParaRPr>
          </a:p>
        </p:txBody>
      </p:sp>
      <p:grpSp>
        <p:nvGrpSpPr>
          <p:cNvPr id="19" name="Группа 18">
            <a:extLst>
              <a:ext uri="{FF2B5EF4-FFF2-40B4-BE49-F238E27FC236}">
                <a16:creationId xmlns:a16="http://schemas.microsoft.com/office/drawing/2014/main" id="{DAB7A518-5A18-4BDD-8F23-15F1BEECE18F}"/>
              </a:ext>
            </a:extLst>
          </p:cNvPr>
          <p:cNvGrpSpPr/>
          <p:nvPr/>
        </p:nvGrpSpPr>
        <p:grpSpPr>
          <a:xfrm>
            <a:off x="323111" y="4904314"/>
            <a:ext cx="255244" cy="181832"/>
            <a:chOff x="10502900" y="3167063"/>
            <a:chExt cx="717550" cy="511176"/>
          </a:xfrm>
          <a:solidFill>
            <a:srgbClr val="252C69"/>
          </a:solidFill>
        </p:grpSpPr>
        <p:sp>
          <p:nvSpPr>
            <p:cNvPr id="20" name="Freeform 214">
              <a:extLst>
                <a:ext uri="{FF2B5EF4-FFF2-40B4-BE49-F238E27FC236}">
                  <a16:creationId xmlns:a16="http://schemas.microsoft.com/office/drawing/2014/main" id="{42B5259A-E30A-435E-97D0-B2C022169D12}"/>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1" name="Freeform 215">
              <a:extLst>
                <a:ext uri="{FF2B5EF4-FFF2-40B4-BE49-F238E27FC236}">
                  <a16:creationId xmlns:a16="http://schemas.microsoft.com/office/drawing/2014/main" id="{E72C7E44-35AD-4AE0-98EC-735D8477DD5F}"/>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2" name="Freeform 216">
              <a:extLst>
                <a:ext uri="{FF2B5EF4-FFF2-40B4-BE49-F238E27FC236}">
                  <a16:creationId xmlns:a16="http://schemas.microsoft.com/office/drawing/2014/main" id="{128A9FDC-64A7-44F8-AD23-BB7C84E5FB32}"/>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3" name="object 5">
            <a:extLst>
              <a:ext uri="{FF2B5EF4-FFF2-40B4-BE49-F238E27FC236}">
                <a16:creationId xmlns:a16="http://schemas.microsoft.com/office/drawing/2014/main" id="{CFCE0EEE-7546-4565-B20F-F38534FB0260}"/>
              </a:ext>
            </a:extLst>
          </p:cNvPr>
          <p:cNvSpPr/>
          <p:nvPr/>
        </p:nvSpPr>
        <p:spPr>
          <a:xfrm flipH="1">
            <a:off x="672056" y="2880384"/>
            <a:ext cx="71977" cy="1661757"/>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pic>
        <p:nvPicPr>
          <p:cNvPr id="35" name="Рисунок 34">
            <a:extLst>
              <a:ext uri="{FF2B5EF4-FFF2-40B4-BE49-F238E27FC236}">
                <a16:creationId xmlns:a16="http://schemas.microsoft.com/office/drawing/2014/main" id="{80BEFAD6-89FF-4C16-9313-FEDB482EF34A}"/>
              </a:ext>
            </a:extLst>
          </p:cNvPr>
          <p:cNvPicPr>
            <a:picLocks noChangeAspect="1"/>
          </p:cNvPicPr>
          <p:nvPr/>
        </p:nvPicPr>
        <p:blipFill>
          <a:blip r:embed="rId4"/>
          <a:stretch>
            <a:fillRect/>
          </a:stretch>
        </p:blipFill>
        <p:spPr>
          <a:xfrm>
            <a:off x="766763" y="4206162"/>
            <a:ext cx="5127431" cy="435136"/>
          </a:xfrm>
          <a:prstGeom prst="rect">
            <a:avLst/>
          </a:prstGeom>
        </p:spPr>
      </p:pic>
      <p:grpSp>
        <p:nvGrpSpPr>
          <p:cNvPr id="50" name="Группа 49">
            <a:extLst>
              <a:ext uri="{FF2B5EF4-FFF2-40B4-BE49-F238E27FC236}">
                <a16:creationId xmlns:a16="http://schemas.microsoft.com/office/drawing/2014/main" id="{02D04D3D-6C42-4C61-8DCA-78A69D8D6ACD}"/>
              </a:ext>
            </a:extLst>
          </p:cNvPr>
          <p:cNvGrpSpPr/>
          <p:nvPr/>
        </p:nvGrpSpPr>
        <p:grpSpPr>
          <a:xfrm>
            <a:off x="325844" y="2924175"/>
            <a:ext cx="257575" cy="182323"/>
            <a:chOff x="4800554" y="930116"/>
            <a:chExt cx="327660" cy="231933"/>
          </a:xfrm>
          <a:solidFill>
            <a:srgbClr val="252C69"/>
          </a:solidFill>
        </p:grpSpPr>
        <p:sp>
          <p:nvSpPr>
            <p:cNvPr id="51" name="Полилиния: фигура 50">
              <a:extLst>
                <a:ext uri="{FF2B5EF4-FFF2-40B4-BE49-F238E27FC236}">
                  <a16:creationId xmlns:a16="http://schemas.microsoft.com/office/drawing/2014/main" id="{5E156A91-38A2-43AE-B0B9-4DD122F14578}"/>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2" name="Полилиния: фигура 51">
              <a:extLst>
                <a:ext uri="{FF2B5EF4-FFF2-40B4-BE49-F238E27FC236}">
                  <a16:creationId xmlns:a16="http://schemas.microsoft.com/office/drawing/2014/main" id="{445DD9C8-259B-44CC-8EF7-C4CCE2C5A9B7}"/>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3" name="Полилиния: фигура 52">
              <a:extLst>
                <a:ext uri="{FF2B5EF4-FFF2-40B4-BE49-F238E27FC236}">
                  <a16:creationId xmlns:a16="http://schemas.microsoft.com/office/drawing/2014/main" id="{53AB4E38-26C6-4705-AF3E-BBEA46206DB4}"/>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4" name="Полилиния: фигура 53">
              <a:extLst>
                <a:ext uri="{FF2B5EF4-FFF2-40B4-BE49-F238E27FC236}">
                  <a16:creationId xmlns:a16="http://schemas.microsoft.com/office/drawing/2014/main" id="{F93FE7A5-6D2A-4EC6-9890-0957A6BCB9E7}"/>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5" name="Полилиния: фигура 54">
              <a:extLst>
                <a:ext uri="{FF2B5EF4-FFF2-40B4-BE49-F238E27FC236}">
                  <a16:creationId xmlns:a16="http://schemas.microsoft.com/office/drawing/2014/main" id="{EA2FD237-8D2E-4C6E-B38E-6B7A67A156FA}"/>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6" name="Полилиния: фигура 55">
              <a:extLst>
                <a:ext uri="{FF2B5EF4-FFF2-40B4-BE49-F238E27FC236}">
                  <a16:creationId xmlns:a16="http://schemas.microsoft.com/office/drawing/2014/main" id="{E1C5E3A3-5A70-4662-898D-5F00B0BE1F4F}"/>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57" name="object 4">
            <a:extLst>
              <a:ext uri="{FF2B5EF4-FFF2-40B4-BE49-F238E27FC236}">
                <a16:creationId xmlns:a16="http://schemas.microsoft.com/office/drawing/2014/main" id="{C6CE5BFA-FB19-4DCF-9CC3-E67F8F647C24}"/>
              </a:ext>
            </a:extLst>
          </p:cNvPr>
          <p:cNvSpPr txBox="1"/>
          <p:nvPr/>
        </p:nvSpPr>
        <p:spPr>
          <a:xfrm>
            <a:off x="856980" y="4834885"/>
            <a:ext cx="5443413" cy="785330"/>
          </a:xfrm>
          <a:prstGeom prst="rect">
            <a:avLst/>
          </a:prstGeom>
        </p:spPr>
        <p:txBody>
          <a:bodyPr vert="horz" wrap="square" lIns="0" tIns="13195" rIns="0" bIns="0" rtlCol="0">
            <a:spAutoFit/>
          </a:bodyPr>
          <a:lstStyle/>
          <a:p>
            <a:pPr marL="12495" marR="7256">
              <a:lnSpc>
                <a:spcPts val="1259"/>
              </a:lnSpc>
              <a:spcBef>
                <a:spcPts val="900"/>
              </a:spcBef>
              <a:buClr>
                <a:srgbClr val="252C69"/>
              </a:buClr>
            </a:pPr>
            <a:r>
              <a:rPr lang="ru-RU" sz="980">
                <a:solidFill>
                  <a:srgbClr val="6D6E71"/>
                </a:solidFill>
                <a:latin typeface="Roboto"/>
                <a:cs typeface="Roboto"/>
              </a:rPr>
              <a:t>Для возможности создания и подкрепления целевого образа действий производятся  изменения в бизнес-процессах компании.</a:t>
            </a:r>
            <a:endParaRPr lang="ru-RU" sz="980">
              <a:latin typeface="Roboto"/>
              <a:cs typeface="Roboto"/>
            </a:endParaRPr>
          </a:p>
          <a:p>
            <a:pPr marL="12495" marR="7256">
              <a:lnSpc>
                <a:spcPts val="1259"/>
              </a:lnSpc>
              <a:spcBef>
                <a:spcPts val="900"/>
              </a:spcBef>
              <a:buClr>
                <a:srgbClr val="252C69"/>
              </a:buClr>
            </a:pPr>
            <a:r>
              <a:rPr lang="ru-RU" sz="980">
                <a:solidFill>
                  <a:srgbClr val="6D6E71"/>
                </a:solidFill>
                <a:latin typeface="Roboto"/>
                <a:cs typeface="Roboto"/>
              </a:rPr>
              <a:t>Замер результатов проекта может стать первым шагом в построении системы </a:t>
            </a:r>
            <a:br>
              <a:rPr lang="ru-RU" sz="980">
                <a:solidFill>
                  <a:srgbClr val="6D6E71"/>
                </a:solidFill>
                <a:latin typeface="Roboto"/>
                <a:cs typeface="Roboto"/>
              </a:rPr>
            </a:br>
            <a:r>
              <a:rPr lang="ru-RU" sz="980">
                <a:solidFill>
                  <a:srgbClr val="6D6E71"/>
                </a:solidFill>
                <a:latin typeface="Roboto"/>
                <a:cs typeface="Roboto"/>
              </a:rPr>
              <a:t>управления по ценностям.</a:t>
            </a:r>
            <a:endParaRPr lang="ru-RU" sz="980">
              <a:latin typeface="Roboto"/>
              <a:cs typeface="Roboto"/>
            </a:endParaRPr>
          </a:p>
        </p:txBody>
      </p:sp>
      <p:sp>
        <p:nvSpPr>
          <p:cNvPr id="58" name="object 5">
            <a:extLst>
              <a:ext uri="{FF2B5EF4-FFF2-40B4-BE49-F238E27FC236}">
                <a16:creationId xmlns:a16="http://schemas.microsoft.com/office/drawing/2014/main" id="{E3AAA6A5-3219-4F33-85CE-01B07533EC7F}"/>
              </a:ext>
            </a:extLst>
          </p:cNvPr>
          <p:cNvSpPr/>
          <p:nvPr/>
        </p:nvSpPr>
        <p:spPr>
          <a:xfrm flipH="1">
            <a:off x="670635" y="4832850"/>
            <a:ext cx="73398" cy="815787"/>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59" name="object 44">
            <a:extLst>
              <a:ext uri="{FF2B5EF4-FFF2-40B4-BE49-F238E27FC236}">
                <a16:creationId xmlns:a16="http://schemas.microsoft.com/office/drawing/2014/main" id="{3BCE2FB2-886D-4776-B37C-72162D915B66}"/>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60" name="object 30">
            <a:extLst>
              <a:ext uri="{FF2B5EF4-FFF2-40B4-BE49-F238E27FC236}">
                <a16:creationId xmlns:a16="http://schemas.microsoft.com/office/drawing/2014/main" id="{99AAA265-DAC4-4467-AC9F-37065B8C422A}"/>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61" name="object 30">
            <a:extLst>
              <a:ext uri="{FF2B5EF4-FFF2-40B4-BE49-F238E27FC236}">
                <a16:creationId xmlns:a16="http://schemas.microsoft.com/office/drawing/2014/main" id="{E515903A-1E33-4028-A9EA-328CA5F915E4}"/>
              </a:ext>
            </a:extLst>
          </p:cNvPr>
          <p:cNvSpPr txBox="1"/>
          <p:nvPr/>
        </p:nvSpPr>
        <p:spPr>
          <a:xfrm>
            <a:off x="3444591" y="5988397"/>
            <a:ext cx="3323062" cy="705821"/>
          </a:xfrm>
          <a:prstGeom prst="rect">
            <a:avLst/>
          </a:prstGeom>
        </p:spPr>
        <p:txBody>
          <a:bodyPr vert="horz" wrap="square" lIns="0" tIns="13195" rIns="0" bIns="0" rtlCol="0">
            <a:spAutoFit/>
          </a:bodyPr>
          <a:lstStyle/>
          <a:p>
            <a:pPr marL="87739" marR="498724"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работка образа будущего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для целевых аудиторий в формате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ак есть – как будет»</a:t>
            </a:r>
          </a:p>
          <a:p>
            <a:pPr marL="87739" marR="212420"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Внедрение в культуру отдельных ценностей –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например, </a:t>
            </a:r>
            <a:r>
              <a:rPr lang="ru-RU" sz="800" err="1">
                <a:solidFill>
                  <a:srgbClr val="252C69"/>
                </a:solidFill>
                <a:latin typeface="Roboto" panose="02000000000000000000" pitchFamily="2" charset="0"/>
                <a:ea typeface="Roboto" panose="02000000000000000000" pitchFamily="2" charset="0"/>
                <a:cs typeface="Roboto" panose="02000000000000000000" pitchFamily="2" charset="0"/>
              </a:rPr>
              <a:t>клиентоцентричности</a:t>
            </a: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62" name="object 30">
            <a:extLst>
              <a:ext uri="{FF2B5EF4-FFF2-40B4-BE49-F238E27FC236}">
                <a16:creationId xmlns:a16="http://schemas.microsoft.com/office/drawing/2014/main" id="{D41ACBA4-1B3E-41B4-B5C0-F7A06D9F1863}"/>
              </a:ext>
            </a:extLst>
          </p:cNvPr>
          <p:cNvSpPr txBox="1"/>
          <p:nvPr/>
        </p:nvSpPr>
        <p:spPr>
          <a:xfrm>
            <a:off x="6410675" y="5988397"/>
            <a:ext cx="2604403" cy="536544"/>
          </a:xfrm>
          <a:prstGeom prst="rect">
            <a:avLst/>
          </a:prstGeom>
        </p:spPr>
        <p:txBody>
          <a:bodyPr vert="horz" wrap="square" lIns="0" tIns="13195" rIns="0" bIns="0" rtlCol="0">
            <a:spAutoFit/>
          </a:bodyPr>
          <a:lstStyle/>
          <a:p>
            <a:pPr marL="87739" marR="242105" indent="-74545">
              <a:spcBef>
                <a:spcPts val="535"/>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бновление ценностей компании</a:t>
            </a:r>
          </a:p>
          <a:p>
            <a:pPr marL="80481" indent="-67287">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аскадирование и внедрение ценностей</a:t>
            </a:r>
          </a:p>
          <a:p>
            <a:pPr marL="80481" indent="-67287">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65" name="object 26">
            <a:extLst>
              <a:ext uri="{FF2B5EF4-FFF2-40B4-BE49-F238E27FC236}">
                <a16:creationId xmlns:a16="http://schemas.microsoft.com/office/drawing/2014/main" id="{B75EA1E8-D1E3-4F76-92C4-C5C7F2373AB5}"/>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2</a:t>
            </a:r>
            <a:endParaRPr sz="3778">
              <a:solidFill>
                <a:schemeClr val="bg1"/>
              </a:solidFill>
              <a:latin typeface="Roboto"/>
              <a:cs typeface="Roboto"/>
            </a:endParaRPr>
          </a:p>
        </p:txBody>
      </p:sp>
      <p:sp>
        <p:nvSpPr>
          <p:cNvPr id="46" name="object 29">
            <a:extLst>
              <a:ext uri="{FF2B5EF4-FFF2-40B4-BE49-F238E27FC236}">
                <a16:creationId xmlns:a16="http://schemas.microsoft.com/office/drawing/2014/main" id="{E2C69440-82AA-4396-8780-E02F6096E4DF}"/>
              </a:ext>
            </a:extLst>
          </p:cNvPr>
          <p:cNvSpPr txBox="1"/>
          <p:nvPr/>
        </p:nvSpPr>
        <p:spPr>
          <a:xfrm>
            <a:off x="3787525" y="4566423"/>
            <a:ext cx="1863769" cy="105657"/>
          </a:xfrm>
          <a:prstGeom prst="rect">
            <a:avLst/>
          </a:prstGeom>
        </p:spPr>
        <p:txBody>
          <a:bodyPr vert="horz" wrap="square" lIns="0" tIns="13195" rIns="0" bIns="0" rtlCol="0">
            <a:spAutoFit/>
          </a:bodyPr>
          <a:lstStyle/>
          <a:p>
            <a:r>
              <a:rPr lang="ru-RU" sz="600" spc="-5">
                <a:solidFill>
                  <a:srgbClr val="747578"/>
                </a:solidFill>
                <a:latin typeface="Roboto"/>
                <a:cs typeface="Roboto"/>
              </a:rPr>
              <a:t>Автор модели </a:t>
            </a:r>
            <a:r>
              <a:rPr lang="ru-RU" sz="600" spc="-5">
                <a:solidFill>
                  <a:srgbClr val="6D6E71"/>
                </a:solidFill>
                <a:latin typeface="Roboto"/>
                <a:cs typeface="Roboto"/>
              </a:rPr>
              <a:t>ADKAR </a:t>
            </a:r>
            <a:r>
              <a:rPr lang="ru-RU" sz="600">
                <a:solidFill>
                  <a:srgbClr val="6D6E71"/>
                </a:solidFill>
                <a:latin typeface="Roboto"/>
                <a:cs typeface="Roboto"/>
              </a:rPr>
              <a:t>– </a:t>
            </a:r>
            <a:r>
              <a:rPr lang="ru-RU" sz="600" spc="-5">
                <a:solidFill>
                  <a:srgbClr val="6D6E71"/>
                </a:solidFill>
                <a:latin typeface="Roboto"/>
                <a:cs typeface="Roboto"/>
              </a:rPr>
              <a:t>Джеффри </a:t>
            </a:r>
            <a:r>
              <a:rPr lang="ru-RU" sz="600" err="1">
                <a:solidFill>
                  <a:srgbClr val="6D6E71"/>
                </a:solidFill>
                <a:latin typeface="Roboto"/>
                <a:cs typeface="Roboto"/>
              </a:rPr>
              <a:t>Хаятт</a:t>
            </a:r>
            <a:r>
              <a:rPr lang="ru-RU" sz="600">
                <a:solidFill>
                  <a:srgbClr val="6D6E71"/>
                </a:solidFill>
                <a:latin typeface="Roboto"/>
                <a:cs typeface="Roboto"/>
              </a:rPr>
              <a:t>,</a:t>
            </a:r>
            <a:r>
              <a:rPr lang="ru-RU" sz="600" spc="-52">
                <a:solidFill>
                  <a:srgbClr val="6D6E71"/>
                </a:solidFill>
                <a:latin typeface="Roboto"/>
                <a:cs typeface="Roboto"/>
              </a:rPr>
              <a:t> </a:t>
            </a:r>
            <a:r>
              <a:rPr lang="ru-RU" sz="600">
                <a:solidFill>
                  <a:srgbClr val="6D6E71"/>
                </a:solidFill>
                <a:latin typeface="Roboto"/>
                <a:cs typeface="Roboto"/>
              </a:rPr>
              <a:t>PROSCI</a:t>
            </a:r>
            <a:endParaRPr lang="ru-RU" sz="600">
              <a:latin typeface="Roboto"/>
              <a:cs typeface="Roboto"/>
            </a:endParaRPr>
          </a:p>
        </p:txBody>
      </p:sp>
      <p:sp>
        <p:nvSpPr>
          <p:cNvPr id="41" name="object 29">
            <a:extLst>
              <a:ext uri="{FF2B5EF4-FFF2-40B4-BE49-F238E27FC236}">
                <a16:creationId xmlns:a16="http://schemas.microsoft.com/office/drawing/2014/main" id="{98B947C1-0B7E-4185-BA5F-9C30BA5045DC}"/>
              </a:ext>
            </a:extLst>
          </p:cNvPr>
          <p:cNvSpPr txBox="1"/>
          <p:nvPr/>
        </p:nvSpPr>
        <p:spPr>
          <a:xfrm>
            <a:off x="6851650" y="5230692"/>
            <a:ext cx="4331334" cy="134447"/>
          </a:xfrm>
          <a:prstGeom prst="rect">
            <a:avLst/>
          </a:prstGeom>
        </p:spPr>
        <p:txBody>
          <a:bodyPr vert="horz" wrap="square" lIns="0" tIns="13195" rIns="0" bIns="0" rtlCol="0">
            <a:spAutoFit/>
          </a:bodyPr>
          <a:lstStyle/>
          <a:p>
            <a:r>
              <a:rPr lang="ru-RU" sz="787" spc="-5">
                <a:solidFill>
                  <a:srgbClr val="747578"/>
                </a:solidFill>
                <a:latin typeface="Roboto"/>
                <a:cs typeface="Roboto"/>
              </a:rPr>
              <a:t>Автор модели </a:t>
            </a:r>
            <a:r>
              <a:rPr lang="ru-RU" sz="787" spc="-5">
                <a:solidFill>
                  <a:srgbClr val="6D6E71"/>
                </a:solidFill>
                <a:latin typeface="Roboto"/>
                <a:cs typeface="Roboto"/>
              </a:rPr>
              <a:t>Спиральной динамики </a:t>
            </a:r>
            <a:r>
              <a:rPr lang="ru-RU" sz="787">
                <a:solidFill>
                  <a:srgbClr val="6D6E71"/>
                </a:solidFill>
                <a:latin typeface="Roboto"/>
                <a:cs typeface="Roboto"/>
              </a:rPr>
              <a:t>– </a:t>
            </a:r>
            <a:r>
              <a:rPr lang="ru-RU" sz="787" spc="-5">
                <a:solidFill>
                  <a:srgbClr val="6D6E71"/>
                </a:solidFill>
                <a:latin typeface="Roboto"/>
                <a:cs typeface="Roboto"/>
              </a:rPr>
              <a:t>Клэр В. </a:t>
            </a:r>
            <a:r>
              <a:rPr lang="ru-RU" sz="787" spc="-5" err="1">
                <a:solidFill>
                  <a:srgbClr val="6D6E71"/>
                </a:solidFill>
                <a:latin typeface="Roboto"/>
                <a:cs typeface="Roboto"/>
              </a:rPr>
              <a:t>Грейвз</a:t>
            </a:r>
            <a:r>
              <a:rPr lang="ru-RU" sz="787" spc="-5">
                <a:solidFill>
                  <a:srgbClr val="6D6E71"/>
                </a:solidFill>
                <a:latin typeface="Roboto"/>
                <a:cs typeface="Roboto"/>
              </a:rPr>
              <a:t> (</a:t>
            </a:r>
            <a:r>
              <a:rPr lang="en-US" sz="787" spc="-5">
                <a:solidFill>
                  <a:srgbClr val="6D6E71"/>
                </a:solidFill>
                <a:latin typeface="Roboto"/>
                <a:cs typeface="Roboto"/>
              </a:rPr>
              <a:t>Clare W. Graves)</a:t>
            </a:r>
            <a:endParaRPr lang="ru-RU" sz="787">
              <a:latin typeface="Roboto"/>
              <a:cs typeface="Roboto"/>
            </a:endParaRPr>
          </a:p>
        </p:txBody>
      </p:sp>
      <p:sp>
        <p:nvSpPr>
          <p:cNvPr id="45" name="object 29">
            <a:extLst>
              <a:ext uri="{FF2B5EF4-FFF2-40B4-BE49-F238E27FC236}">
                <a16:creationId xmlns:a16="http://schemas.microsoft.com/office/drawing/2014/main" id="{855E9825-385C-4C2D-A250-9D153BDA90CB}"/>
              </a:ext>
            </a:extLst>
          </p:cNvPr>
          <p:cNvSpPr txBox="1"/>
          <p:nvPr/>
        </p:nvSpPr>
        <p:spPr>
          <a:xfrm>
            <a:off x="6747775" y="5177139"/>
            <a:ext cx="95605" cy="141564"/>
          </a:xfrm>
          <a:prstGeom prst="rect">
            <a:avLst/>
          </a:prstGeom>
        </p:spPr>
        <p:txBody>
          <a:bodyPr vert="horz" wrap="square" lIns="0" tIns="13195" rIns="0" bIns="0" rtlCol="0">
            <a:spAutoFit/>
          </a:bodyPr>
          <a:lstStyle/>
          <a:p>
            <a:pPr marR="5277">
              <a:lnSpc>
                <a:spcPts val="1100"/>
              </a:lnSpc>
              <a:spcBef>
                <a:spcPts val="300"/>
              </a:spcBef>
            </a:pPr>
            <a:r>
              <a:rPr lang="ru-RU" sz="700" spc="-5">
                <a:solidFill>
                  <a:srgbClr val="6D6E71"/>
                </a:solidFill>
                <a:latin typeface="Roboto"/>
                <a:cs typeface="Roboto"/>
              </a:rPr>
              <a:t>1</a:t>
            </a:r>
            <a:endParaRPr sz="700">
              <a:solidFill>
                <a:srgbClr val="6D6E71"/>
              </a:solidFill>
              <a:latin typeface="Roboto"/>
              <a:cs typeface="Roboto"/>
            </a:endParaRPr>
          </a:p>
        </p:txBody>
      </p:sp>
      <p:sp>
        <p:nvSpPr>
          <p:cNvPr id="49" name="object 5">
            <a:extLst>
              <a:ext uri="{FF2B5EF4-FFF2-40B4-BE49-F238E27FC236}">
                <a16:creationId xmlns:a16="http://schemas.microsoft.com/office/drawing/2014/main" id="{AA8DBD91-55C3-4B72-BB60-8BE7BFA3DB70}"/>
              </a:ext>
            </a:extLst>
          </p:cNvPr>
          <p:cNvSpPr/>
          <p:nvPr/>
        </p:nvSpPr>
        <p:spPr>
          <a:xfrm flipH="1">
            <a:off x="672056" y="3004902"/>
            <a:ext cx="71977" cy="1661757"/>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42" name="object 29">
            <a:extLst>
              <a:ext uri="{FF2B5EF4-FFF2-40B4-BE49-F238E27FC236}">
                <a16:creationId xmlns:a16="http://schemas.microsoft.com/office/drawing/2014/main" id="{D2F3E201-20A2-4AD5-936A-28F2B2E8D6A1}"/>
              </a:ext>
            </a:extLst>
          </p:cNvPr>
          <p:cNvSpPr txBox="1"/>
          <p:nvPr/>
        </p:nvSpPr>
        <p:spPr>
          <a:xfrm>
            <a:off x="3706582" y="4501520"/>
            <a:ext cx="95605" cy="141564"/>
          </a:xfrm>
          <a:prstGeom prst="rect">
            <a:avLst/>
          </a:prstGeom>
        </p:spPr>
        <p:txBody>
          <a:bodyPr vert="horz" wrap="square" lIns="0" tIns="13195" rIns="0" bIns="0" rtlCol="0">
            <a:spAutoFit/>
          </a:bodyPr>
          <a:lstStyle/>
          <a:p>
            <a:pPr marR="5277">
              <a:lnSpc>
                <a:spcPts val="1100"/>
              </a:lnSpc>
              <a:spcBef>
                <a:spcPts val="300"/>
              </a:spcBef>
            </a:pPr>
            <a:r>
              <a:rPr lang="ru-RU" sz="600" spc="-5">
                <a:solidFill>
                  <a:srgbClr val="6D6E71"/>
                </a:solidFill>
                <a:latin typeface="Roboto"/>
                <a:cs typeface="Roboto"/>
              </a:rPr>
              <a:t>2</a:t>
            </a:r>
            <a:endParaRPr sz="600">
              <a:solidFill>
                <a:srgbClr val="6D6E71"/>
              </a:solidFill>
              <a:latin typeface="Roboto"/>
              <a:cs typeface="Roboto"/>
            </a:endParaRPr>
          </a:p>
        </p:txBody>
      </p:sp>
    </p:spTree>
    <p:extLst>
      <p:ext uri="{BB962C8B-B14F-4D97-AF65-F5344CB8AC3E}">
        <p14:creationId xmlns:p14="http://schemas.microsoft.com/office/powerpoint/2010/main" val="2263487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2">
            <a:extLst>
              <a:ext uri="{FF2B5EF4-FFF2-40B4-BE49-F238E27FC236}">
                <a16:creationId xmlns:a16="http://schemas.microsoft.com/office/drawing/2014/main" id="{505FC362-D90A-4206-A431-9A648D6E9DB1}"/>
              </a:ext>
            </a:extLst>
          </p:cNvPr>
          <p:cNvSpPr txBox="1">
            <a:spLocks/>
          </p:cNvSpPr>
          <p:nvPr/>
        </p:nvSpPr>
        <p:spPr>
          <a:xfrm>
            <a:off x="822290" y="494536"/>
            <a:ext cx="5142575" cy="267689"/>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a:spcBef>
                <a:spcPts val="104"/>
              </a:spcBef>
            </a:pPr>
            <a:r>
              <a:rPr lang="ru-RU" sz="1653">
                <a:latin typeface="Roboto" panose="02000000000000000000" pitchFamily="2" charset="0"/>
                <a:ea typeface="Roboto" panose="02000000000000000000" pitchFamily="2" charset="0"/>
                <a:cs typeface="Roboto" panose="02000000000000000000" pitchFamily="2" charset="0"/>
              </a:rPr>
              <a:t>РАЗВИТИЕ КОМАНД ПЕРВОГО УРОВНЯ</a:t>
            </a:r>
          </a:p>
        </p:txBody>
      </p:sp>
      <p:sp>
        <p:nvSpPr>
          <p:cNvPr id="4" name="object 17">
            <a:extLst>
              <a:ext uri="{FF2B5EF4-FFF2-40B4-BE49-F238E27FC236}">
                <a16:creationId xmlns:a16="http://schemas.microsoft.com/office/drawing/2014/main" id="{4ED416FF-4C39-487A-96B8-3577D3A66B6C}"/>
              </a:ext>
            </a:extLst>
          </p:cNvPr>
          <p:cNvSpPr txBox="1"/>
          <p:nvPr/>
        </p:nvSpPr>
        <p:spPr>
          <a:xfrm>
            <a:off x="833059" y="1117603"/>
            <a:ext cx="5467333" cy="788408"/>
          </a:xfrm>
          <a:prstGeom prst="rect">
            <a:avLst/>
          </a:prstGeom>
        </p:spPr>
        <p:txBody>
          <a:bodyPr vert="horz" wrap="square" lIns="0" tIns="13195" rIns="0" bIns="0" rtlCol="0">
            <a:spAutoFit/>
          </a:bodyPr>
          <a:lstStyle/>
          <a:p>
            <a:pPr marR="5277"/>
            <a:r>
              <a:rPr lang="ru-RU" sz="1259" spc="-11">
                <a:solidFill>
                  <a:srgbClr val="6D6E71"/>
                </a:solidFill>
                <a:latin typeface="Roboto"/>
                <a:cs typeface="Roboto"/>
              </a:rPr>
              <a:t>Команду </a:t>
            </a:r>
            <a:r>
              <a:rPr lang="ru-RU" sz="1259" spc="-5">
                <a:solidFill>
                  <a:srgbClr val="6D6E71"/>
                </a:solidFill>
                <a:latin typeface="Roboto"/>
                <a:cs typeface="Roboto"/>
              </a:rPr>
              <a:t>первого уровня </a:t>
            </a:r>
            <a:r>
              <a:rPr lang="ru-RU" sz="1259">
                <a:solidFill>
                  <a:srgbClr val="6D6E71"/>
                </a:solidFill>
                <a:latin typeface="Roboto"/>
                <a:cs typeface="Roboto"/>
              </a:rPr>
              <a:t>мы </a:t>
            </a:r>
            <a:r>
              <a:rPr lang="ru-RU" sz="1259" spc="-5">
                <a:solidFill>
                  <a:srgbClr val="6D6E71"/>
                </a:solidFill>
                <a:latin typeface="Roboto"/>
                <a:cs typeface="Roboto"/>
              </a:rPr>
              <a:t>рассматриваем как отдельный </a:t>
            </a:r>
            <a:br>
              <a:rPr lang="ru-RU" sz="1259" spc="-5">
                <a:solidFill>
                  <a:srgbClr val="6D6E71"/>
                </a:solidFill>
                <a:latin typeface="Roboto"/>
                <a:cs typeface="Roboto"/>
              </a:rPr>
            </a:br>
            <a:r>
              <a:rPr lang="ru-RU" sz="1259" spc="-5">
                <a:solidFill>
                  <a:srgbClr val="6D6E71"/>
                </a:solidFill>
                <a:latin typeface="Roboto"/>
                <a:cs typeface="Roboto"/>
              </a:rPr>
              <a:t>объект управления, усиление </a:t>
            </a:r>
            <a:r>
              <a:rPr lang="ru-RU" sz="1259" spc="-11">
                <a:solidFill>
                  <a:srgbClr val="6D6E71"/>
                </a:solidFill>
                <a:latin typeface="Roboto"/>
                <a:cs typeface="Roboto"/>
              </a:rPr>
              <a:t>которого </a:t>
            </a:r>
            <a:r>
              <a:rPr lang="ru-RU" sz="1259">
                <a:solidFill>
                  <a:srgbClr val="6D6E71"/>
                </a:solidFill>
                <a:latin typeface="Roboto"/>
                <a:cs typeface="Roboto"/>
              </a:rPr>
              <a:t>с </a:t>
            </a:r>
            <a:r>
              <a:rPr lang="ru-RU" sz="1259" spc="-5">
                <a:solidFill>
                  <a:srgbClr val="6D6E71"/>
                </a:solidFill>
                <a:latin typeface="Roboto"/>
                <a:cs typeface="Roboto"/>
              </a:rPr>
              <a:t>опорой </a:t>
            </a:r>
            <a:r>
              <a:rPr lang="ru-RU" sz="1259">
                <a:solidFill>
                  <a:srgbClr val="6D6E71"/>
                </a:solidFill>
                <a:latin typeface="Roboto"/>
                <a:cs typeface="Roboto"/>
              </a:rPr>
              <a:t>на </a:t>
            </a:r>
            <a:r>
              <a:rPr lang="ru-RU" sz="1259" spc="-5">
                <a:solidFill>
                  <a:srgbClr val="6D6E71"/>
                </a:solidFill>
                <a:latin typeface="Roboto"/>
                <a:cs typeface="Roboto"/>
              </a:rPr>
              <a:t>принципы целостного организационного </a:t>
            </a:r>
            <a:r>
              <a:rPr lang="ru-RU" sz="1259">
                <a:solidFill>
                  <a:srgbClr val="6D6E71"/>
                </a:solidFill>
                <a:latin typeface="Roboto"/>
                <a:cs typeface="Roboto"/>
              </a:rPr>
              <a:t>разви</a:t>
            </a:r>
            <a:r>
              <a:rPr lang="ru-RU" sz="1259" spc="-5">
                <a:solidFill>
                  <a:srgbClr val="6D6E71"/>
                </a:solidFill>
                <a:latin typeface="Roboto"/>
                <a:cs typeface="Roboto"/>
              </a:rPr>
              <a:t>тия становится </a:t>
            </a:r>
            <a:r>
              <a:rPr lang="ru-RU" sz="1259">
                <a:solidFill>
                  <a:srgbClr val="6D6E71"/>
                </a:solidFill>
                <a:latin typeface="Roboto"/>
                <a:cs typeface="Roboto"/>
              </a:rPr>
              <a:t>мощным </a:t>
            </a:r>
            <a:r>
              <a:rPr lang="ru-RU" sz="1259" spc="-11">
                <a:solidFill>
                  <a:srgbClr val="6D6E71"/>
                </a:solidFill>
                <a:latin typeface="Roboto"/>
                <a:cs typeface="Roboto"/>
              </a:rPr>
              <a:t>импульсом </a:t>
            </a:r>
            <a:r>
              <a:rPr lang="ru-RU" sz="1259">
                <a:solidFill>
                  <a:srgbClr val="6D6E71"/>
                </a:solidFill>
                <a:latin typeface="Roboto"/>
                <a:cs typeface="Roboto"/>
              </a:rPr>
              <a:t>для </a:t>
            </a:r>
            <a:r>
              <a:rPr lang="ru-RU" sz="1259" spc="-5">
                <a:solidFill>
                  <a:srgbClr val="6D6E71"/>
                </a:solidFill>
                <a:latin typeface="Roboto"/>
                <a:cs typeface="Roboto"/>
              </a:rPr>
              <a:t>трансформации всей </a:t>
            </a:r>
            <a:r>
              <a:rPr lang="ru-RU" sz="1259" spc="-11">
                <a:solidFill>
                  <a:srgbClr val="6D6E71"/>
                </a:solidFill>
                <a:latin typeface="Roboto"/>
                <a:cs typeface="Roboto"/>
              </a:rPr>
              <a:t>компании.</a:t>
            </a:r>
            <a:endParaRPr lang="ru-RU" sz="1259">
              <a:latin typeface="Roboto"/>
              <a:cs typeface="Roboto"/>
            </a:endParaRPr>
          </a:p>
        </p:txBody>
      </p:sp>
      <p:sp>
        <p:nvSpPr>
          <p:cNvPr id="5" name="object 4">
            <a:extLst>
              <a:ext uri="{FF2B5EF4-FFF2-40B4-BE49-F238E27FC236}">
                <a16:creationId xmlns:a16="http://schemas.microsoft.com/office/drawing/2014/main" id="{C08BDFFB-C90D-459E-96D7-FFD8E9AE7942}"/>
              </a:ext>
            </a:extLst>
          </p:cNvPr>
          <p:cNvSpPr txBox="1"/>
          <p:nvPr/>
        </p:nvSpPr>
        <p:spPr>
          <a:xfrm>
            <a:off x="833058" y="2139099"/>
            <a:ext cx="5570273" cy="952042"/>
          </a:xfrm>
          <a:prstGeom prst="rect">
            <a:avLst/>
          </a:prstGeom>
        </p:spPr>
        <p:txBody>
          <a:bodyPr vert="horz" wrap="square" lIns="0" tIns="13195" rIns="0" bIns="0" rtlCol="0">
            <a:spAutoFit/>
          </a:bodyPr>
          <a:lstStyle/>
          <a:p>
            <a:pPr marL="12496" marR="5277">
              <a:lnSpc>
                <a:spcPts val="1259"/>
              </a:lnSpc>
              <a:spcBef>
                <a:spcPts val="945"/>
              </a:spcBef>
              <a:buClr>
                <a:srgbClr val="252C69"/>
              </a:buClr>
            </a:pPr>
            <a:r>
              <a:rPr lang="ru-RU" sz="980">
                <a:solidFill>
                  <a:srgbClr val="6D6E71"/>
                </a:solidFill>
                <a:latin typeface="Roboto"/>
                <a:cs typeface="Roboto"/>
              </a:rPr>
              <a:t>Трансформация компании возможна только через трансформацию управленческих команд.</a:t>
            </a:r>
            <a:endParaRPr lang="ru-RU" sz="980">
              <a:latin typeface="Roboto"/>
              <a:cs typeface="Roboto"/>
            </a:endParaRPr>
          </a:p>
          <a:p>
            <a:pPr marL="12496" marR="5277">
              <a:lnSpc>
                <a:spcPts val="1259"/>
              </a:lnSpc>
              <a:spcBef>
                <a:spcPts val="945"/>
              </a:spcBef>
              <a:buClr>
                <a:srgbClr val="252C69"/>
              </a:buClr>
            </a:pPr>
            <a:r>
              <a:rPr lang="ru-RU" sz="980">
                <a:solidFill>
                  <a:srgbClr val="6D6E71"/>
                </a:solidFill>
                <a:latin typeface="Roboto"/>
                <a:cs typeface="Roboto"/>
              </a:rPr>
              <a:t>Важно развивать управленческие команды комплексно: гармонизировать </a:t>
            </a:r>
            <a:r>
              <a:rPr lang="ru-RU" sz="980" err="1">
                <a:solidFill>
                  <a:srgbClr val="6D6E71"/>
                </a:solidFill>
                <a:latin typeface="Roboto"/>
                <a:cs typeface="Roboto"/>
              </a:rPr>
              <a:t>психоло</a:t>
            </a:r>
            <a:r>
              <a:rPr lang="ru-RU" sz="980">
                <a:solidFill>
                  <a:srgbClr val="6D6E71"/>
                </a:solidFill>
                <a:latin typeface="Roboto"/>
                <a:cs typeface="Roboto"/>
              </a:rPr>
              <a:t>-</a:t>
            </a:r>
            <a:br>
              <a:rPr lang="ru-RU" sz="980">
                <a:solidFill>
                  <a:srgbClr val="6D6E71"/>
                </a:solidFill>
                <a:latin typeface="Roboto"/>
                <a:cs typeface="Roboto"/>
              </a:rPr>
            </a:br>
            <a:r>
              <a:rPr lang="ru-RU" sz="980" err="1">
                <a:solidFill>
                  <a:srgbClr val="6D6E71"/>
                </a:solidFill>
                <a:latin typeface="Roboto"/>
                <a:cs typeface="Roboto"/>
              </a:rPr>
              <a:t>гическое</a:t>
            </a:r>
            <a:r>
              <a:rPr lang="ru-RU" sz="980">
                <a:solidFill>
                  <a:srgbClr val="6D6E71"/>
                </a:solidFill>
                <a:latin typeface="Roboto"/>
                <a:cs typeface="Roboto"/>
              </a:rPr>
              <a:t> поле команды, расширять ментальную картину мира, усиливать и развивать стратегические амбиции, выстраивать баланс между персональной и коллективной ответственностью.</a:t>
            </a:r>
            <a:endParaRPr lang="ru-RU" sz="980">
              <a:latin typeface="Roboto"/>
              <a:cs typeface="Roboto"/>
            </a:endParaRPr>
          </a:p>
        </p:txBody>
      </p:sp>
      <p:grpSp>
        <p:nvGrpSpPr>
          <p:cNvPr id="6" name="Группа 5">
            <a:extLst>
              <a:ext uri="{FF2B5EF4-FFF2-40B4-BE49-F238E27FC236}">
                <a16:creationId xmlns:a16="http://schemas.microsoft.com/office/drawing/2014/main" id="{A553EF14-F0C5-4E16-9CE3-972458C8696C}"/>
              </a:ext>
            </a:extLst>
          </p:cNvPr>
          <p:cNvGrpSpPr/>
          <p:nvPr/>
        </p:nvGrpSpPr>
        <p:grpSpPr>
          <a:xfrm>
            <a:off x="344876" y="2193465"/>
            <a:ext cx="241361" cy="167713"/>
            <a:chOff x="8235951" y="3248026"/>
            <a:chExt cx="525463" cy="365125"/>
          </a:xfrm>
          <a:solidFill>
            <a:srgbClr val="252C69"/>
          </a:solidFill>
        </p:grpSpPr>
        <p:sp>
          <p:nvSpPr>
            <p:cNvPr id="7" name="Freeform 180">
              <a:extLst>
                <a:ext uri="{FF2B5EF4-FFF2-40B4-BE49-F238E27FC236}">
                  <a16:creationId xmlns:a16="http://schemas.microsoft.com/office/drawing/2014/main" id="{518C97F5-E7E1-4080-B304-1E4B6A052797}"/>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8" name="Freeform 181">
              <a:extLst>
                <a:ext uri="{FF2B5EF4-FFF2-40B4-BE49-F238E27FC236}">
                  <a16:creationId xmlns:a16="http://schemas.microsoft.com/office/drawing/2014/main" id="{A3559E80-B2D2-4D41-9218-CEC574C97894}"/>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9" name="Freeform 182">
              <a:extLst>
                <a:ext uri="{FF2B5EF4-FFF2-40B4-BE49-F238E27FC236}">
                  <a16:creationId xmlns:a16="http://schemas.microsoft.com/office/drawing/2014/main" id="{6280AACB-698B-459E-8DB6-2248F108555B}"/>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3">
              <a:extLst>
                <a:ext uri="{FF2B5EF4-FFF2-40B4-BE49-F238E27FC236}">
                  <a16:creationId xmlns:a16="http://schemas.microsoft.com/office/drawing/2014/main" id="{09453886-368A-4848-A7C4-65A66DA53E29}"/>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4">
              <a:extLst>
                <a:ext uri="{FF2B5EF4-FFF2-40B4-BE49-F238E27FC236}">
                  <a16:creationId xmlns:a16="http://schemas.microsoft.com/office/drawing/2014/main" id="{A9AE90DE-21DC-4C95-A146-099DB784990C}"/>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5">
              <a:extLst>
                <a:ext uri="{FF2B5EF4-FFF2-40B4-BE49-F238E27FC236}">
                  <a16:creationId xmlns:a16="http://schemas.microsoft.com/office/drawing/2014/main" id="{166B6810-C3EC-458D-9149-FB463C180D50}"/>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3" name="object 5">
            <a:extLst>
              <a:ext uri="{FF2B5EF4-FFF2-40B4-BE49-F238E27FC236}">
                <a16:creationId xmlns:a16="http://schemas.microsoft.com/office/drawing/2014/main" id="{77126EC3-B330-4F6E-BC8A-0112F88292D4}"/>
              </a:ext>
            </a:extLst>
          </p:cNvPr>
          <p:cNvSpPr/>
          <p:nvPr/>
        </p:nvSpPr>
        <p:spPr>
          <a:xfrm flipH="1">
            <a:off x="672533" y="2141285"/>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7" name="object 5">
            <a:extLst>
              <a:ext uri="{FF2B5EF4-FFF2-40B4-BE49-F238E27FC236}">
                <a16:creationId xmlns:a16="http://schemas.microsoft.com/office/drawing/2014/main" id="{E7E3EF3E-28B3-4C79-ADC6-C013FC73353A}"/>
              </a:ext>
            </a:extLst>
          </p:cNvPr>
          <p:cNvSpPr/>
          <p:nvPr/>
        </p:nvSpPr>
        <p:spPr>
          <a:xfrm flipH="1">
            <a:off x="672533" y="2525065"/>
            <a:ext cx="71500" cy="580599"/>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9" name="object 4">
            <a:extLst>
              <a:ext uri="{FF2B5EF4-FFF2-40B4-BE49-F238E27FC236}">
                <a16:creationId xmlns:a16="http://schemas.microsoft.com/office/drawing/2014/main" id="{3F287D0D-A14C-4BCA-81A7-3C2A77C145FC}"/>
              </a:ext>
            </a:extLst>
          </p:cNvPr>
          <p:cNvSpPr txBox="1"/>
          <p:nvPr/>
        </p:nvSpPr>
        <p:spPr>
          <a:xfrm>
            <a:off x="833058" y="3257037"/>
            <a:ext cx="5467333" cy="785330"/>
          </a:xfrm>
          <a:prstGeom prst="rect">
            <a:avLst/>
          </a:prstGeom>
        </p:spPr>
        <p:txBody>
          <a:bodyPr vert="horz" wrap="square" lIns="0" tIns="13195" rIns="0" bIns="0" rtlCol="0">
            <a:spAutoFit/>
          </a:bodyPr>
          <a:lstStyle/>
          <a:p>
            <a:pPr marR="5277">
              <a:lnSpc>
                <a:spcPts val="1259"/>
              </a:lnSpc>
              <a:spcBef>
                <a:spcPts val="945"/>
              </a:spcBef>
              <a:buClr>
                <a:srgbClr val="252C69"/>
              </a:buClr>
            </a:pPr>
            <a:r>
              <a:rPr lang="ru-RU" sz="980">
                <a:solidFill>
                  <a:srgbClr val="6D6E71"/>
                </a:solidFill>
                <a:latin typeface="Roboto"/>
                <a:cs typeface="Roboto"/>
              </a:rPr>
              <a:t>Распределение командных/функциональных ролей обязательно закрепляется в бизнес-процессах компании.</a:t>
            </a:r>
            <a:endParaRPr lang="ru-RU" sz="980">
              <a:latin typeface="Roboto"/>
              <a:cs typeface="Roboto"/>
            </a:endParaRPr>
          </a:p>
          <a:p>
            <a:pPr marR="5277">
              <a:lnSpc>
                <a:spcPts val="1259"/>
              </a:lnSpc>
              <a:spcBef>
                <a:spcPts val="945"/>
              </a:spcBef>
              <a:buClr>
                <a:srgbClr val="252C69"/>
              </a:buClr>
            </a:pPr>
            <a:r>
              <a:rPr lang="ru-RU" sz="980">
                <a:solidFill>
                  <a:srgbClr val="6D6E71"/>
                </a:solidFill>
                <a:latin typeface="Roboto"/>
                <a:cs typeface="Roboto"/>
              </a:rPr>
              <a:t>В поддержку развития команды первого уровня трансформируется деятельность функций </a:t>
            </a:r>
            <a:br>
              <a:rPr lang="ru-RU" sz="980">
                <a:solidFill>
                  <a:srgbClr val="6D6E71"/>
                </a:solidFill>
                <a:latin typeface="Roboto"/>
                <a:cs typeface="Roboto"/>
              </a:rPr>
            </a:br>
            <a:r>
              <a:rPr lang="ru-RU" sz="980">
                <a:solidFill>
                  <a:srgbClr val="6D6E71"/>
                </a:solidFill>
                <a:latin typeface="Roboto"/>
                <a:cs typeface="Roboto"/>
              </a:rPr>
              <a:t>и развиваются управленческие команды второго уровня.</a:t>
            </a:r>
            <a:endParaRPr lang="ru-RU" sz="980">
              <a:latin typeface="Roboto"/>
              <a:cs typeface="Roboto"/>
            </a:endParaRPr>
          </a:p>
        </p:txBody>
      </p:sp>
      <p:grpSp>
        <p:nvGrpSpPr>
          <p:cNvPr id="20" name="Группа 19">
            <a:extLst>
              <a:ext uri="{FF2B5EF4-FFF2-40B4-BE49-F238E27FC236}">
                <a16:creationId xmlns:a16="http://schemas.microsoft.com/office/drawing/2014/main" id="{7A503EE4-26DA-4C22-BFFF-BC197EF33860}"/>
              </a:ext>
            </a:extLst>
          </p:cNvPr>
          <p:cNvGrpSpPr/>
          <p:nvPr/>
        </p:nvGrpSpPr>
        <p:grpSpPr>
          <a:xfrm>
            <a:off x="323111" y="3325588"/>
            <a:ext cx="255244" cy="181832"/>
            <a:chOff x="10502900" y="3167063"/>
            <a:chExt cx="717550" cy="511176"/>
          </a:xfrm>
          <a:solidFill>
            <a:srgbClr val="252C69"/>
          </a:solidFill>
        </p:grpSpPr>
        <p:sp>
          <p:nvSpPr>
            <p:cNvPr id="21" name="Freeform 214">
              <a:extLst>
                <a:ext uri="{FF2B5EF4-FFF2-40B4-BE49-F238E27FC236}">
                  <a16:creationId xmlns:a16="http://schemas.microsoft.com/office/drawing/2014/main" id="{993DA090-2706-4E51-8708-399B0409C26B}"/>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2" name="Freeform 215">
              <a:extLst>
                <a:ext uri="{FF2B5EF4-FFF2-40B4-BE49-F238E27FC236}">
                  <a16:creationId xmlns:a16="http://schemas.microsoft.com/office/drawing/2014/main" id="{D984F4DF-5404-4EAE-8D06-07C49FB72AE4}"/>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3" name="Freeform 216">
              <a:extLst>
                <a:ext uri="{FF2B5EF4-FFF2-40B4-BE49-F238E27FC236}">
                  <a16:creationId xmlns:a16="http://schemas.microsoft.com/office/drawing/2014/main" id="{DEB5F4C4-5231-4D92-A124-FB1033CB898B}"/>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4" name="object 5">
            <a:extLst>
              <a:ext uri="{FF2B5EF4-FFF2-40B4-BE49-F238E27FC236}">
                <a16:creationId xmlns:a16="http://schemas.microsoft.com/office/drawing/2014/main" id="{E00B9EC5-BEDD-47C6-8CEE-252234D9ED0D}"/>
              </a:ext>
            </a:extLst>
          </p:cNvPr>
          <p:cNvSpPr/>
          <p:nvPr/>
        </p:nvSpPr>
        <p:spPr>
          <a:xfrm flipH="1">
            <a:off x="672053" y="3268548"/>
            <a:ext cx="71499" cy="785329"/>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35" name="Группа 34">
            <a:extLst>
              <a:ext uri="{FF2B5EF4-FFF2-40B4-BE49-F238E27FC236}">
                <a16:creationId xmlns:a16="http://schemas.microsoft.com/office/drawing/2014/main" id="{D1CCA030-2AD0-4C2D-8806-26E98ED6B795}"/>
              </a:ext>
            </a:extLst>
          </p:cNvPr>
          <p:cNvGrpSpPr/>
          <p:nvPr/>
        </p:nvGrpSpPr>
        <p:grpSpPr>
          <a:xfrm>
            <a:off x="325844" y="4298182"/>
            <a:ext cx="257575" cy="182323"/>
            <a:chOff x="4800554" y="930116"/>
            <a:chExt cx="327660" cy="231933"/>
          </a:xfrm>
          <a:solidFill>
            <a:srgbClr val="252C69"/>
          </a:solidFill>
        </p:grpSpPr>
        <p:sp>
          <p:nvSpPr>
            <p:cNvPr id="36" name="Полилиния: фигура 35">
              <a:extLst>
                <a:ext uri="{FF2B5EF4-FFF2-40B4-BE49-F238E27FC236}">
                  <a16:creationId xmlns:a16="http://schemas.microsoft.com/office/drawing/2014/main" id="{8EFCD54F-C167-4B9F-95C3-B82D98656D5A}"/>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7" name="Полилиния: фигура 36">
              <a:extLst>
                <a:ext uri="{FF2B5EF4-FFF2-40B4-BE49-F238E27FC236}">
                  <a16:creationId xmlns:a16="http://schemas.microsoft.com/office/drawing/2014/main" id="{39586246-AE1C-4ACB-8160-A04C5B088DB6}"/>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8" name="Полилиния: фигура 37">
              <a:extLst>
                <a:ext uri="{FF2B5EF4-FFF2-40B4-BE49-F238E27FC236}">
                  <a16:creationId xmlns:a16="http://schemas.microsoft.com/office/drawing/2014/main" id="{7225A3D3-D334-4875-A743-77F856E330DA}"/>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9" name="Полилиния: фигура 38">
              <a:extLst>
                <a:ext uri="{FF2B5EF4-FFF2-40B4-BE49-F238E27FC236}">
                  <a16:creationId xmlns:a16="http://schemas.microsoft.com/office/drawing/2014/main" id="{A2D0499C-EAC4-45EE-A578-79531AD9BDDC}"/>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0" name="Полилиния: фигура 39">
              <a:extLst>
                <a:ext uri="{FF2B5EF4-FFF2-40B4-BE49-F238E27FC236}">
                  <a16:creationId xmlns:a16="http://schemas.microsoft.com/office/drawing/2014/main" id="{30855447-2872-4EC1-8A64-C39EB88F08E9}"/>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1" name="Полилиния: фигура 40">
              <a:extLst>
                <a:ext uri="{FF2B5EF4-FFF2-40B4-BE49-F238E27FC236}">
                  <a16:creationId xmlns:a16="http://schemas.microsoft.com/office/drawing/2014/main" id="{C08A1285-030B-45BC-9FBD-80EFB585F93B}"/>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42" name="object 4">
            <a:extLst>
              <a:ext uri="{FF2B5EF4-FFF2-40B4-BE49-F238E27FC236}">
                <a16:creationId xmlns:a16="http://schemas.microsoft.com/office/drawing/2014/main" id="{01342AC7-76FE-4133-B416-128F9232057D}"/>
              </a:ext>
            </a:extLst>
          </p:cNvPr>
          <p:cNvSpPr txBox="1"/>
          <p:nvPr/>
        </p:nvSpPr>
        <p:spPr>
          <a:xfrm>
            <a:off x="822796" y="4229090"/>
            <a:ext cx="5443413" cy="314945"/>
          </a:xfrm>
          <a:prstGeom prst="rect">
            <a:avLst/>
          </a:prstGeom>
        </p:spPr>
        <p:txBody>
          <a:bodyPr vert="horz" wrap="square" lIns="0" tIns="13195" rIns="0" bIns="0" rtlCol="0">
            <a:spAutoFit/>
          </a:bodyPr>
          <a:lstStyle/>
          <a:p>
            <a:pPr marL="12497" marR="5277">
              <a:spcBef>
                <a:spcPts val="104"/>
              </a:spcBef>
              <a:buClr>
                <a:srgbClr val="252C69"/>
              </a:buClr>
            </a:pPr>
            <a:r>
              <a:rPr lang="ru-RU" sz="980">
                <a:solidFill>
                  <a:srgbClr val="6D6E71"/>
                </a:solidFill>
                <a:latin typeface="Roboto"/>
                <a:cs typeface="Roboto"/>
              </a:rPr>
              <a:t>Для того чтобы изменения были отмечены и внедрены на системном уровне, необходимы коммуникационная фокусировка и трансляция ценности трансформации команды.</a:t>
            </a:r>
            <a:endParaRPr lang="ru-RU" sz="980">
              <a:latin typeface="Roboto"/>
              <a:cs typeface="Roboto"/>
            </a:endParaRPr>
          </a:p>
        </p:txBody>
      </p:sp>
      <p:sp>
        <p:nvSpPr>
          <p:cNvPr id="43" name="object 5">
            <a:extLst>
              <a:ext uri="{FF2B5EF4-FFF2-40B4-BE49-F238E27FC236}">
                <a16:creationId xmlns:a16="http://schemas.microsoft.com/office/drawing/2014/main" id="{5516BA00-1047-40F3-8D81-11B4E066F949}"/>
              </a:ext>
            </a:extLst>
          </p:cNvPr>
          <p:cNvSpPr/>
          <p:nvPr/>
        </p:nvSpPr>
        <p:spPr>
          <a:xfrm flipH="1">
            <a:off x="670635" y="4227056"/>
            <a:ext cx="73878"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44" name="object 44">
            <a:extLst>
              <a:ext uri="{FF2B5EF4-FFF2-40B4-BE49-F238E27FC236}">
                <a16:creationId xmlns:a16="http://schemas.microsoft.com/office/drawing/2014/main" id="{42AB3161-2CAC-4491-ADAC-41AF13003BFA}"/>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45" name="object 30">
            <a:extLst>
              <a:ext uri="{FF2B5EF4-FFF2-40B4-BE49-F238E27FC236}">
                <a16:creationId xmlns:a16="http://schemas.microsoft.com/office/drawing/2014/main" id="{7F2460B8-6821-4927-8931-8CE0CC1065F9}"/>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46" name="object 30">
            <a:extLst>
              <a:ext uri="{FF2B5EF4-FFF2-40B4-BE49-F238E27FC236}">
                <a16:creationId xmlns:a16="http://schemas.microsoft.com/office/drawing/2014/main" id="{1EF69508-1228-462F-A7D1-FA3E37203882}"/>
              </a:ext>
            </a:extLst>
          </p:cNvPr>
          <p:cNvSpPr txBox="1"/>
          <p:nvPr/>
        </p:nvSpPr>
        <p:spPr>
          <a:xfrm>
            <a:off x="6403332" y="5988397"/>
            <a:ext cx="3323062" cy="705821"/>
          </a:xfrm>
          <a:prstGeom prst="rect">
            <a:avLst/>
          </a:prstGeom>
        </p:spPr>
        <p:txBody>
          <a:bodyPr vert="horz" wrap="square" lIns="0" tIns="13195" rIns="0" bIns="0" rtlCol="0">
            <a:spAutoFit/>
          </a:bodyPr>
          <a:lstStyle/>
          <a:p>
            <a:pPr marL="87739" marR="146451" indent="-74545">
              <a:spcBef>
                <a:spcPts val="587"/>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ценка лидерского потенциала,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мотиваторов и деструкторов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chemeClr val="tx2"/>
                </a:solidFill>
                <a:latin typeface="Roboto" panose="02000000000000000000" pitchFamily="2" charset="0"/>
                <a:ea typeface="Roboto" panose="02000000000000000000" pitchFamily="2" charset="0"/>
                <a:cs typeface="Roboto" panose="02000000000000000000" pitchFamily="2" charset="0"/>
              </a:rPr>
              <a:t>руководителей</a:t>
            </a:r>
            <a:r>
              <a:rPr lang="en-US" sz="800">
                <a:solidFill>
                  <a:schemeClr val="tx2"/>
                </a:solidFill>
                <a:latin typeface="Roboto" panose="02000000000000000000" pitchFamily="2" charset="0"/>
                <a:ea typeface="Roboto" panose="02000000000000000000" pitchFamily="2" charset="0"/>
                <a:cs typeface="Roboto" panose="02000000000000000000" pitchFamily="2" charset="0"/>
              </a:rPr>
              <a:t>/ Hogan</a:t>
            </a:r>
            <a:endParaRPr lang="ru-RU" sz="800">
              <a:solidFill>
                <a:schemeClr val="tx2"/>
              </a:solidFill>
              <a:latin typeface="Roboto" panose="02000000000000000000" pitchFamily="2" charset="0"/>
              <a:ea typeface="Roboto" panose="02000000000000000000" pitchFamily="2" charset="0"/>
              <a:cs typeface="Roboto" panose="02000000000000000000" pitchFamily="2" charset="0"/>
            </a:endParaRPr>
          </a:p>
          <a:p>
            <a:pPr marL="87739" marR="234190"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этического кодекса/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омандной хартии</a:t>
            </a:r>
          </a:p>
        </p:txBody>
      </p:sp>
      <p:sp>
        <p:nvSpPr>
          <p:cNvPr id="47" name="object 30">
            <a:extLst>
              <a:ext uri="{FF2B5EF4-FFF2-40B4-BE49-F238E27FC236}">
                <a16:creationId xmlns:a16="http://schemas.microsoft.com/office/drawing/2014/main" id="{07D80D8F-C932-4961-AA92-8073A6290F4C}"/>
              </a:ext>
            </a:extLst>
          </p:cNvPr>
          <p:cNvSpPr txBox="1"/>
          <p:nvPr/>
        </p:nvSpPr>
        <p:spPr>
          <a:xfrm>
            <a:off x="3456771" y="5988397"/>
            <a:ext cx="2375318" cy="880228"/>
          </a:xfrm>
          <a:prstGeom prst="rect">
            <a:avLst/>
          </a:prstGeom>
        </p:spPr>
        <p:txBody>
          <a:bodyPr vert="horz" wrap="square" lIns="0" tIns="13195" rIns="0" bIns="0" rtlCol="0">
            <a:spAutoFit/>
          </a:bodyPr>
          <a:lstStyle/>
          <a:p>
            <a:pPr marL="87739" marR="138535" indent="-74545">
              <a:spcBef>
                <a:spcPts val="529"/>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Менеджерские, проектные, ко</a:t>
            </a:r>
            <a:r>
              <a:rPr lang="ru-RU" sz="800">
                <a:solidFill>
                  <a:schemeClr val="tx2"/>
                </a:solidFill>
                <a:latin typeface="Roboto" panose="02000000000000000000" pitchFamily="2" charset="0"/>
                <a:ea typeface="Roboto" panose="02000000000000000000" pitchFamily="2" charset="0"/>
                <a:cs typeface="Roboto" panose="02000000000000000000" pitchFamily="2" charset="0"/>
              </a:rPr>
              <a:t>ммуни</a:t>
            </a: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ационные, функциональные сессии и </a:t>
            </a:r>
            <a:r>
              <a:rPr lang="ru-RU" sz="800" err="1">
                <a:solidFill>
                  <a:srgbClr val="252C69"/>
                </a:solidFill>
                <a:latin typeface="Roboto" panose="02000000000000000000" pitchFamily="2" charset="0"/>
                <a:ea typeface="Roboto" panose="02000000000000000000" pitchFamily="2" charset="0"/>
                <a:cs typeface="Roboto" panose="02000000000000000000" pitchFamily="2" charset="0"/>
              </a:rPr>
              <a:t>форсайт</a:t>
            </a: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сессии</a:t>
            </a:r>
          </a:p>
          <a:p>
            <a:pPr marL="87739" marR="138535" indent="-74545">
              <a:spcBef>
                <a:spcPts val="529"/>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Индивидуальный коучинг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уководителей</a:t>
            </a:r>
          </a:p>
          <a:p>
            <a:pPr marL="87739" marR="138535" indent="-74545">
              <a:spcBef>
                <a:spcPts val="529"/>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48" name="object 30">
            <a:extLst>
              <a:ext uri="{FF2B5EF4-FFF2-40B4-BE49-F238E27FC236}">
                <a16:creationId xmlns:a16="http://schemas.microsoft.com/office/drawing/2014/main" id="{64D8781B-3165-4798-A871-0B7A5247D153}"/>
              </a:ext>
            </a:extLst>
          </p:cNvPr>
          <p:cNvSpPr txBox="1"/>
          <p:nvPr/>
        </p:nvSpPr>
        <p:spPr>
          <a:xfrm>
            <a:off x="9240811" y="5988398"/>
            <a:ext cx="3323062" cy="459600"/>
          </a:xfrm>
          <a:prstGeom prst="rect">
            <a:avLst/>
          </a:prstGeom>
        </p:spPr>
        <p:txBody>
          <a:bodyPr vert="horz" wrap="square" lIns="0" tIns="13195" rIns="0" bIns="0" rtlCol="0">
            <a:spAutoFit/>
          </a:bodyPr>
          <a:lstStyle/>
          <a:p>
            <a:pPr marL="87739" marR="255300"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лидерской модели</a:t>
            </a:r>
          </a:p>
          <a:p>
            <a:pPr marL="87739" marR="255300" indent="-74545">
              <a:spcBef>
                <a:spcPts val="587"/>
              </a:spcBef>
              <a:buFontTx/>
              <a:buChar char="·"/>
              <a:tabLst>
                <a:tab pos="81141" algn="l"/>
              </a:tabLst>
            </a:pPr>
            <a:r>
              <a:rPr lang="en-US" sz="800">
                <a:solidFill>
                  <a:schemeClr val="tx2"/>
                </a:solidFill>
                <a:latin typeface="Roboto" panose="02000000000000000000" pitchFamily="2" charset="0"/>
                <a:ea typeface="Roboto" panose="02000000000000000000" pitchFamily="2" charset="0"/>
                <a:cs typeface="Roboto" panose="02000000000000000000" pitchFamily="2" charset="0"/>
              </a:rPr>
              <a:t>Team</a:t>
            </a:r>
            <a:r>
              <a:rPr lang="ru-RU" sz="800">
                <a:solidFill>
                  <a:schemeClr val="tx2"/>
                </a:solidFill>
                <a:latin typeface="Roboto" panose="02000000000000000000" pitchFamily="2" charset="0"/>
                <a:ea typeface="Roboto" panose="02000000000000000000" pitchFamily="2" charset="0"/>
                <a:cs typeface="Roboto" panose="02000000000000000000" pitchFamily="2" charset="0"/>
              </a:rPr>
              <a:t>-барометр, описание </a:t>
            </a:r>
            <a:br>
              <a:rPr lang="ru-RU" sz="800">
                <a:solidFill>
                  <a:schemeClr val="tx2"/>
                </a:solidFill>
                <a:latin typeface="Roboto" panose="02000000000000000000" pitchFamily="2" charset="0"/>
                <a:ea typeface="Roboto" panose="02000000000000000000" pitchFamily="2" charset="0"/>
                <a:cs typeface="Roboto" panose="02000000000000000000" pitchFamily="2" charset="0"/>
              </a:rPr>
            </a:br>
            <a:r>
              <a:rPr lang="ru-RU" sz="800">
                <a:solidFill>
                  <a:schemeClr val="tx2"/>
                </a:solidFill>
                <a:latin typeface="Roboto" panose="02000000000000000000" pitchFamily="2" charset="0"/>
                <a:ea typeface="Roboto" panose="02000000000000000000" pitchFamily="2" charset="0"/>
                <a:cs typeface="Roboto" panose="02000000000000000000" pitchFamily="2" charset="0"/>
              </a:rPr>
              <a:t>командных ролей</a:t>
            </a:r>
          </a:p>
        </p:txBody>
      </p:sp>
      <p:sp>
        <p:nvSpPr>
          <p:cNvPr id="49" name="object 29">
            <a:extLst>
              <a:ext uri="{FF2B5EF4-FFF2-40B4-BE49-F238E27FC236}">
                <a16:creationId xmlns:a16="http://schemas.microsoft.com/office/drawing/2014/main" id="{E015D535-5798-4083-8A03-508C1C805E22}"/>
              </a:ext>
            </a:extLst>
          </p:cNvPr>
          <p:cNvSpPr txBox="1"/>
          <p:nvPr/>
        </p:nvSpPr>
        <p:spPr>
          <a:xfrm>
            <a:off x="6691136" y="5230276"/>
            <a:ext cx="4331334" cy="134447"/>
          </a:xfrm>
          <a:prstGeom prst="rect">
            <a:avLst/>
          </a:prstGeom>
        </p:spPr>
        <p:txBody>
          <a:bodyPr vert="horz" wrap="square" lIns="0" tIns="13195" rIns="0" bIns="0" rtlCol="0">
            <a:spAutoFit/>
          </a:bodyPr>
          <a:lstStyle/>
          <a:p>
            <a:pPr marL="13194" marR="5277">
              <a:spcBef>
                <a:spcPts val="104"/>
              </a:spcBef>
            </a:pPr>
            <a:r>
              <a:rPr sz="787">
                <a:solidFill>
                  <a:srgbClr val="747578"/>
                </a:solidFill>
                <a:latin typeface="Roboto"/>
                <a:cs typeface="Roboto"/>
              </a:rPr>
              <a:t>(*) </a:t>
            </a:r>
            <a:r>
              <a:rPr sz="787" spc="-5" err="1">
                <a:solidFill>
                  <a:srgbClr val="747578"/>
                </a:solidFill>
                <a:latin typeface="Roboto"/>
                <a:cs typeface="Roboto"/>
              </a:rPr>
              <a:t>Модель</a:t>
            </a:r>
            <a:r>
              <a:rPr sz="787" spc="-5">
                <a:solidFill>
                  <a:srgbClr val="747578"/>
                </a:solidFill>
                <a:latin typeface="Roboto"/>
                <a:cs typeface="Roboto"/>
              </a:rPr>
              <a:t> </a:t>
            </a:r>
            <a:r>
              <a:rPr lang="en-US" sz="787" spc="-5">
                <a:solidFill>
                  <a:srgbClr val="747578"/>
                </a:solidFill>
                <a:latin typeface="Roboto"/>
                <a:cs typeface="Roboto"/>
              </a:rPr>
              <a:t>BITOBE</a:t>
            </a:r>
            <a:endParaRPr sz="787">
              <a:solidFill>
                <a:srgbClr val="747578"/>
              </a:solidFill>
              <a:latin typeface="Roboto"/>
              <a:cs typeface="Roboto"/>
            </a:endParaRPr>
          </a:p>
        </p:txBody>
      </p:sp>
      <p:sp>
        <p:nvSpPr>
          <p:cNvPr id="50" name="object 22">
            <a:extLst>
              <a:ext uri="{FF2B5EF4-FFF2-40B4-BE49-F238E27FC236}">
                <a16:creationId xmlns:a16="http://schemas.microsoft.com/office/drawing/2014/main" id="{002BF8DE-4326-48C3-83B4-63CF133012BD}"/>
              </a:ext>
            </a:extLst>
          </p:cNvPr>
          <p:cNvSpPr txBox="1"/>
          <p:nvPr/>
        </p:nvSpPr>
        <p:spPr>
          <a:xfrm>
            <a:off x="8092734" y="1034626"/>
            <a:ext cx="1719864" cy="301095"/>
          </a:xfrm>
          <a:prstGeom prst="rect">
            <a:avLst/>
          </a:prstGeom>
        </p:spPr>
        <p:txBody>
          <a:bodyPr vert="horz" wrap="square" lIns="0" tIns="13195" rIns="0" bIns="0" rtlCol="0">
            <a:spAutoFit/>
          </a:bodyPr>
          <a:lstStyle/>
          <a:p>
            <a:pPr algn="ctr">
              <a:spcBef>
                <a:spcPts val="104"/>
              </a:spcBef>
            </a:pPr>
            <a:r>
              <a:rPr sz="831" spc="-11">
                <a:solidFill>
                  <a:srgbClr val="6D6E71"/>
                </a:solidFill>
                <a:latin typeface="Roboto"/>
                <a:cs typeface="Roboto"/>
              </a:rPr>
              <a:t>УПРАВЛЕНЧЕСКИЕ</a:t>
            </a:r>
            <a:endParaRPr sz="831">
              <a:latin typeface="Roboto"/>
              <a:cs typeface="Roboto"/>
            </a:endParaRPr>
          </a:p>
          <a:p>
            <a:pPr algn="ctr">
              <a:spcBef>
                <a:spcPts val="41"/>
              </a:spcBef>
            </a:pPr>
            <a:r>
              <a:rPr sz="1039" b="1">
                <a:solidFill>
                  <a:srgbClr val="3763AF"/>
                </a:solidFill>
                <a:latin typeface="Roboto"/>
                <a:cs typeface="Roboto"/>
              </a:rPr>
              <a:t>АМБИЦИИ </a:t>
            </a:r>
            <a:r>
              <a:rPr sz="1039" b="1" spc="-11">
                <a:solidFill>
                  <a:srgbClr val="3763AF"/>
                </a:solidFill>
                <a:latin typeface="Roboto"/>
                <a:cs typeface="Roboto"/>
              </a:rPr>
              <a:t>ПЕРВОГО</a:t>
            </a:r>
            <a:r>
              <a:rPr sz="1039" b="1" spc="-57">
                <a:solidFill>
                  <a:srgbClr val="3763AF"/>
                </a:solidFill>
                <a:latin typeface="Roboto"/>
                <a:cs typeface="Roboto"/>
              </a:rPr>
              <a:t> </a:t>
            </a:r>
            <a:r>
              <a:rPr sz="1039" b="1" spc="-5">
                <a:solidFill>
                  <a:srgbClr val="3763AF"/>
                </a:solidFill>
                <a:latin typeface="Roboto"/>
                <a:cs typeface="Roboto"/>
              </a:rPr>
              <a:t>ЛИЦА</a:t>
            </a:r>
            <a:endParaRPr sz="1039">
              <a:latin typeface="Roboto"/>
              <a:cs typeface="Roboto"/>
            </a:endParaRPr>
          </a:p>
        </p:txBody>
      </p:sp>
      <p:sp>
        <p:nvSpPr>
          <p:cNvPr id="51" name="object 23">
            <a:extLst>
              <a:ext uri="{FF2B5EF4-FFF2-40B4-BE49-F238E27FC236}">
                <a16:creationId xmlns:a16="http://schemas.microsoft.com/office/drawing/2014/main" id="{0272F4A1-D01D-40D4-91D9-173B51A3B21E}"/>
              </a:ext>
            </a:extLst>
          </p:cNvPr>
          <p:cNvSpPr txBox="1"/>
          <p:nvPr/>
        </p:nvSpPr>
        <p:spPr>
          <a:xfrm>
            <a:off x="6735690" y="4351868"/>
            <a:ext cx="1529208" cy="141179"/>
          </a:xfrm>
          <a:prstGeom prst="rect">
            <a:avLst/>
          </a:prstGeom>
        </p:spPr>
        <p:txBody>
          <a:bodyPr vert="horz" wrap="square" lIns="0" tIns="13195" rIns="0" bIns="0" rtlCol="0">
            <a:spAutoFit/>
          </a:bodyPr>
          <a:lstStyle/>
          <a:p>
            <a:pPr marL="712464">
              <a:spcBef>
                <a:spcPts val="104"/>
              </a:spcBef>
            </a:pPr>
            <a:r>
              <a:rPr sz="831" spc="-5">
                <a:solidFill>
                  <a:srgbClr val="6D6E71"/>
                </a:solidFill>
                <a:latin typeface="Roboto"/>
                <a:cs typeface="Roboto"/>
              </a:rPr>
              <a:t>АМБИЦИОЗНАЯ</a:t>
            </a:r>
            <a:endParaRPr sz="831">
              <a:latin typeface="Roboto"/>
              <a:cs typeface="Roboto"/>
            </a:endParaRPr>
          </a:p>
        </p:txBody>
      </p:sp>
      <p:sp>
        <p:nvSpPr>
          <p:cNvPr id="52" name="object 24">
            <a:extLst>
              <a:ext uri="{FF2B5EF4-FFF2-40B4-BE49-F238E27FC236}">
                <a16:creationId xmlns:a16="http://schemas.microsoft.com/office/drawing/2014/main" id="{189E07F9-8C8A-4A89-BEC0-EFB6DFE2D8BF}"/>
              </a:ext>
            </a:extLst>
          </p:cNvPr>
          <p:cNvSpPr txBox="1"/>
          <p:nvPr/>
        </p:nvSpPr>
        <p:spPr>
          <a:xfrm>
            <a:off x="9555251" y="4351868"/>
            <a:ext cx="1408481" cy="301095"/>
          </a:xfrm>
          <a:prstGeom prst="rect">
            <a:avLst/>
          </a:prstGeom>
        </p:spPr>
        <p:txBody>
          <a:bodyPr vert="horz" wrap="square" lIns="0" tIns="13195" rIns="0" bIns="0" rtlCol="0">
            <a:spAutoFit/>
          </a:bodyPr>
          <a:lstStyle/>
          <a:p>
            <a:pPr marL="13194">
              <a:spcBef>
                <a:spcPts val="104"/>
              </a:spcBef>
            </a:pPr>
            <a:r>
              <a:rPr sz="831" spc="-11">
                <a:solidFill>
                  <a:srgbClr val="6D6E71"/>
                </a:solidFill>
                <a:latin typeface="Roboto"/>
                <a:cs typeface="Roboto"/>
              </a:rPr>
              <a:t>УПРАВЛЕНЧЕСКИЕ</a:t>
            </a:r>
            <a:endParaRPr sz="831">
              <a:latin typeface="Roboto"/>
              <a:cs typeface="Roboto"/>
            </a:endParaRPr>
          </a:p>
          <a:p>
            <a:pPr marL="13194">
              <a:spcBef>
                <a:spcPts val="41"/>
              </a:spcBef>
            </a:pPr>
            <a:r>
              <a:rPr sz="1039" b="1">
                <a:solidFill>
                  <a:srgbClr val="4FBD93"/>
                </a:solidFill>
                <a:latin typeface="Roboto"/>
                <a:cs typeface="Roboto"/>
              </a:rPr>
              <a:t>АМБИЦИИ</a:t>
            </a:r>
            <a:r>
              <a:rPr sz="1039" b="1" spc="-72">
                <a:solidFill>
                  <a:srgbClr val="4FBD93"/>
                </a:solidFill>
                <a:latin typeface="Roboto"/>
                <a:cs typeface="Roboto"/>
              </a:rPr>
              <a:t> </a:t>
            </a:r>
            <a:r>
              <a:rPr sz="1039" b="1" spc="-5">
                <a:solidFill>
                  <a:srgbClr val="4FBD93"/>
                </a:solidFill>
                <a:latin typeface="Roboto"/>
                <a:cs typeface="Roboto"/>
              </a:rPr>
              <a:t>КОМАНДЫ</a:t>
            </a:r>
            <a:endParaRPr sz="1039">
              <a:latin typeface="Roboto"/>
              <a:cs typeface="Roboto"/>
            </a:endParaRPr>
          </a:p>
        </p:txBody>
      </p:sp>
      <p:grpSp>
        <p:nvGrpSpPr>
          <p:cNvPr id="53" name="Группа 52">
            <a:extLst>
              <a:ext uri="{FF2B5EF4-FFF2-40B4-BE49-F238E27FC236}">
                <a16:creationId xmlns:a16="http://schemas.microsoft.com/office/drawing/2014/main" id="{D68C64FA-C55A-46FC-AFA0-6E51AAFEFD1E}"/>
              </a:ext>
            </a:extLst>
          </p:cNvPr>
          <p:cNvGrpSpPr/>
          <p:nvPr/>
        </p:nvGrpSpPr>
        <p:grpSpPr>
          <a:xfrm>
            <a:off x="7500295" y="1511505"/>
            <a:ext cx="2759197" cy="2741623"/>
            <a:chOff x="4938711" y="1062086"/>
            <a:chExt cx="1495425" cy="1485900"/>
          </a:xfrm>
        </p:grpSpPr>
        <p:pic>
          <p:nvPicPr>
            <p:cNvPr id="54" name="Рисунок 53">
              <a:extLst>
                <a:ext uri="{FF2B5EF4-FFF2-40B4-BE49-F238E27FC236}">
                  <a16:creationId xmlns:a16="http://schemas.microsoft.com/office/drawing/2014/main" id="{23986F00-FF24-4CEA-BAC1-72BBF21FD83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38711" y="1062086"/>
              <a:ext cx="1495425" cy="1485900"/>
            </a:xfrm>
            <a:prstGeom prst="rect">
              <a:avLst/>
            </a:prstGeom>
          </p:spPr>
        </p:pic>
        <p:sp>
          <p:nvSpPr>
            <p:cNvPr id="55" name="object 28">
              <a:extLst>
                <a:ext uri="{FF2B5EF4-FFF2-40B4-BE49-F238E27FC236}">
                  <a16:creationId xmlns:a16="http://schemas.microsoft.com/office/drawing/2014/main" id="{211470BF-DF4F-46C6-B2DC-F38AEE7F4FDA}"/>
                </a:ext>
              </a:extLst>
            </p:cNvPr>
            <p:cNvSpPr/>
            <p:nvPr/>
          </p:nvSpPr>
          <p:spPr>
            <a:xfrm>
              <a:off x="6035504" y="1944651"/>
              <a:ext cx="197136" cy="135634"/>
            </a:xfrm>
            <a:prstGeom prst="rect">
              <a:avLst/>
            </a:prstGeom>
            <a:blipFill>
              <a:blip r:embed="rId4" cstate="print"/>
              <a:stretch>
                <a:fillRect/>
              </a:stretch>
            </a:blipFill>
          </p:spPr>
          <p:txBody>
            <a:bodyPr wrap="square" lIns="0" tIns="0" rIns="0" bIns="0" rtlCol="0"/>
            <a:lstStyle/>
            <a:p>
              <a:endParaRPr sz="1870"/>
            </a:p>
          </p:txBody>
        </p:sp>
        <p:sp>
          <p:nvSpPr>
            <p:cNvPr id="56" name="object 29">
              <a:extLst>
                <a:ext uri="{FF2B5EF4-FFF2-40B4-BE49-F238E27FC236}">
                  <a16:creationId xmlns:a16="http://schemas.microsoft.com/office/drawing/2014/main" id="{4485CBE4-0345-47FB-AE79-90A144805C2A}"/>
                </a:ext>
              </a:extLst>
            </p:cNvPr>
            <p:cNvSpPr/>
            <p:nvPr/>
          </p:nvSpPr>
          <p:spPr>
            <a:xfrm>
              <a:off x="5620162" y="1233824"/>
              <a:ext cx="136240" cy="160359"/>
            </a:xfrm>
            <a:prstGeom prst="rect">
              <a:avLst/>
            </a:prstGeom>
            <a:blipFill>
              <a:blip r:embed="rId5" cstate="print"/>
              <a:stretch>
                <a:fillRect/>
              </a:stretch>
            </a:blipFill>
          </p:spPr>
          <p:txBody>
            <a:bodyPr wrap="square" lIns="0" tIns="0" rIns="0" bIns="0" rtlCol="0"/>
            <a:lstStyle/>
            <a:p>
              <a:endParaRPr sz="1870"/>
            </a:p>
          </p:txBody>
        </p:sp>
        <p:sp>
          <p:nvSpPr>
            <p:cNvPr id="57" name="object 30">
              <a:extLst>
                <a:ext uri="{FF2B5EF4-FFF2-40B4-BE49-F238E27FC236}">
                  <a16:creationId xmlns:a16="http://schemas.microsoft.com/office/drawing/2014/main" id="{DFA209A2-1990-40B7-8C0C-552BE902CE0E}"/>
                </a:ext>
              </a:extLst>
            </p:cNvPr>
            <p:cNvSpPr/>
            <p:nvPr/>
          </p:nvSpPr>
          <p:spPr>
            <a:xfrm>
              <a:off x="5140208" y="1978177"/>
              <a:ext cx="149357" cy="123330"/>
            </a:xfrm>
            <a:prstGeom prst="rect">
              <a:avLst/>
            </a:prstGeom>
            <a:blipFill>
              <a:blip r:embed="rId6" cstate="print"/>
              <a:stretch>
                <a:fillRect/>
              </a:stretch>
            </a:blipFill>
          </p:spPr>
          <p:txBody>
            <a:bodyPr wrap="square" lIns="0" tIns="0" rIns="0" bIns="0" rtlCol="0"/>
            <a:lstStyle/>
            <a:p>
              <a:endParaRPr sz="1870"/>
            </a:p>
          </p:txBody>
        </p:sp>
      </p:grpSp>
      <p:sp>
        <p:nvSpPr>
          <p:cNvPr id="58" name="object 26">
            <a:extLst>
              <a:ext uri="{FF2B5EF4-FFF2-40B4-BE49-F238E27FC236}">
                <a16:creationId xmlns:a16="http://schemas.microsoft.com/office/drawing/2014/main" id="{D55D99DF-E68E-49E9-923D-DBEF45422ECD}"/>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3</a:t>
            </a:r>
            <a:endParaRPr sz="3778">
              <a:solidFill>
                <a:schemeClr val="bg1"/>
              </a:solidFill>
              <a:latin typeface="Roboto"/>
              <a:cs typeface="Roboto"/>
            </a:endParaRPr>
          </a:p>
        </p:txBody>
      </p:sp>
      <p:sp>
        <p:nvSpPr>
          <p:cNvPr id="59" name="Прямоугольник 58">
            <a:extLst>
              <a:ext uri="{FF2B5EF4-FFF2-40B4-BE49-F238E27FC236}">
                <a16:creationId xmlns:a16="http://schemas.microsoft.com/office/drawing/2014/main" id="{0A3246F4-D8D2-4F50-BCEF-0077D3A92DBA}"/>
              </a:ext>
            </a:extLst>
          </p:cNvPr>
          <p:cNvSpPr/>
          <p:nvPr/>
        </p:nvSpPr>
        <p:spPr>
          <a:xfrm>
            <a:off x="6646762" y="5227181"/>
            <a:ext cx="179408" cy="233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2" name="Рисунок 61">
            <a:extLst>
              <a:ext uri="{FF2B5EF4-FFF2-40B4-BE49-F238E27FC236}">
                <a16:creationId xmlns:a16="http://schemas.microsoft.com/office/drawing/2014/main" id="{255319D6-B5A8-4075-B63A-BCCEEF42CA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02857" y="5254963"/>
            <a:ext cx="100013" cy="100013"/>
          </a:xfrm>
          <a:prstGeom prst="rect">
            <a:avLst/>
          </a:prstGeom>
        </p:spPr>
      </p:pic>
      <p:sp>
        <p:nvSpPr>
          <p:cNvPr id="60" name="object 23">
            <a:extLst>
              <a:ext uri="{FF2B5EF4-FFF2-40B4-BE49-F238E27FC236}">
                <a16:creationId xmlns:a16="http://schemas.microsoft.com/office/drawing/2014/main" id="{20644A3E-DF88-43C9-B5D2-2C38BB5DB897}"/>
              </a:ext>
            </a:extLst>
          </p:cNvPr>
          <p:cNvSpPr txBox="1"/>
          <p:nvPr/>
        </p:nvSpPr>
        <p:spPr>
          <a:xfrm>
            <a:off x="6742432" y="4474589"/>
            <a:ext cx="1529208" cy="173239"/>
          </a:xfrm>
          <a:prstGeom prst="rect">
            <a:avLst/>
          </a:prstGeom>
        </p:spPr>
        <p:txBody>
          <a:bodyPr vert="horz" wrap="square" lIns="0" tIns="13195" rIns="0" bIns="0" rtlCol="0">
            <a:spAutoFit/>
          </a:bodyPr>
          <a:lstStyle/>
          <a:p>
            <a:pPr marL="13194">
              <a:spcBef>
                <a:spcPts val="41"/>
              </a:spcBef>
            </a:pPr>
            <a:r>
              <a:rPr sz="1039" b="1" spc="-20">
                <a:solidFill>
                  <a:srgbClr val="FCB860"/>
                </a:solidFill>
                <a:latin typeface="Roboto"/>
                <a:cs typeface="Roboto"/>
              </a:rPr>
              <a:t>СТРАТЕГИЯ</a:t>
            </a:r>
            <a:r>
              <a:rPr sz="1039" b="1" spc="-77">
                <a:solidFill>
                  <a:srgbClr val="FCB860"/>
                </a:solidFill>
                <a:latin typeface="Roboto"/>
                <a:cs typeface="Roboto"/>
              </a:rPr>
              <a:t> </a:t>
            </a:r>
            <a:r>
              <a:rPr sz="1039" b="1" spc="-11">
                <a:solidFill>
                  <a:srgbClr val="FCB860"/>
                </a:solidFill>
                <a:latin typeface="Roboto"/>
                <a:cs typeface="Roboto"/>
              </a:rPr>
              <a:t>КОМПАНИИ</a:t>
            </a:r>
            <a:endParaRPr sz="1039">
              <a:latin typeface="Roboto"/>
              <a:cs typeface="Roboto"/>
            </a:endParaRPr>
          </a:p>
        </p:txBody>
      </p:sp>
    </p:spTree>
    <p:extLst>
      <p:ext uri="{BB962C8B-B14F-4D97-AF65-F5344CB8AC3E}">
        <p14:creationId xmlns:p14="http://schemas.microsoft.com/office/powerpoint/2010/main" val="2953455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32">
            <a:extLst>
              <a:ext uri="{FF2B5EF4-FFF2-40B4-BE49-F238E27FC236}">
                <a16:creationId xmlns:a16="http://schemas.microsoft.com/office/drawing/2014/main" id="{CCF13B05-6FFC-4AD5-A752-0A13E301FB97}"/>
              </a:ext>
            </a:extLst>
          </p:cNvPr>
          <p:cNvSpPr txBox="1">
            <a:spLocks/>
          </p:cNvSpPr>
          <p:nvPr/>
        </p:nvSpPr>
        <p:spPr>
          <a:xfrm>
            <a:off x="822290" y="354404"/>
            <a:ext cx="5849973" cy="522053"/>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marR="1038350">
              <a:spcBef>
                <a:spcPts val="104"/>
              </a:spcBef>
            </a:pPr>
            <a:r>
              <a:rPr lang="ru-RU" sz="1653">
                <a:latin typeface="Roboto" panose="02000000000000000000" pitchFamily="2" charset="0"/>
                <a:ea typeface="Roboto" panose="02000000000000000000" pitchFamily="2" charset="0"/>
                <a:cs typeface="Roboto" panose="02000000000000000000" pitchFamily="2" charset="0"/>
              </a:rPr>
              <a:t>ОБУЧЕНИЕ И РАЗВИТИЕ: ОТ КОМПЕТЕНЦИЙ </a:t>
            </a:r>
            <a:br>
              <a:rPr lang="ru-RU" sz="1653">
                <a:latin typeface="Roboto" panose="02000000000000000000" pitchFamily="2" charset="0"/>
                <a:ea typeface="Roboto" panose="02000000000000000000" pitchFamily="2" charset="0"/>
                <a:cs typeface="Roboto" panose="02000000000000000000" pitchFamily="2" charset="0"/>
              </a:rPr>
            </a:br>
            <a:r>
              <a:rPr lang="ru-RU" sz="1653">
                <a:latin typeface="Roboto" panose="02000000000000000000" pitchFamily="2" charset="0"/>
                <a:ea typeface="Roboto" panose="02000000000000000000" pitchFamily="2" charset="0"/>
                <a:cs typeface="Roboto" panose="02000000000000000000" pitchFamily="2" charset="0"/>
              </a:rPr>
              <a:t>К БИЗНЕС-РЕЗУЛЬТАТУ</a:t>
            </a:r>
          </a:p>
        </p:txBody>
      </p:sp>
      <p:sp>
        <p:nvSpPr>
          <p:cNvPr id="6" name="object 26">
            <a:extLst>
              <a:ext uri="{FF2B5EF4-FFF2-40B4-BE49-F238E27FC236}">
                <a16:creationId xmlns:a16="http://schemas.microsoft.com/office/drawing/2014/main" id="{9518E2F6-805A-4DD6-947E-DE197035838A}"/>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4</a:t>
            </a:r>
            <a:endParaRPr sz="3778">
              <a:solidFill>
                <a:schemeClr val="bg1"/>
              </a:solidFill>
              <a:latin typeface="Roboto"/>
              <a:cs typeface="Roboto"/>
            </a:endParaRPr>
          </a:p>
        </p:txBody>
      </p:sp>
      <p:sp>
        <p:nvSpPr>
          <p:cNvPr id="7" name="object 17">
            <a:extLst>
              <a:ext uri="{FF2B5EF4-FFF2-40B4-BE49-F238E27FC236}">
                <a16:creationId xmlns:a16="http://schemas.microsoft.com/office/drawing/2014/main" id="{5ADE57D2-8918-4467-8432-7F9FE7EF90E4}"/>
              </a:ext>
            </a:extLst>
          </p:cNvPr>
          <p:cNvSpPr txBox="1"/>
          <p:nvPr/>
        </p:nvSpPr>
        <p:spPr>
          <a:xfrm>
            <a:off x="833059" y="1117603"/>
            <a:ext cx="5467333" cy="594637"/>
          </a:xfrm>
          <a:prstGeom prst="rect">
            <a:avLst/>
          </a:prstGeom>
        </p:spPr>
        <p:txBody>
          <a:bodyPr vert="horz" wrap="square" lIns="0" tIns="13195" rIns="0" bIns="0" rtlCol="0">
            <a:spAutoFit/>
          </a:bodyPr>
          <a:lstStyle/>
          <a:p>
            <a:pPr marL="19131" marR="5277">
              <a:spcBef>
                <a:spcPts val="815"/>
              </a:spcBef>
            </a:pPr>
            <a:r>
              <a:rPr lang="ru-RU" sz="1259" spc="-5">
                <a:solidFill>
                  <a:srgbClr val="6D6E71"/>
                </a:solidFill>
                <a:latin typeface="Roboto"/>
                <a:cs typeface="Roboto"/>
              </a:rPr>
              <a:t>Мы создаем </a:t>
            </a:r>
            <a:r>
              <a:rPr lang="ru-RU" sz="1259" spc="-11">
                <a:solidFill>
                  <a:srgbClr val="6D6E71"/>
                </a:solidFill>
                <a:latin typeface="Roboto"/>
                <a:cs typeface="Roboto"/>
              </a:rPr>
              <a:t>экосистему </a:t>
            </a:r>
            <a:r>
              <a:rPr lang="ru-RU" sz="1259" spc="-5">
                <a:solidFill>
                  <a:srgbClr val="6D6E71"/>
                </a:solidFill>
                <a:latin typeface="Roboto"/>
                <a:cs typeface="Roboto"/>
              </a:rPr>
              <a:t>непрерывного развития </a:t>
            </a:r>
            <a:r>
              <a:rPr lang="ru-RU" sz="1259" spc="-11">
                <a:solidFill>
                  <a:srgbClr val="6D6E71"/>
                </a:solidFill>
                <a:latin typeface="Roboto"/>
                <a:cs typeface="Roboto"/>
              </a:rPr>
              <a:t>сотрудников, </a:t>
            </a:r>
            <a:br>
              <a:rPr lang="ru-RU" sz="1259" spc="-11">
                <a:solidFill>
                  <a:srgbClr val="6D6E71"/>
                </a:solidFill>
                <a:latin typeface="Roboto"/>
                <a:cs typeface="Roboto"/>
              </a:rPr>
            </a:br>
            <a:r>
              <a:rPr lang="ru-RU" sz="1259" spc="-11">
                <a:solidFill>
                  <a:srgbClr val="6D6E71"/>
                </a:solidFill>
                <a:latin typeface="Roboto"/>
                <a:cs typeface="Roboto"/>
              </a:rPr>
              <a:t>которая </a:t>
            </a:r>
            <a:r>
              <a:rPr lang="ru-RU" sz="1259" spc="-5">
                <a:solidFill>
                  <a:srgbClr val="6D6E71"/>
                </a:solidFill>
                <a:latin typeface="Roboto"/>
                <a:cs typeface="Roboto"/>
              </a:rPr>
              <a:t>является связующим </a:t>
            </a:r>
            <a:r>
              <a:rPr lang="ru-RU" sz="1259" spc="-11">
                <a:solidFill>
                  <a:srgbClr val="6D6E71"/>
                </a:solidFill>
                <a:latin typeface="Roboto"/>
                <a:cs typeface="Roboto"/>
              </a:rPr>
              <a:t>элементом </a:t>
            </a:r>
            <a:r>
              <a:rPr lang="ru-RU" sz="1259">
                <a:solidFill>
                  <a:srgbClr val="6D6E71"/>
                </a:solidFill>
                <a:latin typeface="Roboto"/>
                <a:cs typeface="Roboto"/>
              </a:rPr>
              <a:t>между </a:t>
            </a:r>
            <a:r>
              <a:rPr lang="ru-RU" sz="1259" spc="-5">
                <a:solidFill>
                  <a:srgbClr val="6D6E71"/>
                </a:solidFill>
                <a:highlight>
                  <a:srgbClr val="FFFFFF"/>
                </a:highlight>
                <a:latin typeface="Roboto"/>
                <a:cs typeface="Roboto"/>
              </a:rPr>
              <a:t>их компетентностным ростом</a:t>
            </a:r>
            <a:r>
              <a:rPr lang="ru-RU" sz="1259" spc="-11">
                <a:solidFill>
                  <a:srgbClr val="6D6E71"/>
                </a:solidFill>
                <a:latin typeface="Roboto"/>
                <a:cs typeface="Roboto"/>
              </a:rPr>
              <a:t> </a:t>
            </a:r>
            <a:r>
              <a:rPr lang="ru-RU" sz="1259">
                <a:solidFill>
                  <a:srgbClr val="6D6E71"/>
                </a:solidFill>
                <a:latin typeface="Roboto"/>
                <a:cs typeface="Roboto"/>
              </a:rPr>
              <a:t>и </a:t>
            </a:r>
            <a:r>
              <a:rPr lang="ru-RU" sz="1259" spc="-5">
                <a:solidFill>
                  <a:srgbClr val="6D6E71"/>
                </a:solidFill>
                <a:latin typeface="Roboto"/>
                <a:cs typeface="Roboto"/>
              </a:rPr>
              <a:t>достижением биз</a:t>
            </a:r>
            <a:r>
              <a:rPr lang="ru-RU" sz="1259" spc="-11">
                <a:solidFill>
                  <a:srgbClr val="6D6E71"/>
                </a:solidFill>
                <a:latin typeface="Roboto"/>
                <a:cs typeface="Roboto"/>
              </a:rPr>
              <a:t>нес-результатов.</a:t>
            </a:r>
            <a:endParaRPr lang="ru-RU" sz="1259">
              <a:latin typeface="Roboto"/>
              <a:cs typeface="Roboto"/>
            </a:endParaRPr>
          </a:p>
        </p:txBody>
      </p:sp>
      <p:sp>
        <p:nvSpPr>
          <p:cNvPr id="18" name="object 4">
            <a:extLst>
              <a:ext uri="{FF2B5EF4-FFF2-40B4-BE49-F238E27FC236}">
                <a16:creationId xmlns:a16="http://schemas.microsoft.com/office/drawing/2014/main" id="{C81F15CC-F034-45DE-B113-A694BCF00284}"/>
              </a:ext>
            </a:extLst>
          </p:cNvPr>
          <p:cNvSpPr txBox="1"/>
          <p:nvPr/>
        </p:nvSpPr>
        <p:spPr>
          <a:xfrm>
            <a:off x="833059" y="1923586"/>
            <a:ext cx="5447032" cy="785330"/>
          </a:xfrm>
          <a:prstGeom prst="rect">
            <a:avLst/>
          </a:prstGeom>
        </p:spPr>
        <p:txBody>
          <a:bodyPr vert="horz" wrap="square" lIns="0" tIns="13195" rIns="0" bIns="0" rtlCol="0">
            <a:spAutoFit/>
          </a:bodyPr>
          <a:lstStyle/>
          <a:p>
            <a:pPr marL="12497">
              <a:lnSpc>
                <a:spcPts val="1259"/>
              </a:lnSpc>
              <a:spcBef>
                <a:spcPts val="945"/>
              </a:spcBef>
              <a:buClr>
                <a:srgbClr val="252C69"/>
              </a:buClr>
            </a:pPr>
            <a:r>
              <a:rPr lang="ru-RU" sz="980">
                <a:solidFill>
                  <a:srgbClr val="6D6E71"/>
                </a:solidFill>
                <a:latin typeface="Roboto"/>
                <a:cs typeface="Roboto"/>
              </a:rPr>
              <a:t>Обучающие программы проектируются на базе исследования и только во взаимосвязи </a:t>
            </a:r>
            <a:br>
              <a:rPr lang="ru-RU" sz="980">
                <a:solidFill>
                  <a:srgbClr val="6D6E71"/>
                </a:solidFill>
                <a:latin typeface="Roboto"/>
                <a:cs typeface="Roboto"/>
              </a:rPr>
            </a:br>
            <a:r>
              <a:rPr lang="ru-RU" sz="980">
                <a:solidFill>
                  <a:srgbClr val="6D6E71"/>
                </a:solidFill>
                <a:latin typeface="Roboto"/>
                <a:cs typeface="Roboto"/>
              </a:rPr>
              <a:t>с бизнес-целями.</a:t>
            </a:r>
          </a:p>
          <a:p>
            <a:pPr marL="12497">
              <a:lnSpc>
                <a:spcPts val="1259"/>
              </a:lnSpc>
              <a:spcBef>
                <a:spcPts val="945"/>
              </a:spcBef>
              <a:buClr>
                <a:srgbClr val="252C69"/>
              </a:buClr>
            </a:pPr>
            <a:r>
              <a:rPr lang="ru-RU" sz="980">
                <a:solidFill>
                  <a:srgbClr val="6D6E71"/>
                </a:solidFill>
                <a:latin typeface="Roboto"/>
                <a:cs typeface="Roboto"/>
              </a:rPr>
              <a:t>Для определения стратегических компетенций и компетенций будущего проводится </a:t>
            </a:r>
            <a:br>
              <a:rPr lang="ru-RU" sz="980">
                <a:solidFill>
                  <a:srgbClr val="6D6E71"/>
                </a:solidFill>
                <a:latin typeface="Roboto"/>
                <a:cs typeface="Roboto"/>
              </a:rPr>
            </a:br>
            <a:r>
              <a:rPr lang="ru-RU" sz="980">
                <a:solidFill>
                  <a:srgbClr val="6D6E71"/>
                </a:solidFill>
                <a:latin typeface="Roboto"/>
                <a:cs typeface="Roboto"/>
              </a:rPr>
              <a:t>анализ стратегии компании и ее макроокружения.</a:t>
            </a:r>
            <a:endParaRPr lang="ru-RU" sz="980">
              <a:latin typeface="Roboto"/>
              <a:cs typeface="Roboto"/>
            </a:endParaRPr>
          </a:p>
        </p:txBody>
      </p:sp>
      <p:grpSp>
        <p:nvGrpSpPr>
          <p:cNvPr id="19" name="Группа 18">
            <a:extLst>
              <a:ext uri="{FF2B5EF4-FFF2-40B4-BE49-F238E27FC236}">
                <a16:creationId xmlns:a16="http://schemas.microsoft.com/office/drawing/2014/main" id="{E2602B48-A0FC-4EF2-98ED-15471EF43ADE}"/>
              </a:ext>
            </a:extLst>
          </p:cNvPr>
          <p:cNvGrpSpPr/>
          <p:nvPr/>
        </p:nvGrpSpPr>
        <p:grpSpPr>
          <a:xfrm>
            <a:off x="344876" y="1996240"/>
            <a:ext cx="241361" cy="167713"/>
            <a:chOff x="8235951" y="3248026"/>
            <a:chExt cx="525463" cy="365125"/>
          </a:xfrm>
          <a:solidFill>
            <a:srgbClr val="252C69"/>
          </a:solidFill>
        </p:grpSpPr>
        <p:sp>
          <p:nvSpPr>
            <p:cNvPr id="20" name="Freeform 180">
              <a:extLst>
                <a:ext uri="{FF2B5EF4-FFF2-40B4-BE49-F238E27FC236}">
                  <a16:creationId xmlns:a16="http://schemas.microsoft.com/office/drawing/2014/main" id="{136EBB4B-AE8D-4829-A45F-5B14BADF40E3}"/>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1" name="Freeform 181">
              <a:extLst>
                <a:ext uri="{FF2B5EF4-FFF2-40B4-BE49-F238E27FC236}">
                  <a16:creationId xmlns:a16="http://schemas.microsoft.com/office/drawing/2014/main" id="{9BE1493F-C38D-4A12-85FE-9CC8221A08C4}"/>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2" name="Freeform 182">
              <a:extLst>
                <a:ext uri="{FF2B5EF4-FFF2-40B4-BE49-F238E27FC236}">
                  <a16:creationId xmlns:a16="http://schemas.microsoft.com/office/drawing/2014/main" id="{21185D69-6F2A-4BE8-8602-48076E4C00A0}"/>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3" name="Freeform 183">
              <a:extLst>
                <a:ext uri="{FF2B5EF4-FFF2-40B4-BE49-F238E27FC236}">
                  <a16:creationId xmlns:a16="http://schemas.microsoft.com/office/drawing/2014/main" id="{D42A8A8F-7E96-456B-85FA-6F97A8895BE1}"/>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4" name="Freeform 184">
              <a:extLst>
                <a:ext uri="{FF2B5EF4-FFF2-40B4-BE49-F238E27FC236}">
                  <a16:creationId xmlns:a16="http://schemas.microsoft.com/office/drawing/2014/main" id="{47F5C9DE-9196-471B-90BA-B9C8821E861D}"/>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5" name="Freeform 185">
              <a:extLst>
                <a:ext uri="{FF2B5EF4-FFF2-40B4-BE49-F238E27FC236}">
                  <a16:creationId xmlns:a16="http://schemas.microsoft.com/office/drawing/2014/main" id="{D289FFA7-7EB6-4C75-9564-51FFE96DF65B}"/>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6" name="object 5">
            <a:extLst>
              <a:ext uri="{FF2B5EF4-FFF2-40B4-BE49-F238E27FC236}">
                <a16:creationId xmlns:a16="http://schemas.microsoft.com/office/drawing/2014/main" id="{E03BF96E-14A7-43C4-92D2-F71E37C77F52}"/>
              </a:ext>
            </a:extLst>
          </p:cNvPr>
          <p:cNvSpPr/>
          <p:nvPr/>
        </p:nvSpPr>
        <p:spPr>
          <a:xfrm flipH="1">
            <a:off x="672533" y="1944060"/>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27" name="object 5">
            <a:extLst>
              <a:ext uri="{FF2B5EF4-FFF2-40B4-BE49-F238E27FC236}">
                <a16:creationId xmlns:a16="http://schemas.microsoft.com/office/drawing/2014/main" id="{FC285C50-17A7-4ECC-B4A7-5FE0516BBCED}"/>
              </a:ext>
            </a:extLst>
          </p:cNvPr>
          <p:cNvSpPr/>
          <p:nvPr/>
        </p:nvSpPr>
        <p:spPr>
          <a:xfrm flipH="1">
            <a:off x="672533" y="2247249"/>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29" name="object 4">
            <a:extLst>
              <a:ext uri="{FF2B5EF4-FFF2-40B4-BE49-F238E27FC236}">
                <a16:creationId xmlns:a16="http://schemas.microsoft.com/office/drawing/2014/main" id="{D4AE54A8-2742-47C0-BF6B-1C3E6FDF7F86}"/>
              </a:ext>
            </a:extLst>
          </p:cNvPr>
          <p:cNvSpPr txBox="1"/>
          <p:nvPr/>
        </p:nvSpPr>
        <p:spPr>
          <a:xfrm>
            <a:off x="833058" y="2901750"/>
            <a:ext cx="5467333" cy="1516299"/>
          </a:xfrm>
          <a:prstGeom prst="rect">
            <a:avLst/>
          </a:prstGeom>
        </p:spPr>
        <p:txBody>
          <a:bodyPr vert="horz" wrap="square" lIns="0" tIns="13195" rIns="0" bIns="0" rtlCol="0">
            <a:spAutoFit/>
          </a:bodyPr>
          <a:lstStyle/>
          <a:p>
            <a:pPr marL="12497" marR="5937">
              <a:lnSpc>
                <a:spcPts val="1259"/>
              </a:lnSpc>
              <a:spcBef>
                <a:spcPts val="945"/>
              </a:spcBef>
              <a:buClr>
                <a:srgbClr val="252C69"/>
              </a:buClr>
            </a:pPr>
            <a:r>
              <a:rPr lang="ru-RU" sz="980">
                <a:solidFill>
                  <a:srgbClr val="6D6E71"/>
                </a:solidFill>
                <a:latin typeface="Roboto"/>
                <a:cs typeface="Roboto"/>
              </a:rPr>
              <a:t>Индивидуальные треки развития обеспечивают новое качество опыта сотрудников </a:t>
            </a:r>
            <a:br>
              <a:rPr lang="ru-RU" sz="980">
                <a:solidFill>
                  <a:srgbClr val="6D6E71"/>
                </a:solidFill>
                <a:latin typeface="Roboto"/>
                <a:cs typeface="Roboto"/>
              </a:rPr>
            </a:br>
            <a:r>
              <a:rPr lang="ru-RU" sz="980">
                <a:solidFill>
                  <a:srgbClr val="6D6E71"/>
                </a:solidFill>
                <a:latin typeface="Roboto"/>
                <a:cs typeface="Roboto"/>
              </a:rPr>
              <a:t>и интегрируют дефицитное и опережающее обучение</a:t>
            </a:r>
            <a:r>
              <a:rPr lang="ru-RU" sz="980" spc="-5">
                <a:solidFill>
                  <a:srgbClr val="6D6E71"/>
                </a:solidFill>
                <a:latin typeface="Roboto"/>
                <a:cs typeface="Roboto"/>
              </a:rPr>
              <a:t>; могут выстраиваться в соответствии с карьерными маршрутами. </a:t>
            </a:r>
          </a:p>
          <a:p>
            <a:pPr marL="12497" marR="5277">
              <a:lnSpc>
                <a:spcPts val="1259"/>
              </a:lnSpc>
              <a:spcBef>
                <a:spcPts val="945"/>
              </a:spcBef>
              <a:buClr>
                <a:srgbClr val="252C69"/>
              </a:buClr>
            </a:pPr>
            <a:r>
              <a:rPr lang="ru-RU" sz="980">
                <a:solidFill>
                  <a:srgbClr val="6D6E71"/>
                </a:solidFill>
                <a:latin typeface="Roboto"/>
                <a:cs typeface="Roboto"/>
              </a:rPr>
              <a:t>Гармонизация развивающих программ по всем типам компетенций позволяет оптимизировать нагрузку на сотрудников.</a:t>
            </a:r>
            <a:endParaRPr lang="ru-RU" sz="980">
              <a:latin typeface="Roboto"/>
              <a:cs typeface="Roboto"/>
            </a:endParaRPr>
          </a:p>
          <a:p>
            <a:pPr marL="12497">
              <a:lnSpc>
                <a:spcPts val="1259"/>
              </a:lnSpc>
              <a:spcBef>
                <a:spcPts val="945"/>
              </a:spcBef>
              <a:buClr>
                <a:srgbClr val="252C69"/>
              </a:buClr>
            </a:pPr>
            <a:r>
              <a:rPr lang="ru-RU" sz="980">
                <a:solidFill>
                  <a:srgbClr val="6D6E71"/>
                </a:solidFill>
                <a:latin typeface="Roboto"/>
                <a:cs typeface="Roboto"/>
              </a:rPr>
              <a:t>Новые знания и навыки интегрируются в деятельность через проекты развития.</a:t>
            </a:r>
            <a:endParaRPr lang="ru-RU" sz="980">
              <a:latin typeface="Roboto"/>
              <a:cs typeface="Roboto"/>
            </a:endParaRPr>
          </a:p>
          <a:p>
            <a:pPr marL="12497">
              <a:lnSpc>
                <a:spcPts val="1259"/>
              </a:lnSpc>
              <a:spcBef>
                <a:spcPts val="945"/>
              </a:spcBef>
              <a:buClr>
                <a:srgbClr val="252C69"/>
              </a:buClr>
            </a:pPr>
            <a:endParaRPr lang="ru-RU" sz="980">
              <a:latin typeface="Roboto"/>
              <a:cs typeface="Roboto"/>
            </a:endParaRPr>
          </a:p>
        </p:txBody>
      </p:sp>
      <p:grpSp>
        <p:nvGrpSpPr>
          <p:cNvPr id="30" name="Группа 29">
            <a:extLst>
              <a:ext uri="{FF2B5EF4-FFF2-40B4-BE49-F238E27FC236}">
                <a16:creationId xmlns:a16="http://schemas.microsoft.com/office/drawing/2014/main" id="{396C5C5A-4A87-48B8-9619-FB89FB169E44}"/>
              </a:ext>
            </a:extLst>
          </p:cNvPr>
          <p:cNvGrpSpPr/>
          <p:nvPr/>
        </p:nvGrpSpPr>
        <p:grpSpPr>
          <a:xfrm>
            <a:off x="323111" y="2970301"/>
            <a:ext cx="255244" cy="181832"/>
            <a:chOff x="10502900" y="3167063"/>
            <a:chExt cx="717550" cy="511176"/>
          </a:xfrm>
          <a:solidFill>
            <a:srgbClr val="252C69"/>
          </a:solidFill>
        </p:grpSpPr>
        <p:sp>
          <p:nvSpPr>
            <p:cNvPr id="31" name="Freeform 214">
              <a:extLst>
                <a:ext uri="{FF2B5EF4-FFF2-40B4-BE49-F238E27FC236}">
                  <a16:creationId xmlns:a16="http://schemas.microsoft.com/office/drawing/2014/main" id="{2AFA95C4-08B8-400F-BFBC-569C0D90D951}"/>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2" name="Freeform 215">
              <a:extLst>
                <a:ext uri="{FF2B5EF4-FFF2-40B4-BE49-F238E27FC236}">
                  <a16:creationId xmlns:a16="http://schemas.microsoft.com/office/drawing/2014/main" id="{1112AE71-A1B5-451F-9848-47C9E109A118}"/>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3" name="Freeform 216">
              <a:extLst>
                <a:ext uri="{FF2B5EF4-FFF2-40B4-BE49-F238E27FC236}">
                  <a16:creationId xmlns:a16="http://schemas.microsoft.com/office/drawing/2014/main" id="{81497F3A-2338-41CB-96FF-F7ECC8EF3653}"/>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34" name="object 5">
            <a:extLst>
              <a:ext uri="{FF2B5EF4-FFF2-40B4-BE49-F238E27FC236}">
                <a16:creationId xmlns:a16="http://schemas.microsoft.com/office/drawing/2014/main" id="{11164651-F6EA-4A1B-9F8A-9DCB46385158}"/>
              </a:ext>
            </a:extLst>
          </p:cNvPr>
          <p:cNvSpPr/>
          <p:nvPr/>
        </p:nvSpPr>
        <p:spPr>
          <a:xfrm flipH="1">
            <a:off x="672051" y="2913260"/>
            <a:ext cx="71976" cy="1075289"/>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36" name="Группа 35">
            <a:extLst>
              <a:ext uri="{FF2B5EF4-FFF2-40B4-BE49-F238E27FC236}">
                <a16:creationId xmlns:a16="http://schemas.microsoft.com/office/drawing/2014/main" id="{8DE7127A-F5C3-4F01-B64C-80869230DEAC}"/>
              </a:ext>
            </a:extLst>
          </p:cNvPr>
          <p:cNvGrpSpPr/>
          <p:nvPr/>
        </p:nvGrpSpPr>
        <p:grpSpPr>
          <a:xfrm>
            <a:off x="325844" y="4407358"/>
            <a:ext cx="257575" cy="182323"/>
            <a:chOff x="4800554" y="930116"/>
            <a:chExt cx="327660" cy="231933"/>
          </a:xfrm>
          <a:solidFill>
            <a:srgbClr val="252C69"/>
          </a:solidFill>
        </p:grpSpPr>
        <p:sp>
          <p:nvSpPr>
            <p:cNvPr id="37" name="Полилиния: фигура 36">
              <a:extLst>
                <a:ext uri="{FF2B5EF4-FFF2-40B4-BE49-F238E27FC236}">
                  <a16:creationId xmlns:a16="http://schemas.microsoft.com/office/drawing/2014/main" id="{D9AC3D97-4771-4A88-92AC-735597FBC038}"/>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8" name="Полилиния: фигура 37">
              <a:extLst>
                <a:ext uri="{FF2B5EF4-FFF2-40B4-BE49-F238E27FC236}">
                  <a16:creationId xmlns:a16="http://schemas.microsoft.com/office/drawing/2014/main" id="{33BE1588-F35A-4E1F-A693-B80E467D7631}"/>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9" name="Полилиния: фигура 38">
              <a:extLst>
                <a:ext uri="{FF2B5EF4-FFF2-40B4-BE49-F238E27FC236}">
                  <a16:creationId xmlns:a16="http://schemas.microsoft.com/office/drawing/2014/main" id="{7C38F846-1CB5-401F-B219-C3AA88F17480}"/>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0" name="Полилиния: фигура 39">
              <a:extLst>
                <a:ext uri="{FF2B5EF4-FFF2-40B4-BE49-F238E27FC236}">
                  <a16:creationId xmlns:a16="http://schemas.microsoft.com/office/drawing/2014/main" id="{42BB0483-8B40-4720-8EF2-6BA48C7A89CD}"/>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1" name="Полилиния: фигура 40">
              <a:extLst>
                <a:ext uri="{FF2B5EF4-FFF2-40B4-BE49-F238E27FC236}">
                  <a16:creationId xmlns:a16="http://schemas.microsoft.com/office/drawing/2014/main" id="{5461F479-0CA5-4A88-95A2-73D799A68344}"/>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42" name="Полилиния: фигура 41">
              <a:extLst>
                <a:ext uri="{FF2B5EF4-FFF2-40B4-BE49-F238E27FC236}">
                  <a16:creationId xmlns:a16="http://schemas.microsoft.com/office/drawing/2014/main" id="{97A3A224-C567-49C0-A42A-9A1A1CC75AF6}"/>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43" name="object 4">
            <a:extLst>
              <a:ext uri="{FF2B5EF4-FFF2-40B4-BE49-F238E27FC236}">
                <a16:creationId xmlns:a16="http://schemas.microsoft.com/office/drawing/2014/main" id="{09A5EB41-5A4B-4CEB-BC91-374E7BB573C7}"/>
              </a:ext>
            </a:extLst>
          </p:cNvPr>
          <p:cNvSpPr txBox="1"/>
          <p:nvPr/>
        </p:nvSpPr>
        <p:spPr>
          <a:xfrm>
            <a:off x="822796" y="4338266"/>
            <a:ext cx="5443413" cy="336489"/>
          </a:xfrm>
          <a:prstGeom prst="rect">
            <a:avLst/>
          </a:prstGeom>
        </p:spPr>
        <p:txBody>
          <a:bodyPr vert="horz" wrap="square" lIns="0" tIns="13195" rIns="0" bIns="0" rtlCol="0">
            <a:spAutoFit/>
          </a:bodyPr>
          <a:lstStyle/>
          <a:p>
            <a:pPr marL="12497" marR="5277">
              <a:lnSpc>
                <a:spcPts val="1259"/>
              </a:lnSpc>
              <a:spcBef>
                <a:spcPts val="587"/>
              </a:spcBef>
              <a:buClr>
                <a:srgbClr val="252C69"/>
              </a:buClr>
            </a:pPr>
            <a:r>
              <a:rPr lang="ru-RU" sz="980">
                <a:solidFill>
                  <a:srgbClr val="6D6E71"/>
                </a:solidFill>
                <a:latin typeface="Roboto"/>
                <a:cs typeface="Roboto"/>
              </a:rPr>
              <a:t>Брендинг, разработка фирменного стиля и коммуникационное сопровождение ключевых обучающих программ способствуют вовлеченности сотрудников в процесс развития.</a:t>
            </a:r>
            <a:endParaRPr lang="ru-RU" sz="980">
              <a:latin typeface="Roboto"/>
              <a:cs typeface="Roboto"/>
            </a:endParaRPr>
          </a:p>
        </p:txBody>
      </p:sp>
      <p:sp>
        <p:nvSpPr>
          <p:cNvPr id="44" name="object 5">
            <a:extLst>
              <a:ext uri="{FF2B5EF4-FFF2-40B4-BE49-F238E27FC236}">
                <a16:creationId xmlns:a16="http://schemas.microsoft.com/office/drawing/2014/main" id="{7FE63293-F9A8-4623-8713-578BBCBA8950}"/>
              </a:ext>
            </a:extLst>
          </p:cNvPr>
          <p:cNvSpPr/>
          <p:nvPr/>
        </p:nvSpPr>
        <p:spPr>
          <a:xfrm flipH="1">
            <a:off x="670635" y="4336232"/>
            <a:ext cx="73878"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48" name="object 44">
            <a:extLst>
              <a:ext uri="{FF2B5EF4-FFF2-40B4-BE49-F238E27FC236}">
                <a16:creationId xmlns:a16="http://schemas.microsoft.com/office/drawing/2014/main" id="{1F878E89-B68A-42C7-9435-4BB9913A96EF}"/>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49" name="object 30">
            <a:extLst>
              <a:ext uri="{FF2B5EF4-FFF2-40B4-BE49-F238E27FC236}">
                <a16:creationId xmlns:a16="http://schemas.microsoft.com/office/drawing/2014/main" id="{FD51A0AE-5DF0-4A99-8D31-4B047E281E50}"/>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50" name="object 30">
            <a:extLst>
              <a:ext uri="{FF2B5EF4-FFF2-40B4-BE49-F238E27FC236}">
                <a16:creationId xmlns:a16="http://schemas.microsoft.com/office/drawing/2014/main" id="{82D5DCF6-53A1-44EF-BEA6-102583788183}"/>
              </a:ext>
            </a:extLst>
          </p:cNvPr>
          <p:cNvSpPr txBox="1"/>
          <p:nvPr/>
        </p:nvSpPr>
        <p:spPr>
          <a:xfrm>
            <a:off x="6410228" y="5988397"/>
            <a:ext cx="3323062" cy="1059764"/>
          </a:xfrm>
          <a:prstGeom prst="rect">
            <a:avLst/>
          </a:prstGeom>
        </p:spPr>
        <p:txBody>
          <a:bodyPr vert="horz" wrap="square" lIns="0" tIns="13195" rIns="0" bIns="0" rtlCol="0">
            <a:spAutoFit/>
          </a:bodyPr>
          <a:lstStyle/>
          <a:p>
            <a:pPr marL="87739" marR="209782"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Форсайт-сессии для определения</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омпетенций будущего</a:t>
            </a:r>
          </a:p>
          <a:p>
            <a:pPr marL="87739" marR="209782"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витие разных типов мышления</a:t>
            </a:r>
          </a:p>
          <a:p>
            <a:pPr marL="87739" marR="209782"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бучение и развитие  корпоративных тренеров</a:t>
            </a:r>
          </a:p>
          <a:p>
            <a:pPr marL="87739" marR="209782" indent="-74545">
              <a:spcBef>
                <a:spcPts val="592"/>
              </a:spcBef>
              <a:buFontTx/>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209782"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51" name="object 30">
            <a:extLst>
              <a:ext uri="{FF2B5EF4-FFF2-40B4-BE49-F238E27FC236}">
                <a16:creationId xmlns:a16="http://schemas.microsoft.com/office/drawing/2014/main" id="{6E1449F6-3839-477D-A8E8-BEFFD0255115}"/>
              </a:ext>
            </a:extLst>
          </p:cNvPr>
          <p:cNvSpPr txBox="1"/>
          <p:nvPr/>
        </p:nvSpPr>
        <p:spPr>
          <a:xfrm>
            <a:off x="3456770" y="5988397"/>
            <a:ext cx="2519265" cy="1046940"/>
          </a:xfrm>
          <a:prstGeom prst="rect">
            <a:avLst/>
          </a:prstGeom>
        </p:spPr>
        <p:txBody>
          <a:bodyPr vert="horz" wrap="square" lIns="0" tIns="13195" rIns="0" bIns="0" rtlCol="0">
            <a:spAutoFit/>
          </a:bodyPr>
          <a:lstStyle/>
          <a:p>
            <a:pPr marL="87739" marR="217697" indent="-74545">
              <a:spcBef>
                <a:spcPts val="529"/>
              </a:spcBef>
              <a:buChar char="·"/>
              <a:tabLst>
                <a:tab pos="79162"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Тренинги-конференции, </a:t>
            </a:r>
            <a:r>
              <a:rPr lang="ru-RU" sz="800" err="1">
                <a:solidFill>
                  <a:srgbClr val="252C69"/>
                </a:solidFill>
                <a:latin typeface="Roboto" panose="02000000000000000000" pitchFamily="2" charset="0"/>
                <a:ea typeface="Roboto" panose="02000000000000000000" pitchFamily="2" charset="0"/>
                <a:cs typeface="Roboto" panose="02000000000000000000" pitchFamily="2" charset="0"/>
              </a:rPr>
              <a:t>эдьютейнмент</a:t>
            </a: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306096"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перационное совершенствование через обучение</a:t>
            </a:r>
          </a:p>
          <a:p>
            <a:pPr marL="87739" marR="306096" indent="-74545">
              <a:spcBef>
                <a:spcPts val="587"/>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граммы развития кадрового резерва</a:t>
            </a:r>
          </a:p>
          <a:p>
            <a:pPr marL="87739" marR="306096" indent="-74545">
              <a:spcBef>
                <a:spcPts val="587"/>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138535" indent="-74545">
              <a:spcBef>
                <a:spcPts val="529"/>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58" name="object 30">
            <a:extLst>
              <a:ext uri="{FF2B5EF4-FFF2-40B4-BE49-F238E27FC236}">
                <a16:creationId xmlns:a16="http://schemas.microsoft.com/office/drawing/2014/main" id="{83959FAD-4202-47C2-9FDB-E80252550EEA}"/>
              </a:ext>
            </a:extLst>
          </p:cNvPr>
          <p:cNvSpPr txBox="1"/>
          <p:nvPr/>
        </p:nvSpPr>
        <p:spPr>
          <a:xfrm>
            <a:off x="9232245" y="5988398"/>
            <a:ext cx="3323062" cy="259545"/>
          </a:xfrm>
          <a:prstGeom prst="rect">
            <a:avLst/>
          </a:prstGeom>
        </p:spPr>
        <p:txBody>
          <a:bodyPr vert="horz" wrap="square" lIns="0" tIns="13195" rIns="0" bIns="0" rtlCol="0">
            <a:spAutoFit/>
          </a:bodyPr>
          <a:lstStyle/>
          <a:p>
            <a:pPr marL="87739" marR="139195"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Дистанционное обучение с поддержкой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тьюторов на платформе «Авангард»</a:t>
            </a:r>
          </a:p>
        </p:txBody>
      </p:sp>
      <p:sp>
        <p:nvSpPr>
          <p:cNvPr id="47" name="object 29">
            <a:extLst>
              <a:ext uri="{FF2B5EF4-FFF2-40B4-BE49-F238E27FC236}">
                <a16:creationId xmlns:a16="http://schemas.microsoft.com/office/drawing/2014/main" id="{3C809385-B3CA-4070-A0CE-26499515050F}"/>
              </a:ext>
            </a:extLst>
          </p:cNvPr>
          <p:cNvSpPr txBox="1"/>
          <p:nvPr/>
        </p:nvSpPr>
        <p:spPr>
          <a:xfrm>
            <a:off x="6691136" y="5230276"/>
            <a:ext cx="4331334" cy="134447"/>
          </a:xfrm>
          <a:prstGeom prst="rect">
            <a:avLst/>
          </a:prstGeom>
        </p:spPr>
        <p:txBody>
          <a:bodyPr vert="horz" wrap="square" lIns="0" tIns="13195" rIns="0" bIns="0" rtlCol="0">
            <a:spAutoFit/>
          </a:bodyPr>
          <a:lstStyle/>
          <a:p>
            <a:pPr marL="13194" marR="5277">
              <a:spcBef>
                <a:spcPts val="104"/>
              </a:spcBef>
            </a:pPr>
            <a:r>
              <a:rPr sz="787">
                <a:solidFill>
                  <a:srgbClr val="747578"/>
                </a:solidFill>
                <a:latin typeface="Roboto"/>
                <a:cs typeface="Roboto"/>
              </a:rPr>
              <a:t>(*) </a:t>
            </a:r>
            <a:r>
              <a:rPr sz="787" spc="-5" err="1">
                <a:solidFill>
                  <a:srgbClr val="747578"/>
                </a:solidFill>
                <a:latin typeface="Roboto"/>
                <a:cs typeface="Roboto"/>
              </a:rPr>
              <a:t>Модель</a:t>
            </a:r>
            <a:r>
              <a:rPr sz="787" spc="-5">
                <a:solidFill>
                  <a:srgbClr val="747578"/>
                </a:solidFill>
                <a:latin typeface="Roboto"/>
                <a:cs typeface="Roboto"/>
              </a:rPr>
              <a:t> </a:t>
            </a:r>
            <a:r>
              <a:rPr lang="en-US" sz="787" spc="-5">
                <a:solidFill>
                  <a:srgbClr val="747578"/>
                </a:solidFill>
                <a:latin typeface="Roboto"/>
                <a:cs typeface="Roboto"/>
              </a:rPr>
              <a:t>BITOBE</a:t>
            </a:r>
            <a:endParaRPr sz="787">
              <a:solidFill>
                <a:srgbClr val="747578"/>
              </a:solidFill>
              <a:latin typeface="Roboto"/>
              <a:cs typeface="Roboto"/>
            </a:endParaRPr>
          </a:p>
        </p:txBody>
      </p:sp>
      <p:sp>
        <p:nvSpPr>
          <p:cNvPr id="45" name="Прямоугольник 44">
            <a:extLst>
              <a:ext uri="{FF2B5EF4-FFF2-40B4-BE49-F238E27FC236}">
                <a16:creationId xmlns:a16="http://schemas.microsoft.com/office/drawing/2014/main" id="{B9585F7E-9A75-42B5-8C11-D8440305368A}"/>
              </a:ext>
            </a:extLst>
          </p:cNvPr>
          <p:cNvSpPr/>
          <p:nvPr/>
        </p:nvSpPr>
        <p:spPr>
          <a:xfrm>
            <a:off x="6646762" y="5227181"/>
            <a:ext cx="179408" cy="233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2" name="Рисунок 51">
            <a:extLst>
              <a:ext uri="{FF2B5EF4-FFF2-40B4-BE49-F238E27FC236}">
                <a16:creationId xmlns:a16="http://schemas.microsoft.com/office/drawing/2014/main" id="{8934DA30-AC1C-49A1-9A39-590A5A0FDB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02857" y="5254963"/>
            <a:ext cx="100013" cy="100013"/>
          </a:xfrm>
          <a:prstGeom prst="rect">
            <a:avLst/>
          </a:prstGeom>
        </p:spPr>
      </p:pic>
      <p:pic>
        <p:nvPicPr>
          <p:cNvPr id="9" name="Рисунок 8" descr="Изображение выглядит как снимок экрана&#10;&#10;Автоматически созданное описание">
            <a:extLst>
              <a:ext uri="{FF2B5EF4-FFF2-40B4-BE49-F238E27FC236}">
                <a16:creationId xmlns:a16="http://schemas.microsoft.com/office/drawing/2014/main" id="{06513ACE-77BD-4064-BDC8-EFC4377DFCEB}"/>
              </a:ext>
            </a:extLst>
          </p:cNvPr>
          <p:cNvPicPr>
            <a:picLocks noChangeAspect="1"/>
          </p:cNvPicPr>
          <p:nvPr/>
        </p:nvPicPr>
        <p:blipFill rotWithShape="1">
          <a:blip r:embed="rId5">
            <a:extLst>
              <a:ext uri="{28A0092B-C50C-407E-A947-70E740481C1C}">
                <a14:useLocalDpi xmlns:a14="http://schemas.microsoft.com/office/drawing/2010/main" val="0"/>
              </a:ext>
            </a:extLst>
          </a:blip>
          <a:srcRect t="10753"/>
          <a:stretch/>
        </p:blipFill>
        <p:spPr>
          <a:xfrm>
            <a:off x="6519753" y="901144"/>
            <a:ext cx="4692381" cy="4402308"/>
          </a:xfrm>
          <a:prstGeom prst="rect">
            <a:avLst/>
          </a:prstGeom>
        </p:spPr>
      </p:pic>
      <p:pic>
        <p:nvPicPr>
          <p:cNvPr id="46" name="Рисунок 45" descr="Изображение выглядит как снимок экрана&#10;&#10;Автоматически созданное описание">
            <a:extLst>
              <a:ext uri="{FF2B5EF4-FFF2-40B4-BE49-F238E27FC236}">
                <a16:creationId xmlns:a16="http://schemas.microsoft.com/office/drawing/2014/main" id="{AFBF93A5-ACBE-444E-8569-F80E37B8C534}"/>
              </a:ext>
            </a:extLst>
          </p:cNvPr>
          <p:cNvPicPr>
            <a:picLocks noChangeAspect="1"/>
          </p:cNvPicPr>
          <p:nvPr/>
        </p:nvPicPr>
        <p:blipFill rotWithShape="1">
          <a:blip r:embed="rId5">
            <a:extLst>
              <a:ext uri="{28A0092B-C50C-407E-A947-70E740481C1C}">
                <a14:useLocalDpi xmlns:a14="http://schemas.microsoft.com/office/drawing/2010/main" val="0"/>
              </a:ext>
            </a:extLst>
          </a:blip>
          <a:srcRect l="-195" t="2836" r="195" b="89279"/>
          <a:stretch/>
        </p:blipFill>
        <p:spPr>
          <a:xfrm>
            <a:off x="6510612" y="559497"/>
            <a:ext cx="4692381" cy="388977"/>
          </a:xfrm>
          <a:prstGeom prst="rect">
            <a:avLst/>
          </a:prstGeom>
        </p:spPr>
      </p:pic>
      <p:sp>
        <p:nvSpPr>
          <p:cNvPr id="54" name="object 5">
            <a:extLst>
              <a:ext uri="{FF2B5EF4-FFF2-40B4-BE49-F238E27FC236}">
                <a16:creationId xmlns:a16="http://schemas.microsoft.com/office/drawing/2014/main" id="{4F8A08AD-9D98-401E-A867-2CF707D02B44}"/>
              </a:ext>
            </a:extLst>
          </p:cNvPr>
          <p:cNvSpPr/>
          <p:nvPr/>
        </p:nvSpPr>
        <p:spPr>
          <a:xfrm flipH="1">
            <a:off x="672051" y="3092690"/>
            <a:ext cx="71976" cy="1075289"/>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56" name="Прямоугольник 55">
            <a:extLst>
              <a:ext uri="{FF2B5EF4-FFF2-40B4-BE49-F238E27FC236}">
                <a16:creationId xmlns:a16="http://schemas.microsoft.com/office/drawing/2014/main" id="{577D3B7F-C9CB-4AF7-8110-71454E2D5963}"/>
              </a:ext>
            </a:extLst>
          </p:cNvPr>
          <p:cNvSpPr/>
          <p:nvPr/>
        </p:nvSpPr>
        <p:spPr>
          <a:xfrm>
            <a:off x="515938" y="7316730"/>
            <a:ext cx="1457865" cy="168534"/>
          </a:xfrm>
          <a:prstGeom prst="rect">
            <a:avLst/>
          </a:prstGeom>
          <a:solidFill>
            <a:schemeClr val="accent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08678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2">
            <a:extLst>
              <a:ext uri="{FF2B5EF4-FFF2-40B4-BE49-F238E27FC236}">
                <a16:creationId xmlns:a16="http://schemas.microsoft.com/office/drawing/2014/main" id="{5BC1C146-3D45-4E9B-8FED-033DC5B124DD}"/>
              </a:ext>
            </a:extLst>
          </p:cNvPr>
          <p:cNvSpPr txBox="1">
            <a:spLocks/>
          </p:cNvSpPr>
          <p:nvPr/>
        </p:nvSpPr>
        <p:spPr>
          <a:xfrm>
            <a:off x="822290" y="352100"/>
            <a:ext cx="4467433" cy="522053"/>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a:spcBef>
                <a:spcPts val="104"/>
              </a:spcBef>
            </a:pPr>
            <a:r>
              <a:rPr lang="ru-RU"/>
              <a:t>РАЗВИТИЕ ОПЫТА СОТРУДНИКА </a:t>
            </a:r>
            <a:br>
              <a:rPr lang="ru-RU"/>
            </a:br>
            <a:r>
              <a:rPr lang="ru-RU"/>
              <a:t>И ЦЕННОСТНОЕ ПРЕДЛОЖЕНИЕ</a:t>
            </a:r>
            <a:endParaRPr lang="ru-RU" sz="1653">
              <a:latin typeface="Roboto" panose="02000000000000000000" pitchFamily="2" charset="0"/>
              <a:ea typeface="Roboto" panose="02000000000000000000" pitchFamily="2" charset="0"/>
              <a:cs typeface="Roboto" panose="02000000000000000000" pitchFamily="2" charset="0"/>
            </a:endParaRPr>
          </a:p>
        </p:txBody>
      </p:sp>
      <p:sp>
        <p:nvSpPr>
          <p:cNvPr id="4" name="object 17">
            <a:extLst>
              <a:ext uri="{FF2B5EF4-FFF2-40B4-BE49-F238E27FC236}">
                <a16:creationId xmlns:a16="http://schemas.microsoft.com/office/drawing/2014/main" id="{F766FC53-A660-4AE0-ADCA-BC18ED236951}"/>
              </a:ext>
            </a:extLst>
          </p:cNvPr>
          <p:cNvSpPr txBox="1"/>
          <p:nvPr/>
        </p:nvSpPr>
        <p:spPr>
          <a:xfrm>
            <a:off x="833059" y="1117603"/>
            <a:ext cx="5467333" cy="788408"/>
          </a:xfrm>
          <a:prstGeom prst="rect">
            <a:avLst/>
          </a:prstGeom>
        </p:spPr>
        <p:txBody>
          <a:bodyPr vert="horz" wrap="square" lIns="0" tIns="13195" rIns="0" bIns="0" rtlCol="0">
            <a:spAutoFit/>
          </a:bodyPr>
          <a:lstStyle/>
          <a:p>
            <a:pPr marL="13194" marR="5277">
              <a:spcBef>
                <a:spcPts val="104"/>
              </a:spcBef>
            </a:pPr>
            <a:r>
              <a:rPr lang="ru-RU" sz="1259">
                <a:solidFill>
                  <a:srgbClr val="6D6E71"/>
                </a:solidFill>
                <a:latin typeface="Roboto"/>
                <a:cs typeface="Roboto"/>
              </a:rPr>
              <a:t>Ценностное </a:t>
            </a:r>
            <a:r>
              <a:rPr lang="ru-RU" sz="1259" spc="-5">
                <a:solidFill>
                  <a:srgbClr val="6D6E71"/>
                </a:solidFill>
                <a:latin typeface="Roboto"/>
                <a:cs typeface="Roboto"/>
              </a:rPr>
              <a:t>предложение </a:t>
            </a:r>
            <a:r>
              <a:rPr lang="ru-RU" sz="1259" spc="-11">
                <a:solidFill>
                  <a:srgbClr val="6D6E71"/>
                </a:solidFill>
                <a:latin typeface="Roboto"/>
                <a:cs typeface="Roboto"/>
              </a:rPr>
              <a:t>работодателя </a:t>
            </a:r>
            <a:r>
              <a:rPr lang="ru-RU" sz="1259" spc="-5">
                <a:solidFill>
                  <a:srgbClr val="6D6E71"/>
                </a:solidFill>
                <a:latin typeface="Roboto"/>
                <a:cs typeface="Roboto"/>
              </a:rPr>
              <a:t>помогает решать </a:t>
            </a:r>
            <a:r>
              <a:rPr lang="ru-RU" sz="1259" spc="-5">
                <a:solidFill>
                  <a:srgbClr val="747578"/>
                </a:solidFill>
                <a:latin typeface="Roboto"/>
                <a:cs typeface="Roboto"/>
              </a:rPr>
              <a:t>задачи привлечения и удержания сотрудников, а также повышения их лояльности</a:t>
            </a:r>
            <a:r>
              <a:rPr lang="ru-RU" sz="1259" spc="-11">
                <a:solidFill>
                  <a:srgbClr val="747578"/>
                </a:solidFill>
                <a:latin typeface="Roboto"/>
                <a:cs typeface="Roboto"/>
              </a:rPr>
              <a:t>. </a:t>
            </a:r>
            <a:r>
              <a:rPr lang="ru-RU" sz="1259" spc="-5">
                <a:solidFill>
                  <a:srgbClr val="6D6E71"/>
                </a:solidFill>
                <a:latin typeface="Roboto"/>
                <a:cs typeface="Roboto"/>
              </a:rPr>
              <a:t>Мы создаем его как основу </a:t>
            </a:r>
            <a:r>
              <a:rPr lang="ru-RU" sz="1259">
                <a:solidFill>
                  <a:srgbClr val="6D6E71"/>
                </a:solidFill>
                <a:latin typeface="Roboto"/>
                <a:cs typeface="Roboto"/>
              </a:rPr>
              <a:t>для </a:t>
            </a:r>
            <a:r>
              <a:rPr lang="ru-RU" sz="1259" spc="-5">
                <a:solidFill>
                  <a:srgbClr val="6D6E71"/>
                </a:solidFill>
                <a:latin typeface="Roboto"/>
                <a:cs typeface="Roboto"/>
              </a:rPr>
              <a:t>формирования плана инициатив по изменению опыта</a:t>
            </a:r>
            <a:r>
              <a:rPr lang="ru-RU" sz="1259" spc="11">
                <a:solidFill>
                  <a:srgbClr val="6D6E71"/>
                </a:solidFill>
                <a:latin typeface="Roboto"/>
                <a:cs typeface="Roboto"/>
              </a:rPr>
              <a:t> </a:t>
            </a:r>
            <a:r>
              <a:rPr lang="ru-RU" sz="1259" spc="-11">
                <a:solidFill>
                  <a:srgbClr val="6D6E71"/>
                </a:solidFill>
                <a:latin typeface="Roboto"/>
                <a:cs typeface="Roboto"/>
              </a:rPr>
              <a:t>сотрудника.</a:t>
            </a:r>
            <a:endParaRPr lang="ru-RU" sz="1259">
              <a:latin typeface="Roboto"/>
              <a:cs typeface="Roboto"/>
            </a:endParaRPr>
          </a:p>
        </p:txBody>
      </p:sp>
      <p:sp>
        <p:nvSpPr>
          <p:cNvPr id="5" name="object 4">
            <a:extLst>
              <a:ext uri="{FF2B5EF4-FFF2-40B4-BE49-F238E27FC236}">
                <a16:creationId xmlns:a16="http://schemas.microsoft.com/office/drawing/2014/main" id="{FD2404E5-90F4-46D8-96C7-D6844A4D08BD}"/>
              </a:ext>
            </a:extLst>
          </p:cNvPr>
          <p:cNvSpPr txBox="1"/>
          <p:nvPr/>
        </p:nvSpPr>
        <p:spPr>
          <a:xfrm>
            <a:off x="833059" y="2120811"/>
            <a:ext cx="5447032" cy="503073"/>
          </a:xfrm>
          <a:prstGeom prst="rect">
            <a:avLst/>
          </a:prstGeom>
        </p:spPr>
        <p:txBody>
          <a:bodyPr vert="horz" wrap="square" lIns="0" tIns="13195" rIns="0" bIns="0" rtlCol="0">
            <a:spAutoFit/>
          </a:bodyPr>
          <a:lstStyle/>
          <a:p>
            <a:pPr marL="12495" marR="5937">
              <a:lnSpc>
                <a:spcPts val="1259"/>
              </a:lnSpc>
              <a:spcBef>
                <a:spcPts val="315"/>
              </a:spcBef>
              <a:buClr>
                <a:srgbClr val="252C69"/>
              </a:buClr>
            </a:pPr>
            <a:r>
              <a:rPr lang="ru-RU" sz="976">
                <a:solidFill>
                  <a:srgbClr val="6D6E71"/>
                </a:solidFill>
                <a:latin typeface="Roboto"/>
                <a:cs typeface="Roboto"/>
              </a:rPr>
              <a:t>Разработка ценностного предложения начинается с исследования внешней и внутренней аудитории компании: конкурентный анализ, интервью с топ-менеджментом и фокус-группы. В основе исследования — модель </a:t>
            </a:r>
            <a:r>
              <a:rPr lang="en-US" sz="976">
                <a:solidFill>
                  <a:srgbClr val="6D6E71"/>
                </a:solidFill>
                <a:latin typeface="Roboto"/>
                <a:cs typeface="Roboto"/>
              </a:rPr>
              <a:t>BITOBE</a:t>
            </a:r>
            <a:r>
              <a:rPr lang="ru-RU" sz="976">
                <a:solidFill>
                  <a:srgbClr val="6D6E71"/>
                </a:solidFill>
                <a:latin typeface="Roboto"/>
                <a:cs typeface="Roboto"/>
              </a:rPr>
              <a:t> из 19 базовых элементов.</a:t>
            </a:r>
            <a:endParaRPr lang="ru-RU" sz="976">
              <a:latin typeface="Roboto"/>
              <a:cs typeface="Roboto"/>
            </a:endParaRPr>
          </a:p>
        </p:txBody>
      </p:sp>
      <p:sp>
        <p:nvSpPr>
          <p:cNvPr id="6" name="object 4">
            <a:extLst>
              <a:ext uri="{FF2B5EF4-FFF2-40B4-BE49-F238E27FC236}">
                <a16:creationId xmlns:a16="http://schemas.microsoft.com/office/drawing/2014/main" id="{10B82EC1-AACF-4269-8658-97E6EA916FC4}"/>
              </a:ext>
            </a:extLst>
          </p:cNvPr>
          <p:cNvSpPr txBox="1"/>
          <p:nvPr/>
        </p:nvSpPr>
        <p:spPr>
          <a:xfrm>
            <a:off x="833058" y="2798205"/>
            <a:ext cx="5467333" cy="721082"/>
          </a:xfrm>
          <a:prstGeom prst="rect">
            <a:avLst/>
          </a:prstGeom>
        </p:spPr>
        <p:txBody>
          <a:bodyPr vert="horz" wrap="square" lIns="0" tIns="13195" rIns="0" bIns="0" rtlCol="0">
            <a:spAutoFit/>
          </a:bodyPr>
          <a:lstStyle/>
          <a:p>
            <a:pPr marL="12497" marR="5277">
              <a:lnSpc>
                <a:spcPts val="1259"/>
              </a:lnSpc>
              <a:spcBef>
                <a:spcPts val="587"/>
              </a:spcBef>
              <a:buClr>
                <a:srgbClr val="252C69"/>
              </a:buClr>
            </a:pPr>
            <a:r>
              <a:rPr lang="ru-RU" sz="976">
                <a:solidFill>
                  <a:srgbClr val="6D6E71"/>
                </a:solidFill>
                <a:latin typeface="Roboto"/>
                <a:cs typeface="Roboto"/>
              </a:rPr>
              <a:t>Ценностное предложение разрабатывается на основании собранной «карты смыслов».  </a:t>
            </a:r>
            <a:br>
              <a:rPr lang="ru-RU" sz="976">
                <a:solidFill>
                  <a:srgbClr val="6D6E71"/>
                </a:solidFill>
                <a:latin typeface="Roboto"/>
                <a:cs typeface="Roboto"/>
              </a:rPr>
            </a:br>
            <a:r>
              <a:rPr lang="ru-RU" sz="976">
                <a:solidFill>
                  <a:srgbClr val="6D6E71"/>
                </a:solidFill>
                <a:latin typeface="Roboto"/>
                <a:cs typeface="Roboto"/>
              </a:rPr>
              <a:t>Наряду с общим ценностным предложением проводится кастомизация под ключевые сегменты сотрудников: детали проговариваются на языке каждой конкретной аудитории.</a:t>
            </a:r>
            <a:endParaRPr lang="ru-RU" sz="976">
              <a:latin typeface="Roboto"/>
              <a:cs typeface="Roboto"/>
            </a:endParaRPr>
          </a:p>
          <a:p>
            <a:pPr marL="142455" indent="-129958">
              <a:lnSpc>
                <a:spcPts val="1259"/>
              </a:lnSpc>
              <a:spcBef>
                <a:spcPts val="395"/>
              </a:spcBef>
              <a:buClr>
                <a:srgbClr val="252C69"/>
              </a:buClr>
              <a:buFont typeface="Wingdings" panose="05000000000000000000" pitchFamily="2" charset="2"/>
              <a:buChar char="§"/>
            </a:pPr>
            <a:endParaRPr lang="ru-RU" sz="976">
              <a:latin typeface="Roboto"/>
              <a:cs typeface="Roboto"/>
            </a:endParaRPr>
          </a:p>
        </p:txBody>
      </p:sp>
      <p:grpSp>
        <p:nvGrpSpPr>
          <p:cNvPr id="7" name="Группа 6">
            <a:extLst>
              <a:ext uri="{FF2B5EF4-FFF2-40B4-BE49-F238E27FC236}">
                <a16:creationId xmlns:a16="http://schemas.microsoft.com/office/drawing/2014/main" id="{F3C26DC5-F59A-44CB-BE02-C6A6A2F8C26C}"/>
              </a:ext>
            </a:extLst>
          </p:cNvPr>
          <p:cNvGrpSpPr/>
          <p:nvPr/>
        </p:nvGrpSpPr>
        <p:grpSpPr>
          <a:xfrm>
            <a:off x="344876" y="2193465"/>
            <a:ext cx="241361" cy="167713"/>
            <a:chOff x="8235951" y="3248026"/>
            <a:chExt cx="525463" cy="365125"/>
          </a:xfrm>
          <a:solidFill>
            <a:srgbClr val="252C69"/>
          </a:solidFill>
        </p:grpSpPr>
        <p:sp>
          <p:nvSpPr>
            <p:cNvPr id="8" name="Freeform 180">
              <a:extLst>
                <a:ext uri="{FF2B5EF4-FFF2-40B4-BE49-F238E27FC236}">
                  <a16:creationId xmlns:a16="http://schemas.microsoft.com/office/drawing/2014/main" id="{F6645C67-A2CA-45F1-B68C-394FB715DB71}"/>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9" name="Freeform 181">
              <a:extLst>
                <a:ext uri="{FF2B5EF4-FFF2-40B4-BE49-F238E27FC236}">
                  <a16:creationId xmlns:a16="http://schemas.microsoft.com/office/drawing/2014/main" id="{34B191ED-73EE-48A3-8F8E-C09B7A287744}"/>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2">
              <a:extLst>
                <a:ext uri="{FF2B5EF4-FFF2-40B4-BE49-F238E27FC236}">
                  <a16:creationId xmlns:a16="http://schemas.microsoft.com/office/drawing/2014/main" id="{4080C24F-1920-4A90-B95C-CB06FA090640}"/>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3">
              <a:extLst>
                <a:ext uri="{FF2B5EF4-FFF2-40B4-BE49-F238E27FC236}">
                  <a16:creationId xmlns:a16="http://schemas.microsoft.com/office/drawing/2014/main" id="{3031B635-A75A-4EA3-9FB6-6ECD3017730A}"/>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4">
              <a:extLst>
                <a:ext uri="{FF2B5EF4-FFF2-40B4-BE49-F238E27FC236}">
                  <a16:creationId xmlns:a16="http://schemas.microsoft.com/office/drawing/2014/main" id="{3012FD91-7B31-4C13-AD7E-F26E1FD16744}"/>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3" name="Freeform 185">
              <a:extLst>
                <a:ext uri="{FF2B5EF4-FFF2-40B4-BE49-F238E27FC236}">
                  <a16:creationId xmlns:a16="http://schemas.microsoft.com/office/drawing/2014/main" id="{F3F49338-4382-4269-A2C6-B12F6A6A4E67}"/>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4" name="object 5">
            <a:extLst>
              <a:ext uri="{FF2B5EF4-FFF2-40B4-BE49-F238E27FC236}">
                <a16:creationId xmlns:a16="http://schemas.microsoft.com/office/drawing/2014/main" id="{34DEDBBC-5240-46BE-B4D8-ED2017B3B2F7}"/>
              </a:ext>
            </a:extLst>
          </p:cNvPr>
          <p:cNvSpPr/>
          <p:nvPr/>
        </p:nvSpPr>
        <p:spPr>
          <a:xfrm flipH="1">
            <a:off x="672533" y="2141285"/>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15" name="Группа 14">
            <a:extLst>
              <a:ext uri="{FF2B5EF4-FFF2-40B4-BE49-F238E27FC236}">
                <a16:creationId xmlns:a16="http://schemas.microsoft.com/office/drawing/2014/main" id="{CD83CC9C-7503-4B21-90DD-41D993ADC40A}"/>
              </a:ext>
            </a:extLst>
          </p:cNvPr>
          <p:cNvGrpSpPr/>
          <p:nvPr/>
        </p:nvGrpSpPr>
        <p:grpSpPr>
          <a:xfrm>
            <a:off x="323111" y="2866756"/>
            <a:ext cx="255244" cy="181832"/>
            <a:chOff x="10502900" y="3167063"/>
            <a:chExt cx="717550" cy="511176"/>
          </a:xfrm>
          <a:solidFill>
            <a:srgbClr val="252C69"/>
          </a:solidFill>
        </p:grpSpPr>
        <p:sp>
          <p:nvSpPr>
            <p:cNvPr id="16" name="Freeform 214">
              <a:extLst>
                <a:ext uri="{FF2B5EF4-FFF2-40B4-BE49-F238E27FC236}">
                  <a16:creationId xmlns:a16="http://schemas.microsoft.com/office/drawing/2014/main" id="{3E68A987-DD06-4182-A81E-852301DEB72E}"/>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7" name="Freeform 215">
              <a:extLst>
                <a:ext uri="{FF2B5EF4-FFF2-40B4-BE49-F238E27FC236}">
                  <a16:creationId xmlns:a16="http://schemas.microsoft.com/office/drawing/2014/main" id="{58B609CF-4F68-4443-8447-0921EF3E6DBB}"/>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8" name="Freeform 216">
              <a:extLst>
                <a:ext uri="{FF2B5EF4-FFF2-40B4-BE49-F238E27FC236}">
                  <a16:creationId xmlns:a16="http://schemas.microsoft.com/office/drawing/2014/main" id="{4B5076E2-5AFF-4911-A1EA-538421ECC737}"/>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9" name="object 5">
            <a:extLst>
              <a:ext uri="{FF2B5EF4-FFF2-40B4-BE49-F238E27FC236}">
                <a16:creationId xmlns:a16="http://schemas.microsoft.com/office/drawing/2014/main" id="{F572BCA0-64D5-4E69-ADF7-2A0E278A71F5}"/>
              </a:ext>
            </a:extLst>
          </p:cNvPr>
          <p:cNvSpPr/>
          <p:nvPr/>
        </p:nvSpPr>
        <p:spPr>
          <a:xfrm flipH="1">
            <a:off x="672056" y="2805599"/>
            <a:ext cx="71977" cy="51883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20" name="Прямоугольник 19">
            <a:extLst>
              <a:ext uri="{FF2B5EF4-FFF2-40B4-BE49-F238E27FC236}">
                <a16:creationId xmlns:a16="http://schemas.microsoft.com/office/drawing/2014/main" id="{62C31B14-BC16-4821-8DAF-5AB1C8942FA3}"/>
              </a:ext>
            </a:extLst>
          </p:cNvPr>
          <p:cNvSpPr/>
          <p:nvPr/>
        </p:nvSpPr>
        <p:spPr>
          <a:xfrm>
            <a:off x="3594441" y="4508686"/>
            <a:ext cx="479860" cy="719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834"/>
          </a:p>
        </p:txBody>
      </p:sp>
      <p:grpSp>
        <p:nvGrpSpPr>
          <p:cNvPr id="21" name="Группа 20">
            <a:extLst>
              <a:ext uri="{FF2B5EF4-FFF2-40B4-BE49-F238E27FC236}">
                <a16:creationId xmlns:a16="http://schemas.microsoft.com/office/drawing/2014/main" id="{BC190383-24FC-4BDC-A058-52E59B301D7B}"/>
              </a:ext>
            </a:extLst>
          </p:cNvPr>
          <p:cNvGrpSpPr/>
          <p:nvPr/>
        </p:nvGrpSpPr>
        <p:grpSpPr>
          <a:xfrm>
            <a:off x="325844" y="3578353"/>
            <a:ext cx="257575" cy="182323"/>
            <a:chOff x="4800554" y="930116"/>
            <a:chExt cx="327660" cy="231933"/>
          </a:xfrm>
          <a:solidFill>
            <a:srgbClr val="252C69"/>
          </a:solidFill>
        </p:grpSpPr>
        <p:sp>
          <p:nvSpPr>
            <p:cNvPr id="22" name="Полилиния: фигура 21">
              <a:extLst>
                <a:ext uri="{FF2B5EF4-FFF2-40B4-BE49-F238E27FC236}">
                  <a16:creationId xmlns:a16="http://schemas.microsoft.com/office/drawing/2014/main" id="{8009152D-A528-4954-B109-8C7F1C5D4B84}"/>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3" name="Полилиния: фигура 22">
              <a:extLst>
                <a:ext uri="{FF2B5EF4-FFF2-40B4-BE49-F238E27FC236}">
                  <a16:creationId xmlns:a16="http://schemas.microsoft.com/office/drawing/2014/main" id="{4A91F038-B9C7-45D7-A620-AC2634BC0316}"/>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4" name="Полилиния: фигура 23">
              <a:extLst>
                <a:ext uri="{FF2B5EF4-FFF2-40B4-BE49-F238E27FC236}">
                  <a16:creationId xmlns:a16="http://schemas.microsoft.com/office/drawing/2014/main" id="{D61A0205-5225-4116-B4E0-35F806026BAF}"/>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5" name="Полилиния: фигура 24">
              <a:extLst>
                <a:ext uri="{FF2B5EF4-FFF2-40B4-BE49-F238E27FC236}">
                  <a16:creationId xmlns:a16="http://schemas.microsoft.com/office/drawing/2014/main" id="{C27298DF-7A1C-4094-88EC-7ECCBCE403ED}"/>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6" name="Полилиния: фигура 25">
              <a:extLst>
                <a:ext uri="{FF2B5EF4-FFF2-40B4-BE49-F238E27FC236}">
                  <a16:creationId xmlns:a16="http://schemas.microsoft.com/office/drawing/2014/main" id="{B69F090C-EC02-4549-8CEB-26AA5447F336}"/>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7" name="Полилиния: фигура 26">
              <a:extLst>
                <a:ext uri="{FF2B5EF4-FFF2-40B4-BE49-F238E27FC236}">
                  <a16:creationId xmlns:a16="http://schemas.microsoft.com/office/drawing/2014/main" id="{6997907C-2915-4939-A0FF-B2851880700A}"/>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grpSp>
        <p:nvGrpSpPr>
          <p:cNvPr id="28" name="Группа 27">
            <a:extLst>
              <a:ext uri="{FF2B5EF4-FFF2-40B4-BE49-F238E27FC236}">
                <a16:creationId xmlns:a16="http://schemas.microsoft.com/office/drawing/2014/main" id="{6B7C1B0C-A669-4603-A796-1F116D3592C3}"/>
              </a:ext>
            </a:extLst>
          </p:cNvPr>
          <p:cNvGrpSpPr/>
          <p:nvPr/>
        </p:nvGrpSpPr>
        <p:grpSpPr>
          <a:xfrm>
            <a:off x="315187" y="4086441"/>
            <a:ext cx="255244" cy="181832"/>
            <a:chOff x="10502900" y="3167063"/>
            <a:chExt cx="717550" cy="511176"/>
          </a:xfrm>
          <a:solidFill>
            <a:srgbClr val="252C69"/>
          </a:solidFill>
        </p:grpSpPr>
        <p:sp>
          <p:nvSpPr>
            <p:cNvPr id="29" name="Freeform 214">
              <a:extLst>
                <a:ext uri="{FF2B5EF4-FFF2-40B4-BE49-F238E27FC236}">
                  <a16:creationId xmlns:a16="http://schemas.microsoft.com/office/drawing/2014/main" id="{BD2F1796-A622-4513-AEFA-C2620F4F4510}"/>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0" name="Freeform 215">
              <a:extLst>
                <a:ext uri="{FF2B5EF4-FFF2-40B4-BE49-F238E27FC236}">
                  <a16:creationId xmlns:a16="http://schemas.microsoft.com/office/drawing/2014/main" id="{1F2FAF3A-1ACF-4FA4-8A91-AC62B570FF3D}"/>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1" name="Freeform 216">
              <a:extLst>
                <a:ext uri="{FF2B5EF4-FFF2-40B4-BE49-F238E27FC236}">
                  <a16:creationId xmlns:a16="http://schemas.microsoft.com/office/drawing/2014/main" id="{C4659653-035D-42B1-A0A8-8392BEA26318}"/>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32" name="object 4">
            <a:extLst>
              <a:ext uri="{FF2B5EF4-FFF2-40B4-BE49-F238E27FC236}">
                <a16:creationId xmlns:a16="http://schemas.microsoft.com/office/drawing/2014/main" id="{9F5760F8-36D6-4DD8-8FFA-E1F6C02C396B}"/>
              </a:ext>
            </a:extLst>
          </p:cNvPr>
          <p:cNvSpPr txBox="1"/>
          <p:nvPr/>
        </p:nvSpPr>
        <p:spPr>
          <a:xfrm>
            <a:off x="822796" y="3509261"/>
            <a:ext cx="5443413" cy="503073"/>
          </a:xfrm>
          <a:prstGeom prst="rect">
            <a:avLst/>
          </a:prstGeom>
        </p:spPr>
        <p:txBody>
          <a:bodyPr vert="horz" wrap="square" lIns="0" tIns="13195" rIns="0" bIns="0" rtlCol="0">
            <a:spAutoFit/>
          </a:bodyPr>
          <a:lstStyle/>
          <a:p>
            <a:pPr marL="12497" marR="7256">
              <a:lnSpc>
                <a:spcPts val="1259"/>
              </a:lnSpc>
              <a:buClr>
                <a:srgbClr val="252C69"/>
              </a:buClr>
            </a:pPr>
            <a:r>
              <a:rPr lang="ru-RU" sz="976">
                <a:solidFill>
                  <a:srgbClr val="6D6E71"/>
                </a:solidFill>
                <a:latin typeface="Roboto"/>
                <a:cs typeface="Roboto"/>
              </a:rPr>
              <a:t>Ценностное предложение «упаковывается» в креативную концепцию для трансляции целевой аудитории по внутренним и внешним коммуникационным каналам.</a:t>
            </a:r>
            <a:endParaRPr lang="ru-RU" sz="976">
              <a:latin typeface="Roboto"/>
              <a:cs typeface="Roboto"/>
            </a:endParaRPr>
          </a:p>
          <a:p>
            <a:pPr marL="142455" indent="-129958">
              <a:lnSpc>
                <a:spcPts val="1259"/>
              </a:lnSpc>
              <a:buClr>
                <a:srgbClr val="252C69"/>
              </a:buClr>
              <a:buFont typeface="Wingdings" panose="05000000000000000000" pitchFamily="2" charset="2"/>
              <a:buChar char="§"/>
            </a:pPr>
            <a:endParaRPr lang="ru-RU" sz="976">
              <a:latin typeface="Roboto"/>
              <a:cs typeface="Roboto"/>
            </a:endParaRPr>
          </a:p>
        </p:txBody>
      </p:sp>
      <p:sp>
        <p:nvSpPr>
          <p:cNvPr id="33" name="object 4">
            <a:extLst>
              <a:ext uri="{FF2B5EF4-FFF2-40B4-BE49-F238E27FC236}">
                <a16:creationId xmlns:a16="http://schemas.microsoft.com/office/drawing/2014/main" id="{BB34943C-BAA3-4E7C-B9DB-2D326AB18B8C}"/>
              </a:ext>
            </a:extLst>
          </p:cNvPr>
          <p:cNvSpPr txBox="1"/>
          <p:nvPr/>
        </p:nvSpPr>
        <p:spPr>
          <a:xfrm>
            <a:off x="822794" y="4052072"/>
            <a:ext cx="5443414" cy="1452051"/>
          </a:xfrm>
          <a:prstGeom prst="rect">
            <a:avLst/>
          </a:prstGeom>
        </p:spPr>
        <p:txBody>
          <a:bodyPr vert="horz" wrap="square" lIns="0" tIns="13195" rIns="0" bIns="0" rtlCol="0">
            <a:spAutoFit/>
          </a:bodyPr>
          <a:lstStyle/>
          <a:p>
            <a:pPr marL="12497" marR="5277">
              <a:lnSpc>
                <a:spcPts val="1259"/>
              </a:lnSpc>
              <a:spcBef>
                <a:spcPts val="945"/>
              </a:spcBef>
              <a:buClr>
                <a:srgbClr val="252C69"/>
              </a:buClr>
            </a:pPr>
            <a:r>
              <a:rPr lang="ru-RU" sz="976">
                <a:solidFill>
                  <a:srgbClr val="6D6E71"/>
                </a:solidFill>
                <a:latin typeface="Roboto"/>
                <a:cs typeface="Roboto"/>
              </a:rPr>
              <a:t>«Карта опыта сотрудника» — инструмент более глубокой проработки опыта для ключевых сегментов аудитории. Выстраивание точек контакта с сотрудником в единую схему позволяет выявить «разрывы» и точки роста, спроектировать изменения через «взгляд сотрудника».</a:t>
            </a:r>
          </a:p>
          <a:p>
            <a:pPr marL="12497" marR="5277">
              <a:lnSpc>
                <a:spcPts val="1259"/>
              </a:lnSpc>
              <a:spcBef>
                <a:spcPts val="945"/>
              </a:spcBef>
              <a:buClr>
                <a:srgbClr val="252C69"/>
              </a:buClr>
            </a:pPr>
            <a:r>
              <a:rPr lang="ru-RU" sz="976">
                <a:solidFill>
                  <a:srgbClr val="6D6E71"/>
                </a:solidFill>
                <a:latin typeface="Roboto"/>
                <a:cs typeface="Roboto"/>
              </a:rPr>
              <a:t>В завершение проекта передается методология по обновлению ценностного предложения, формируется план инициатив для преодоления «разрывов».</a:t>
            </a:r>
            <a:endParaRPr lang="ru-RU" sz="976">
              <a:latin typeface="Roboto"/>
              <a:cs typeface="Roboto"/>
            </a:endParaRPr>
          </a:p>
          <a:p>
            <a:pPr marL="142455" marR="5277" indent="-129958">
              <a:lnSpc>
                <a:spcPts val="1259"/>
              </a:lnSpc>
              <a:buClr>
                <a:srgbClr val="252C69"/>
              </a:buClr>
              <a:buFont typeface="Wingdings" panose="05000000000000000000" pitchFamily="2" charset="2"/>
              <a:buChar char="§"/>
            </a:pPr>
            <a:endParaRPr lang="ru-RU" sz="976">
              <a:latin typeface="Roboto"/>
              <a:cs typeface="Roboto"/>
            </a:endParaRPr>
          </a:p>
          <a:p>
            <a:pPr marL="282411" indent="-269914">
              <a:lnSpc>
                <a:spcPts val="1259"/>
              </a:lnSpc>
              <a:buClr>
                <a:srgbClr val="252C69"/>
              </a:buClr>
              <a:buFont typeface="Wingdings" panose="05000000000000000000" pitchFamily="2" charset="2"/>
              <a:buChar char="§"/>
            </a:pPr>
            <a:endParaRPr lang="ru-RU" sz="976">
              <a:latin typeface="Roboto"/>
              <a:cs typeface="Roboto"/>
            </a:endParaRPr>
          </a:p>
        </p:txBody>
      </p:sp>
      <p:sp>
        <p:nvSpPr>
          <p:cNvPr id="34" name="object 5">
            <a:extLst>
              <a:ext uri="{FF2B5EF4-FFF2-40B4-BE49-F238E27FC236}">
                <a16:creationId xmlns:a16="http://schemas.microsoft.com/office/drawing/2014/main" id="{2876A877-34B3-434E-A0A2-5A4FD9A2F9C3}"/>
              </a:ext>
            </a:extLst>
          </p:cNvPr>
          <p:cNvSpPr/>
          <p:nvPr/>
        </p:nvSpPr>
        <p:spPr>
          <a:xfrm flipV="1">
            <a:off x="672536" y="4049081"/>
            <a:ext cx="71977" cy="903445"/>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r>
              <a:rPr lang="ru-RU" sz="1870"/>
              <a:t> </a:t>
            </a:r>
            <a:endParaRPr sz="1870"/>
          </a:p>
        </p:txBody>
      </p:sp>
      <p:sp>
        <p:nvSpPr>
          <p:cNvPr id="35" name="object 5">
            <a:extLst>
              <a:ext uri="{FF2B5EF4-FFF2-40B4-BE49-F238E27FC236}">
                <a16:creationId xmlns:a16="http://schemas.microsoft.com/office/drawing/2014/main" id="{412EF8C6-AB73-4826-B1E0-ACDC96F6FB91}"/>
              </a:ext>
            </a:extLst>
          </p:cNvPr>
          <p:cNvSpPr/>
          <p:nvPr/>
        </p:nvSpPr>
        <p:spPr>
          <a:xfrm flipH="1">
            <a:off x="670635" y="3507227"/>
            <a:ext cx="73878"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36" name="object 5">
            <a:extLst>
              <a:ext uri="{FF2B5EF4-FFF2-40B4-BE49-F238E27FC236}">
                <a16:creationId xmlns:a16="http://schemas.microsoft.com/office/drawing/2014/main" id="{FD729AD8-E9F2-4DDD-BFA7-CCB743A2FBD6}"/>
              </a:ext>
            </a:extLst>
          </p:cNvPr>
          <p:cNvSpPr/>
          <p:nvPr/>
        </p:nvSpPr>
        <p:spPr>
          <a:xfrm flipV="1">
            <a:off x="672533" y="4829800"/>
            <a:ext cx="71977"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r>
              <a:rPr lang="ru-RU" sz="1870"/>
              <a:t> </a:t>
            </a:r>
            <a:endParaRPr sz="1870"/>
          </a:p>
        </p:txBody>
      </p:sp>
      <p:cxnSp>
        <p:nvCxnSpPr>
          <p:cNvPr id="42" name="Прямая соединительная линия 41">
            <a:extLst>
              <a:ext uri="{FF2B5EF4-FFF2-40B4-BE49-F238E27FC236}">
                <a16:creationId xmlns:a16="http://schemas.microsoft.com/office/drawing/2014/main" id="{608477E7-193F-4A2F-8EEF-B4F7E4890C91}"/>
              </a:ext>
            </a:extLst>
          </p:cNvPr>
          <p:cNvCxnSpPr>
            <a:cxnSpLocks/>
          </p:cNvCxnSpPr>
          <p:nvPr/>
        </p:nvCxnSpPr>
        <p:spPr>
          <a:xfrm>
            <a:off x="7009440" y="1520860"/>
            <a:ext cx="456055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a:extLst>
              <a:ext uri="{FF2B5EF4-FFF2-40B4-BE49-F238E27FC236}">
                <a16:creationId xmlns:a16="http://schemas.microsoft.com/office/drawing/2014/main" id="{B111F6C0-7862-4CF5-85BA-20698B822E50}"/>
              </a:ext>
            </a:extLst>
          </p:cNvPr>
          <p:cNvCxnSpPr>
            <a:cxnSpLocks/>
          </p:cNvCxnSpPr>
          <p:nvPr/>
        </p:nvCxnSpPr>
        <p:spPr>
          <a:xfrm>
            <a:off x="7006651" y="2292955"/>
            <a:ext cx="3901996"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a:extLst>
              <a:ext uri="{FF2B5EF4-FFF2-40B4-BE49-F238E27FC236}">
                <a16:creationId xmlns:a16="http://schemas.microsoft.com/office/drawing/2014/main" id="{40C7F901-E45D-479B-8115-2F16A4686413}"/>
              </a:ext>
            </a:extLst>
          </p:cNvPr>
          <p:cNvCxnSpPr>
            <a:cxnSpLocks/>
          </p:cNvCxnSpPr>
          <p:nvPr/>
        </p:nvCxnSpPr>
        <p:spPr>
          <a:xfrm>
            <a:off x="9067049" y="3845886"/>
            <a:ext cx="0" cy="145129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44">
            <a:extLst>
              <a:ext uri="{FF2B5EF4-FFF2-40B4-BE49-F238E27FC236}">
                <a16:creationId xmlns:a16="http://schemas.microsoft.com/office/drawing/2014/main" id="{D988C5AF-11FC-4BED-AC9D-BC7D2AB326E4}"/>
              </a:ext>
            </a:extLst>
          </p:cNvPr>
          <p:cNvCxnSpPr>
            <a:cxnSpLocks/>
          </p:cNvCxnSpPr>
          <p:nvPr/>
        </p:nvCxnSpPr>
        <p:spPr>
          <a:xfrm>
            <a:off x="9856466" y="3071204"/>
            <a:ext cx="0" cy="852016"/>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a:extLst>
              <a:ext uri="{FF2B5EF4-FFF2-40B4-BE49-F238E27FC236}">
                <a16:creationId xmlns:a16="http://schemas.microsoft.com/office/drawing/2014/main" id="{4B4D193E-33B0-4D8A-B800-DE96E4F134D8}"/>
              </a:ext>
            </a:extLst>
          </p:cNvPr>
          <p:cNvCxnSpPr>
            <a:cxnSpLocks/>
          </p:cNvCxnSpPr>
          <p:nvPr/>
        </p:nvCxnSpPr>
        <p:spPr>
          <a:xfrm>
            <a:off x="7009439" y="3845173"/>
            <a:ext cx="2056238"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object 31">
            <a:extLst>
              <a:ext uri="{FF2B5EF4-FFF2-40B4-BE49-F238E27FC236}">
                <a16:creationId xmlns:a16="http://schemas.microsoft.com/office/drawing/2014/main" id="{96677DEA-999B-498F-946B-833D1BE31A7A}"/>
              </a:ext>
            </a:extLst>
          </p:cNvPr>
          <p:cNvSpPr txBox="1"/>
          <p:nvPr/>
        </p:nvSpPr>
        <p:spPr>
          <a:xfrm>
            <a:off x="7009439" y="2714491"/>
            <a:ext cx="1916345" cy="304173"/>
          </a:xfrm>
          <a:prstGeom prst="rect">
            <a:avLst/>
          </a:prstGeom>
        </p:spPr>
        <p:txBody>
          <a:bodyPr vert="horz" wrap="square" lIns="0" tIns="13195" rIns="0" bIns="0" rtlCol="0">
            <a:spAutoFit/>
          </a:bodyPr>
          <a:lstStyle/>
          <a:p>
            <a:pPr marL="13194" marR="5277">
              <a:spcBef>
                <a:spcPts val="104"/>
              </a:spcBef>
            </a:pP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Ценностное</a:t>
            </a:r>
            <a: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предложение</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b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для</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целевых</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удиторий</a:t>
            </a:r>
            <a:endParaRPr sz="945">
              <a:latin typeface="Roboto Medium" panose="02000000000000000000" pitchFamily="2" charset="0"/>
              <a:ea typeface="Roboto Medium" panose="02000000000000000000" pitchFamily="2" charset="0"/>
              <a:cs typeface="Roboto Medium" panose="02000000000000000000" pitchFamily="2" charset="0"/>
            </a:endParaRPr>
          </a:p>
        </p:txBody>
      </p:sp>
      <p:pic>
        <p:nvPicPr>
          <p:cNvPr id="48" name="Рисунок 47">
            <a:extLst>
              <a:ext uri="{FF2B5EF4-FFF2-40B4-BE49-F238E27FC236}">
                <a16:creationId xmlns:a16="http://schemas.microsoft.com/office/drawing/2014/main" id="{CC53FFC5-5391-40E9-BDBC-78F17267412E}"/>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1757" t="5985" r="44695" b="28799"/>
          <a:stretch/>
        </p:blipFill>
        <p:spPr>
          <a:xfrm>
            <a:off x="8613436" y="0"/>
            <a:ext cx="3582568" cy="5948265"/>
          </a:xfrm>
          <a:prstGeom prst="rect">
            <a:avLst/>
          </a:prstGeom>
        </p:spPr>
      </p:pic>
      <p:cxnSp>
        <p:nvCxnSpPr>
          <p:cNvPr id="49" name="Прямая соединительная линия 48">
            <a:extLst>
              <a:ext uri="{FF2B5EF4-FFF2-40B4-BE49-F238E27FC236}">
                <a16:creationId xmlns:a16="http://schemas.microsoft.com/office/drawing/2014/main" id="{113E4F66-E299-4EA1-BD70-9A24BB9DBAEC}"/>
              </a:ext>
            </a:extLst>
          </p:cNvPr>
          <p:cNvCxnSpPr>
            <a:cxnSpLocks/>
          </p:cNvCxnSpPr>
          <p:nvPr/>
        </p:nvCxnSpPr>
        <p:spPr>
          <a:xfrm>
            <a:off x="7022886" y="3070955"/>
            <a:ext cx="2828534" cy="0"/>
          </a:xfrm>
          <a:prstGeom prst="line">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object 33">
            <a:extLst>
              <a:ext uri="{FF2B5EF4-FFF2-40B4-BE49-F238E27FC236}">
                <a16:creationId xmlns:a16="http://schemas.microsoft.com/office/drawing/2014/main" id="{DE1C1F5B-BE1C-4DBD-AB84-ADB65786C09C}"/>
              </a:ext>
            </a:extLst>
          </p:cNvPr>
          <p:cNvSpPr txBox="1"/>
          <p:nvPr/>
        </p:nvSpPr>
        <p:spPr>
          <a:xfrm>
            <a:off x="7012008" y="1164416"/>
            <a:ext cx="2092824" cy="304173"/>
          </a:xfrm>
          <a:prstGeom prst="rect">
            <a:avLst/>
          </a:prstGeom>
        </p:spPr>
        <p:txBody>
          <a:bodyPr vert="horz" wrap="square" lIns="0" tIns="13195" rIns="0" bIns="0" rtlCol="0">
            <a:spAutoFit/>
          </a:bodyPr>
          <a:lstStyle/>
          <a:p>
            <a:pPr marL="13194" marR="5277">
              <a:spcBef>
                <a:spcPts val="104"/>
              </a:spcBef>
            </a:pP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Корпоративное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обещание</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b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миссия, ценности,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культура</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a:t>
            </a:r>
            <a:endParaRPr sz="945">
              <a:latin typeface="Roboto Medium" panose="02000000000000000000" pitchFamily="2" charset="0"/>
              <a:ea typeface="Roboto Medium" panose="02000000000000000000" pitchFamily="2" charset="0"/>
              <a:cs typeface="Roboto Medium" panose="02000000000000000000" pitchFamily="2" charset="0"/>
            </a:endParaRPr>
          </a:p>
        </p:txBody>
      </p:sp>
      <p:sp>
        <p:nvSpPr>
          <p:cNvPr id="51" name="object 30">
            <a:extLst>
              <a:ext uri="{FF2B5EF4-FFF2-40B4-BE49-F238E27FC236}">
                <a16:creationId xmlns:a16="http://schemas.microsoft.com/office/drawing/2014/main" id="{15545820-C071-43AC-B1B9-CDE57407306F}"/>
              </a:ext>
            </a:extLst>
          </p:cNvPr>
          <p:cNvSpPr txBox="1"/>
          <p:nvPr/>
        </p:nvSpPr>
        <p:spPr>
          <a:xfrm>
            <a:off x="7009440" y="3489529"/>
            <a:ext cx="1946435" cy="304173"/>
          </a:xfrm>
          <a:prstGeom prst="rect">
            <a:avLst/>
          </a:prstGeom>
        </p:spPr>
        <p:txBody>
          <a:bodyPr vert="horz" wrap="square" lIns="0" tIns="13195" rIns="0" bIns="0" rtlCol="0">
            <a:spAutoFit/>
          </a:bodyPr>
          <a:lstStyle/>
          <a:p>
            <a:pPr marL="13194" marR="5277">
              <a:spcBef>
                <a:spcPts val="104"/>
              </a:spcBef>
            </a:pP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Управление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опытом</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сотрудника</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для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целевых</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удиторий</a:t>
            </a:r>
            <a:endParaRPr sz="945">
              <a:latin typeface="Roboto Medium" panose="02000000000000000000" pitchFamily="2" charset="0"/>
              <a:ea typeface="Roboto Medium" panose="02000000000000000000" pitchFamily="2" charset="0"/>
              <a:cs typeface="Roboto Medium" panose="02000000000000000000" pitchFamily="2" charset="0"/>
            </a:endParaRPr>
          </a:p>
        </p:txBody>
      </p:sp>
      <p:sp>
        <p:nvSpPr>
          <p:cNvPr id="52" name="object 32">
            <a:extLst>
              <a:ext uri="{FF2B5EF4-FFF2-40B4-BE49-F238E27FC236}">
                <a16:creationId xmlns:a16="http://schemas.microsoft.com/office/drawing/2014/main" id="{CB6E3033-9F82-4937-878F-266309C8613F}"/>
              </a:ext>
            </a:extLst>
          </p:cNvPr>
          <p:cNvSpPr txBox="1"/>
          <p:nvPr/>
        </p:nvSpPr>
        <p:spPr>
          <a:xfrm>
            <a:off x="7009439" y="1939452"/>
            <a:ext cx="1916345" cy="304173"/>
          </a:xfrm>
          <a:prstGeom prst="rect">
            <a:avLst/>
          </a:prstGeom>
        </p:spPr>
        <p:txBody>
          <a:bodyPr vert="horz" wrap="square" lIns="0" tIns="13195" rIns="0" bIns="0" rtlCol="0">
            <a:spAutoFit/>
          </a:bodyPr>
          <a:lstStyle/>
          <a:p>
            <a:pPr marL="13194" marR="5277">
              <a:spcBef>
                <a:spcPts val="104"/>
              </a:spcBef>
            </a:pP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Ценностное</a:t>
            </a:r>
            <a: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предложение</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b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на</a:t>
            </a:r>
            <a:r>
              <a:rPr lang="ru-RU"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a:t>
            </a:r>
            <a:r>
              <a:rPr sz="945" err="1">
                <a:solidFill>
                  <a:srgbClr val="252C69"/>
                </a:solidFill>
                <a:latin typeface="Roboto Medium" panose="02000000000000000000" pitchFamily="2" charset="0"/>
                <a:ea typeface="Roboto Medium" panose="02000000000000000000" pitchFamily="2" charset="0"/>
                <a:cs typeface="Roboto Medium" panose="02000000000000000000" pitchFamily="2" charset="0"/>
              </a:rPr>
              <a:t>уровне</a:t>
            </a:r>
            <a:r>
              <a:rPr sz="945">
                <a:solidFill>
                  <a:srgbClr val="252C69"/>
                </a:solidFill>
                <a:latin typeface="Roboto Medium" panose="02000000000000000000" pitchFamily="2" charset="0"/>
                <a:ea typeface="Roboto Medium" panose="02000000000000000000" pitchFamily="2" charset="0"/>
                <a:cs typeface="Roboto Medium" panose="02000000000000000000" pitchFamily="2" charset="0"/>
              </a:rPr>
              <a:t> компании</a:t>
            </a:r>
            <a:endParaRPr sz="945">
              <a:latin typeface="Roboto Medium" panose="02000000000000000000" pitchFamily="2" charset="0"/>
              <a:ea typeface="Roboto Medium" panose="02000000000000000000" pitchFamily="2" charset="0"/>
              <a:cs typeface="Roboto Medium" panose="02000000000000000000" pitchFamily="2" charset="0"/>
            </a:endParaRPr>
          </a:p>
        </p:txBody>
      </p:sp>
      <p:grpSp>
        <p:nvGrpSpPr>
          <p:cNvPr id="53" name="Группа 52">
            <a:extLst>
              <a:ext uri="{FF2B5EF4-FFF2-40B4-BE49-F238E27FC236}">
                <a16:creationId xmlns:a16="http://schemas.microsoft.com/office/drawing/2014/main" id="{F17A0884-7075-4C36-9690-2B284EA6C297}"/>
              </a:ext>
            </a:extLst>
          </p:cNvPr>
          <p:cNvGrpSpPr/>
          <p:nvPr/>
        </p:nvGrpSpPr>
        <p:grpSpPr>
          <a:xfrm>
            <a:off x="11622247" y="1197356"/>
            <a:ext cx="317526" cy="466626"/>
            <a:chOff x="1751012" y="3901492"/>
            <a:chExt cx="365125" cy="536575"/>
          </a:xfrm>
          <a:solidFill>
            <a:schemeClr val="bg1"/>
          </a:solidFill>
        </p:grpSpPr>
        <p:sp>
          <p:nvSpPr>
            <p:cNvPr id="54" name="Freeform 13">
              <a:extLst>
                <a:ext uri="{FF2B5EF4-FFF2-40B4-BE49-F238E27FC236}">
                  <a16:creationId xmlns:a16="http://schemas.microsoft.com/office/drawing/2014/main" id="{C38AB92B-8FC8-4B12-8A04-04C6F0C718AC}"/>
                </a:ext>
              </a:extLst>
            </p:cNvPr>
            <p:cNvSpPr>
              <a:spLocks/>
            </p:cNvSpPr>
            <p:nvPr/>
          </p:nvSpPr>
          <p:spPr bwMode="auto">
            <a:xfrm>
              <a:off x="1751012" y="3901492"/>
              <a:ext cx="365125" cy="536575"/>
            </a:xfrm>
            <a:custGeom>
              <a:avLst/>
              <a:gdLst>
                <a:gd name="T0" fmla="*/ 70 w 97"/>
                <a:gd name="T1" fmla="*/ 3 h 140"/>
                <a:gd name="T2" fmla="*/ 70 w 97"/>
                <a:gd name="T3" fmla="*/ 2 h 140"/>
                <a:gd name="T4" fmla="*/ 68 w 97"/>
                <a:gd name="T5" fmla="*/ 0 h 140"/>
                <a:gd name="T6" fmla="*/ 66 w 97"/>
                <a:gd name="T7" fmla="*/ 2 h 140"/>
                <a:gd name="T8" fmla="*/ 66 w 97"/>
                <a:gd name="T9" fmla="*/ 34 h 140"/>
                <a:gd name="T10" fmla="*/ 22 w 97"/>
                <a:gd name="T11" fmla="*/ 34 h 140"/>
                <a:gd name="T12" fmla="*/ 20 w 97"/>
                <a:gd name="T13" fmla="*/ 43 h 140"/>
                <a:gd name="T14" fmla="*/ 19 w 97"/>
                <a:gd name="T15" fmla="*/ 38 h 140"/>
                <a:gd name="T16" fmla="*/ 18 w 97"/>
                <a:gd name="T17" fmla="*/ 37 h 140"/>
                <a:gd name="T18" fmla="*/ 17 w 97"/>
                <a:gd name="T19" fmla="*/ 38 h 140"/>
                <a:gd name="T20" fmla="*/ 17 w 97"/>
                <a:gd name="T21" fmla="*/ 43 h 140"/>
                <a:gd name="T22" fmla="*/ 14 w 97"/>
                <a:gd name="T23" fmla="*/ 34 h 140"/>
                <a:gd name="T24" fmla="*/ 6 w 97"/>
                <a:gd name="T25" fmla="*/ 36 h 140"/>
                <a:gd name="T26" fmla="*/ 0 w 97"/>
                <a:gd name="T27" fmla="*/ 45 h 140"/>
                <a:gd name="T28" fmla="*/ 1 w 97"/>
                <a:gd name="T29" fmla="*/ 82 h 140"/>
                <a:gd name="T30" fmla="*/ 2 w 97"/>
                <a:gd name="T31" fmla="*/ 83 h 140"/>
                <a:gd name="T32" fmla="*/ 3 w 97"/>
                <a:gd name="T33" fmla="*/ 82 h 140"/>
                <a:gd name="T34" fmla="*/ 7 w 97"/>
                <a:gd name="T35" fmla="*/ 47 h 140"/>
                <a:gd name="T36" fmla="*/ 7 w 97"/>
                <a:gd name="T37" fmla="*/ 138 h 140"/>
                <a:gd name="T38" fmla="*/ 8 w 97"/>
                <a:gd name="T39" fmla="*/ 139 h 140"/>
                <a:gd name="T40" fmla="*/ 9 w 97"/>
                <a:gd name="T41" fmla="*/ 138 h 140"/>
                <a:gd name="T42" fmla="*/ 17 w 97"/>
                <a:gd name="T43" fmla="*/ 81 h 140"/>
                <a:gd name="T44" fmla="*/ 19 w 97"/>
                <a:gd name="T45" fmla="*/ 81 h 140"/>
                <a:gd name="T46" fmla="*/ 27 w 97"/>
                <a:gd name="T47" fmla="*/ 138 h 140"/>
                <a:gd name="T48" fmla="*/ 28 w 97"/>
                <a:gd name="T49" fmla="*/ 139 h 140"/>
                <a:gd name="T50" fmla="*/ 29 w 97"/>
                <a:gd name="T51" fmla="*/ 138 h 140"/>
                <a:gd name="T52" fmla="*/ 29 w 97"/>
                <a:gd name="T53" fmla="*/ 43 h 140"/>
                <a:gd name="T54" fmla="*/ 31 w 97"/>
                <a:gd name="T55" fmla="*/ 41 h 140"/>
                <a:gd name="T56" fmla="*/ 66 w 97"/>
                <a:gd name="T57" fmla="*/ 36 h 140"/>
                <a:gd name="T58" fmla="*/ 66 w 97"/>
                <a:gd name="T59" fmla="*/ 138 h 140"/>
                <a:gd name="T60" fmla="*/ 68 w 97"/>
                <a:gd name="T61" fmla="*/ 140 h 140"/>
                <a:gd name="T62" fmla="*/ 70 w 97"/>
                <a:gd name="T63" fmla="*/ 138 h 140"/>
                <a:gd name="T64" fmla="*/ 70 w 97"/>
                <a:gd name="T65" fmla="*/ 27 h 140"/>
                <a:gd name="T66" fmla="*/ 97 w 97"/>
                <a:gd name="T67" fmla="*/ 15 h 140"/>
                <a:gd name="T68" fmla="*/ 70 w 97"/>
                <a:gd name="T69" fmla="*/ 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7" h="140">
                  <a:moveTo>
                    <a:pt x="70" y="3"/>
                  </a:moveTo>
                  <a:cubicBezTo>
                    <a:pt x="70" y="2"/>
                    <a:pt x="70" y="2"/>
                    <a:pt x="70" y="2"/>
                  </a:cubicBezTo>
                  <a:cubicBezTo>
                    <a:pt x="70" y="1"/>
                    <a:pt x="69" y="0"/>
                    <a:pt x="68" y="0"/>
                  </a:cubicBezTo>
                  <a:cubicBezTo>
                    <a:pt x="67" y="0"/>
                    <a:pt x="66" y="1"/>
                    <a:pt x="66" y="2"/>
                  </a:cubicBezTo>
                  <a:cubicBezTo>
                    <a:pt x="66" y="34"/>
                    <a:pt x="66" y="34"/>
                    <a:pt x="66" y="34"/>
                  </a:cubicBezTo>
                  <a:cubicBezTo>
                    <a:pt x="56" y="34"/>
                    <a:pt x="22" y="34"/>
                    <a:pt x="22" y="34"/>
                  </a:cubicBezTo>
                  <a:cubicBezTo>
                    <a:pt x="20" y="43"/>
                    <a:pt x="20" y="43"/>
                    <a:pt x="20" y="43"/>
                  </a:cubicBezTo>
                  <a:cubicBezTo>
                    <a:pt x="19" y="38"/>
                    <a:pt x="19" y="38"/>
                    <a:pt x="19" y="38"/>
                  </a:cubicBezTo>
                  <a:cubicBezTo>
                    <a:pt x="19" y="37"/>
                    <a:pt x="19" y="37"/>
                    <a:pt x="18" y="37"/>
                  </a:cubicBezTo>
                  <a:cubicBezTo>
                    <a:pt x="17" y="37"/>
                    <a:pt x="17" y="37"/>
                    <a:pt x="17" y="38"/>
                  </a:cubicBezTo>
                  <a:cubicBezTo>
                    <a:pt x="17" y="43"/>
                    <a:pt x="17" y="43"/>
                    <a:pt x="17" y="43"/>
                  </a:cubicBezTo>
                  <a:cubicBezTo>
                    <a:pt x="16" y="40"/>
                    <a:pt x="15" y="37"/>
                    <a:pt x="14" y="34"/>
                  </a:cubicBezTo>
                  <a:cubicBezTo>
                    <a:pt x="11" y="34"/>
                    <a:pt x="7" y="35"/>
                    <a:pt x="6" y="36"/>
                  </a:cubicBezTo>
                  <a:cubicBezTo>
                    <a:pt x="1" y="38"/>
                    <a:pt x="0" y="43"/>
                    <a:pt x="0" y="45"/>
                  </a:cubicBezTo>
                  <a:cubicBezTo>
                    <a:pt x="0" y="49"/>
                    <a:pt x="0" y="76"/>
                    <a:pt x="1" y="82"/>
                  </a:cubicBezTo>
                  <a:cubicBezTo>
                    <a:pt x="1" y="83"/>
                    <a:pt x="1" y="83"/>
                    <a:pt x="2" y="83"/>
                  </a:cubicBezTo>
                  <a:cubicBezTo>
                    <a:pt x="2" y="83"/>
                    <a:pt x="3" y="83"/>
                    <a:pt x="3" y="82"/>
                  </a:cubicBezTo>
                  <a:cubicBezTo>
                    <a:pt x="3" y="76"/>
                    <a:pt x="7" y="47"/>
                    <a:pt x="7" y="47"/>
                  </a:cubicBezTo>
                  <a:cubicBezTo>
                    <a:pt x="7" y="138"/>
                    <a:pt x="7" y="138"/>
                    <a:pt x="7" y="138"/>
                  </a:cubicBezTo>
                  <a:cubicBezTo>
                    <a:pt x="7" y="139"/>
                    <a:pt x="7" y="139"/>
                    <a:pt x="8" y="139"/>
                  </a:cubicBezTo>
                  <a:cubicBezTo>
                    <a:pt x="8" y="139"/>
                    <a:pt x="9" y="139"/>
                    <a:pt x="9" y="138"/>
                  </a:cubicBezTo>
                  <a:cubicBezTo>
                    <a:pt x="17" y="81"/>
                    <a:pt x="17" y="81"/>
                    <a:pt x="17" y="81"/>
                  </a:cubicBezTo>
                  <a:cubicBezTo>
                    <a:pt x="17" y="80"/>
                    <a:pt x="19" y="80"/>
                    <a:pt x="19" y="81"/>
                  </a:cubicBezTo>
                  <a:cubicBezTo>
                    <a:pt x="27" y="138"/>
                    <a:pt x="27" y="138"/>
                    <a:pt x="27" y="138"/>
                  </a:cubicBezTo>
                  <a:cubicBezTo>
                    <a:pt x="27" y="139"/>
                    <a:pt x="28" y="139"/>
                    <a:pt x="28" y="139"/>
                  </a:cubicBezTo>
                  <a:cubicBezTo>
                    <a:pt x="29" y="139"/>
                    <a:pt x="29" y="139"/>
                    <a:pt x="29" y="138"/>
                  </a:cubicBezTo>
                  <a:cubicBezTo>
                    <a:pt x="29" y="43"/>
                    <a:pt x="29" y="43"/>
                    <a:pt x="29" y="43"/>
                  </a:cubicBezTo>
                  <a:cubicBezTo>
                    <a:pt x="29" y="42"/>
                    <a:pt x="30" y="41"/>
                    <a:pt x="31" y="41"/>
                  </a:cubicBezTo>
                  <a:cubicBezTo>
                    <a:pt x="38" y="40"/>
                    <a:pt x="58" y="37"/>
                    <a:pt x="66" y="36"/>
                  </a:cubicBezTo>
                  <a:cubicBezTo>
                    <a:pt x="66" y="138"/>
                    <a:pt x="66" y="138"/>
                    <a:pt x="66" y="138"/>
                  </a:cubicBezTo>
                  <a:cubicBezTo>
                    <a:pt x="66" y="139"/>
                    <a:pt x="67" y="140"/>
                    <a:pt x="68" y="140"/>
                  </a:cubicBezTo>
                  <a:cubicBezTo>
                    <a:pt x="69" y="140"/>
                    <a:pt x="70" y="139"/>
                    <a:pt x="70" y="138"/>
                  </a:cubicBezTo>
                  <a:cubicBezTo>
                    <a:pt x="70" y="27"/>
                    <a:pt x="70" y="27"/>
                    <a:pt x="70" y="27"/>
                  </a:cubicBezTo>
                  <a:cubicBezTo>
                    <a:pt x="97" y="15"/>
                    <a:pt x="97" y="15"/>
                    <a:pt x="97" y="15"/>
                  </a:cubicBezTo>
                  <a:lnTo>
                    <a:pt x="7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5" name="Freeform 14">
              <a:extLst>
                <a:ext uri="{FF2B5EF4-FFF2-40B4-BE49-F238E27FC236}">
                  <a16:creationId xmlns:a16="http://schemas.microsoft.com/office/drawing/2014/main" id="{00940DB0-81CD-416D-8F09-D2BB226322BC}"/>
                </a:ext>
              </a:extLst>
            </p:cNvPr>
            <p:cNvSpPr>
              <a:spLocks/>
            </p:cNvSpPr>
            <p:nvPr/>
          </p:nvSpPr>
          <p:spPr bwMode="auto">
            <a:xfrm>
              <a:off x="1797050" y="3953880"/>
              <a:ext cx="44450" cy="69850"/>
            </a:xfrm>
            <a:custGeom>
              <a:avLst/>
              <a:gdLst>
                <a:gd name="T0" fmla="*/ 6 w 12"/>
                <a:gd name="T1" fmla="*/ 18 h 18"/>
                <a:gd name="T2" fmla="*/ 11 w 12"/>
                <a:gd name="T3" fmla="*/ 11 h 18"/>
                <a:gd name="T4" fmla="*/ 12 w 12"/>
                <a:gd name="T5" fmla="*/ 5 h 18"/>
                <a:gd name="T6" fmla="*/ 6 w 12"/>
                <a:gd name="T7" fmla="*/ 0 h 18"/>
                <a:gd name="T8" fmla="*/ 0 w 12"/>
                <a:gd name="T9" fmla="*/ 5 h 18"/>
                <a:gd name="T10" fmla="*/ 1 w 12"/>
                <a:gd name="T11" fmla="*/ 11 h 18"/>
                <a:gd name="T12" fmla="*/ 6 w 1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6" y="18"/>
                  </a:moveTo>
                  <a:cubicBezTo>
                    <a:pt x="10" y="18"/>
                    <a:pt x="11" y="13"/>
                    <a:pt x="11" y="11"/>
                  </a:cubicBezTo>
                  <a:cubicBezTo>
                    <a:pt x="12" y="9"/>
                    <a:pt x="12" y="8"/>
                    <a:pt x="12" y="5"/>
                  </a:cubicBezTo>
                  <a:cubicBezTo>
                    <a:pt x="12" y="3"/>
                    <a:pt x="10" y="0"/>
                    <a:pt x="6" y="0"/>
                  </a:cubicBezTo>
                  <a:cubicBezTo>
                    <a:pt x="2" y="0"/>
                    <a:pt x="0" y="3"/>
                    <a:pt x="0" y="5"/>
                  </a:cubicBezTo>
                  <a:cubicBezTo>
                    <a:pt x="0" y="8"/>
                    <a:pt x="0" y="9"/>
                    <a:pt x="1" y="11"/>
                  </a:cubicBezTo>
                  <a:cubicBezTo>
                    <a:pt x="1" y="13"/>
                    <a:pt x="2" y="18"/>
                    <a:pt x="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grpSp>
        <p:nvGrpSpPr>
          <p:cNvPr id="56" name="Группа 55">
            <a:extLst>
              <a:ext uri="{FF2B5EF4-FFF2-40B4-BE49-F238E27FC236}">
                <a16:creationId xmlns:a16="http://schemas.microsoft.com/office/drawing/2014/main" id="{F85E93E3-9AE3-4880-A211-7FE361FB3288}"/>
              </a:ext>
            </a:extLst>
          </p:cNvPr>
          <p:cNvGrpSpPr/>
          <p:nvPr/>
        </p:nvGrpSpPr>
        <p:grpSpPr>
          <a:xfrm>
            <a:off x="11200223" y="2553197"/>
            <a:ext cx="459287" cy="408048"/>
            <a:chOff x="5848350" y="3248026"/>
            <a:chExt cx="398463" cy="354012"/>
          </a:xfrm>
          <a:solidFill>
            <a:schemeClr val="bg1"/>
          </a:solidFill>
        </p:grpSpPr>
        <p:sp>
          <p:nvSpPr>
            <p:cNvPr id="57" name="Freeform 231">
              <a:extLst>
                <a:ext uri="{FF2B5EF4-FFF2-40B4-BE49-F238E27FC236}">
                  <a16:creationId xmlns:a16="http://schemas.microsoft.com/office/drawing/2014/main" id="{413E1405-4997-4BAD-B318-0779DF7D5DED}"/>
                </a:ext>
              </a:extLst>
            </p:cNvPr>
            <p:cNvSpPr>
              <a:spLocks/>
            </p:cNvSpPr>
            <p:nvPr/>
          </p:nvSpPr>
          <p:spPr bwMode="auto">
            <a:xfrm>
              <a:off x="5897563" y="3436938"/>
              <a:ext cx="349250" cy="119063"/>
            </a:xfrm>
            <a:custGeom>
              <a:avLst/>
              <a:gdLst>
                <a:gd name="T0" fmla="*/ 90 w 93"/>
                <a:gd name="T1" fmla="*/ 1 h 31"/>
                <a:gd name="T2" fmla="*/ 89 w 93"/>
                <a:gd name="T3" fmla="*/ 1 h 31"/>
                <a:gd name="T4" fmla="*/ 59 w 93"/>
                <a:gd name="T5" fmla="*/ 11 h 31"/>
                <a:gd name="T6" fmla="*/ 45 w 93"/>
                <a:gd name="T7" fmla="*/ 11 h 31"/>
                <a:gd name="T8" fmla="*/ 22 w 93"/>
                <a:gd name="T9" fmla="*/ 2 h 31"/>
                <a:gd name="T10" fmla="*/ 10 w 93"/>
                <a:gd name="T11" fmla="*/ 4 h 31"/>
                <a:gd name="T12" fmla="*/ 0 w 93"/>
                <a:gd name="T13" fmla="*/ 13 h 31"/>
                <a:gd name="T14" fmla="*/ 12 w 93"/>
                <a:gd name="T15" fmla="*/ 31 h 31"/>
                <a:gd name="T16" fmla="*/ 19 w 93"/>
                <a:gd name="T17" fmla="*/ 25 h 31"/>
                <a:gd name="T18" fmla="*/ 45 w 93"/>
                <a:gd name="T19" fmla="*/ 28 h 31"/>
                <a:gd name="T20" fmla="*/ 50 w 93"/>
                <a:gd name="T21" fmla="*/ 27 h 31"/>
                <a:gd name="T22" fmla="*/ 91 w 93"/>
                <a:gd name="T23" fmla="*/ 7 h 31"/>
                <a:gd name="T24" fmla="*/ 93 w 93"/>
                <a:gd name="T25" fmla="*/ 4 h 31"/>
                <a:gd name="T26" fmla="*/ 90 w 93"/>
                <a:gd name="T27"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31">
                  <a:moveTo>
                    <a:pt x="90" y="1"/>
                  </a:moveTo>
                  <a:cubicBezTo>
                    <a:pt x="89" y="1"/>
                    <a:pt x="89" y="1"/>
                    <a:pt x="89" y="1"/>
                  </a:cubicBezTo>
                  <a:cubicBezTo>
                    <a:pt x="89" y="1"/>
                    <a:pt x="63" y="10"/>
                    <a:pt x="59" y="11"/>
                  </a:cubicBezTo>
                  <a:cubicBezTo>
                    <a:pt x="54" y="12"/>
                    <a:pt x="51" y="12"/>
                    <a:pt x="45" y="11"/>
                  </a:cubicBezTo>
                  <a:cubicBezTo>
                    <a:pt x="42" y="11"/>
                    <a:pt x="30" y="6"/>
                    <a:pt x="22" y="2"/>
                  </a:cubicBezTo>
                  <a:cubicBezTo>
                    <a:pt x="18" y="0"/>
                    <a:pt x="13" y="1"/>
                    <a:pt x="10" y="4"/>
                  </a:cubicBezTo>
                  <a:cubicBezTo>
                    <a:pt x="0" y="13"/>
                    <a:pt x="0" y="13"/>
                    <a:pt x="0" y="13"/>
                  </a:cubicBezTo>
                  <a:cubicBezTo>
                    <a:pt x="12" y="31"/>
                    <a:pt x="12" y="31"/>
                    <a:pt x="12" y="31"/>
                  </a:cubicBezTo>
                  <a:cubicBezTo>
                    <a:pt x="19" y="25"/>
                    <a:pt x="19" y="25"/>
                    <a:pt x="19" y="25"/>
                  </a:cubicBezTo>
                  <a:cubicBezTo>
                    <a:pt x="45" y="28"/>
                    <a:pt x="45" y="28"/>
                    <a:pt x="45" y="28"/>
                  </a:cubicBezTo>
                  <a:cubicBezTo>
                    <a:pt x="47" y="28"/>
                    <a:pt x="49" y="28"/>
                    <a:pt x="50" y="27"/>
                  </a:cubicBezTo>
                  <a:cubicBezTo>
                    <a:pt x="91" y="7"/>
                    <a:pt x="91" y="7"/>
                    <a:pt x="91" y="7"/>
                  </a:cubicBezTo>
                  <a:cubicBezTo>
                    <a:pt x="92" y="7"/>
                    <a:pt x="93" y="6"/>
                    <a:pt x="93" y="4"/>
                  </a:cubicBezTo>
                  <a:cubicBezTo>
                    <a:pt x="93" y="3"/>
                    <a:pt x="91" y="1"/>
                    <a:pt x="90" y="1"/>
                  </a:cubicBezTo>
                  <a:close/>
                </a:path>
              </a:pathLst>
            </a:custGeom>
            <a:grpFill/>
            <a:ln w="9525">
              <a:noFill/>
              <a:round/>
              <a:headEnd/>
              <a:tailEnd/>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8" name="Freeform 232">
              <a:extLst>
                <a:ext uri="{FF2B5EF4-FFF2-40B4-BE49-F238E27FC236}">
                  <a16:creationId xmlns:a16="http://schemas.microsoft.com/office/drawing/2014/main" id="{BCF683CC-41A4-4154-BEFD-A4DE656244C6}"/>
                </a:ext>
              </a:extLst>
            </p:cNvPr>
            <p:cNvSpPr>
              <a:spLocks/>
            </p:cNvSpPr>
            <p:nvPr/>
          </p:nvSpPr>
          <p:spPr bwMode="auto">
            <a:xfrm>
              <a:off x="5848350" y="3490913"/>
              <a:ext cx="93663" cy="111125"/>
            </a:xfrm>
            <a:custGeom>
              <a:avLst/>
              <a:gdLst>
                <a:gd name="T0" fmla="*/ 0 w 59"/>
                <a:gd name="T1" fmla="*/ 17 h 70"/>
                <a:gd name="T2" fmla="*/ 38 w 59"/>
                <a:gd name="T3" fmla="*/ 70 h 70"/>
                <a:gd name="T4" fmla="*/ 59 w 59"/>
                <a:gd name="T5" fmla="*/ 53 h 70"/>
                <a:gd name="T6" fmla="*/ 24 w 59"/>
                <a:gd name="T7" fmla="*/ 0 h 70"/>
                <a:gd name="T8" fmla="*/ 0 w 59"/>
                <a:gd name="T9" fmla="*/ 17 h 70"/>
              </a:gdLst>
              <a:ahLst/>
              <a:cxnLst>
                <a:cxn ang="0">
                  <a:pos x="T0" y="T1"/>
                </a:cxn>
                <a:cxn ang="0">
                  <a:pos x="T2" y="T3"/>
                </a:cxn>
                <a:cxn ang="0">
                  <a:pos x="T4" y="T5"/>
                </a:cxn>
                <a:cxn ang="0">
                  <a:pos x="T6" y="T7"/>
                </a:cxn>
                <a:cxn ang="0">
                  <a:pos x="T8" y="T9"/>
                </a:cxn>
              </a:cxnLst>
              <a:rect l="0" t="0" r="r" b="b"/>
              <a:pathLst>
                <a:path w="59" h="70">
                  <a:moveTo>
                    <a:pt x="0" y="17"/>
                  </a:moveTo>
                  <a:lnTo>
                    <a:pt x="38" y="70"/>
                  </a:lnTo>
                  <a:lnTo>
                    <a:pt x="59" y="53"/>
                  </a:lnTo>
                  <a:lnTo>
                    <a:pt x="24" y="0"/>
                  </a:lnTo>
                  <a:lnTo>
                    <a:pt x="0" y="17"/>
                  </a:lnTo>
                  <a:close/>
                </a:path>
              </a:pathLst>
            </a:custGeom>
            <a:grpFill/>
            <a:ln w="9525">
              <a:noFill/>
              <a:round/>
              <a:headEnd/>
              <a:tailEnd/>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59" name="Freeform 233">
              <a:extLst>
                <a:ext uri="{FF2B5EF4-FFF2-40B4-BE49-F238E27FC236}">
                  <a16:creationId xmlns:a16="http://schemas.microsoft.com/office/drawing/2014/main" id="{36B35AE4-D125-4123-869F-8AB52BC60E2A}"/>
                </a:ext>
              </a:extLst>
            </p:cNvPr>
            <p:cNvSpPr>
              <a:spLocks/>
            </p:cNvSpPr>
            <p:nvPr/>
          </p:nvSpPr>
          <p:spPr bwMode="auto">
            <a:xfrm>
              <a:off x="6103938" y="3298826"/>
              <a:ext cx="85725" cy="119063"/>
            </a:xfrm>
            <a:custGeom>
              <a:avLst/>
              <a:gdLst>
                <a:gd name="T0" fmla="*/ 14 w 23"/>
                <a:gd name="T1" fmla="*/ 10 h 31"/>
                <a:gd name="T2" fmla="*/ 1 w 23"/>
                <a:gd name="T3" fmla="*/ 31 h 31"/>
                <a:gd name="T4" fmla="*/ 23 w 23"/>
                <a:gd name="T5" fmla="*/ 2 h 31"/>
                <a:gd name="T6" fmla="*/ 0 w 23"/>
                <a:gd name="T7" fmla="*/ 26 h 31"/>
                <a:gd name="T8" fmla="*/ 14 w 23"/>
                <a:gd name="T9" fmla="*/ 10 h 31"/>
              </a:gdLst>
              <a:ahLst/>
              <a:cxnLst>
                <a:cxn ang="0">
                  <a:pos x="T0" y="T1"/>
                </a:cxn>
                <a:cxn ang="0">
                  <a:pos x="T2" y="T3"/>
                </a:cxn>
                <a:cxn ang="0">
                  <a:pos x="T4" y="T5"/>
                </a:cxn>
                <a:cxn ang="0">
                  <a:pos x="T6" y="T7"/>
                </a:cxn>
                <a:cxn ang="0">
                  <a:pos x="T8" y="T9"/>
                </a:cxn>
              </a:cxnLst>
              <a:rect l="0" t="0" r="r" b="b"/>
              <a:pathLst>
                <a:path w="23" h="31">
                  <a:moveTo>
                    <a:pt x="14" y="10"/>
                  </a:moveTo>
                  <a:cubicBezTo>
                    <a:pt x="14" y="10"/>
                    <a:pt x="4" y="16"/>
                    <a:pt x="1" y="31"/>
                  </a:cubicBezTo>
                  <a:cubicBezTo>
                    <a:pt x="15" y="29"/>
                    <a:pt x="22" y="20"/>
                    <a:pt x="23" y="2"/>
                  </a:cubicBezTo>
                  <a:cubicBezTo>
                    <a:pt x="12" y="0"/>
                    <a:pt x="0" y="7"/>
                    <a:pt x="0" y="26"/>
                  </a:cubicBezTo>
                  <a:cubicBezTo>
                    <a:pt x="0" y="26"/>
                    <a:pt x="4" y="14"/>
                    <a:pt x="14" y="10"/>
                  </a:cubicBezTo>
                  <a:close/>
                </a:path>
              </a:pathLst>
            </a:custGeom>
            <a:grpFill/>
            <a:ln w="9525">
              <a:noFill/>
              <a:round/>
              <a:headEnd/>
              <a:tailEnd/>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0" name="Freeform 234">
              <a:extLst>
                <a:ext uri="{FF2B5EF4-FFF2-40B4-BE49-F238E27FC236}">
                  <a16:creationId xmlns:a16="http://schemas.microsoft.com/office/drawing/2014/main" id="{195529D2-A19C-4383-B078-1769F5EDF898}"/>
                </a:ext>
              </a:extLst>
            </p:cNvPr>
            <p:cNvSpPr>
              <a:spLocks/>
            </p:cNvSpPr>
            <p:nvPr/>
          </p:nvSpPr>
          <p:spPr bwMode="auto">
            <a:xfrm>
              <a:off x="6046788" y="3248026"/>
              <a:ext cx="79375" cy="111125"/>
            </a:xfrm>
            <a:custGeom>
              <a:avLst/>
              <a:gdLst>
                <a:gd name="T0" fmla="*/ 11 w 21"/>
                <a:gd name="T1" fmla="*/ 10 h 29"/>
                <a:gd name="T2" fmla="*/ 13 w 21"/>
                <a:gd name="T3" fmla="*/ 29 h 29"/>
                <a:gd name="T4" fmla="*/ 12 w 21"/>
                <a:gd name="T5" fmla="*/ 0 h 29"/>
                <a:gd name="T6" fmla="*/ 10 w 21"/>
                <a:gd name="T7" fmla="*/ 27 h 29"/>
                <a:gd name="T8" fmla="*/ 11 w 21"/>
                <a:gd name="T9" fmla="*/ 10 h 29"/>
              </a:gdLst>
              <a:ahLst/>
              <a:cxnLst>
                <a:cxn ang="0">
                  <a:pos x="T0" y="T1"/>
                </a:cxn>
                <a:cxn ang="0">
                  <a:pos x="T2" y="T3"/>
                </a:cxn>
                <a:cxn ang="0">
                  <a:pos x="T4" y="T5"/>
                </a:cxn>
                <a:cxn ang="0">
                  <a:pos x="T6" y="T7"/>
                </a:cxn>
                <a:cxn ang="0">
                  <a:pos x="T8" y="T9"/>
                </a:cxn>
              </a:cxnLst>
              <a:rect l="0" t="0" r="r" b="b"/>
              <a:pathLst>
                <a:path w="21" h="29">
                  <a:moveTo>
                    <a:pt x="11" y="10"/>
                  </a:moveTo>
                  <a:cubicBezTo>
                    <a:pt x="11" y="10"/>
                    <a:pt x="10" y="21"/>
                    <a:pt x="13" y="29"/>
                  </a:cubicBezTo>
                  <a:cubicBezTo>
                    <a:pt x="20" y="21"/>
                    <a:pt x="21" y="9"/>
                    <a:pt x="12" y="0"/>
                  </a:cubicBezTo>
                  <a:cubicBezTo>
                    <a:pt x="7" y="3"/>
                    <a:pt x="0" y="16"/>
                    <a:pt x="10" y="27"/>
                  </a:cubicBezTo>
                  <a:cubicBezTo>
                    <a:pt x="10" y="27"/>
                    <a:pt x="8" y="16"/>
                    <a:pt x="11" y="10"/>
                  </a:cubicBezTo>
                  <a:close/>
                </a:path>
              </a:pathLst>
            </a:custGeom>
            <a:grpFill/>
            <a:ln w="9525">
              <a:noFill/>
              <a:round/>
              <a:headEnd/>
              <a:tailEnd/>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1" name="Freeform 235">
              <a:extLst>
                <a:ext uri="{FF2B5EF4-FFF2-40B4-BE49-F238E27FC236}">
                  <a16:creationId xmlns:a16="http://schemas.microsoft.com/office/drawing/2014/main" id="{924C49FF-74CB-4409-A5DC-6111BACB0CF0}"/>
                </a:ext>
              </a:extLst>
            </p:cNvPr>
            <p:cNvSpPr>
              <a:spLocks/>
            </p:cNvSpPr>
            <p:nvPr/>
          </p:nvSpPr>
          <p:spPr bwMode="auto">
            <a:xfrm>
              <a:off x="5975350" y="3305176"/>
              <a:ext cx="117475" cy="142875"/>
            </a:xfrm>
            <a:custGeom>
              <a:avLst/>
              <a:gdLst>
                <a:gd name="T0" fmla="*/ 29 w 31"/>
                <a:gd name="T1" fmla="*/ 37 h 37"/>
                <a:gd name="T2" fmla="*/ 12 w 31"/>
                <a:gd name="T3" fmla="*/ 12 h 37"/>
                <a:gd name="T4" fmla="*/ 31 w 31"/>
                <a:gd name="T5" fmla="*/ 31 h 37"/>
                <a:gd name="T6" fmla="*/ 0 w 31"/>
                <a:gd name="T7" fmla="*/ 1 h 37"/>
                <a:gd name="T8" fmla="*/ 29 w 31"/>
                <a:gd name="T9" fmla="*/ 37 h 37"/>
              </a:gdLst>
              <a:ahLst/>
              <a:cxnLst>
                <a:cxn ang="0">
                  <a:pos x="T0" y="T1"/>
                </a:cxn>
                <a:cxn ang="0">
                  <a:pos x="T2" y="T3"/>
                </a:cxn>
                <a:cxn ang="0">
                  <a:pos x="T4" y="T5"/>
                </a:cxn>
                <a:cxn ang="0">
                  <a:pos x="T6" y="T7"/>
                </a:cxn>
                <a:cxn ang="0">
                  <a:pos x="T8" y="T9"/>
                </a:cxn>
              </a:cxnLst>
              <a:rect l="0" t="0" r="r" b="b"/>
              <a:pathLst>
                <a:path w="31" h="37">
                  <a:moveTo>
                    <a:pt x="29" y="37"/>
                  </a:moveTo>
                  <a:cubicBezTo>
                    <a:pt x="26" y="19"/>
                    <a:pt x="12" y="12"/>
                    <a:pt x="12" y="12"/>
                  </a:cubicBezTo>
                  <a:cubicBezTo>
                    <a:pt x="26" y="16"/>
                    <a:pt x="31" y="31"/>
                    <a:pt x="31" y="31"/>
                  </a:cubicBezTo>
                  <a:cubicBezTo>
                    <a:pt x="31" y="8"/>
                    <a:pt x="15" y="0"/>
                    <a:pt x="0" y="1"/>
                  </a:cubicBezTo>
                  <a:cubicBezTo>
                    <a:pt x="2" y="24"/>
                    <a:pt x="12" y="35"/>
                    <a:pt x="29" y="37"/>
                  </a:cubicBezTo>
                  <a:close/>
                </a:path>
              </a:pathLst>
            </a:custGeom>
            <a:grpFill/>
            <a:ln w="9525">
              <a:noFill/>
              <a:round/>
              <a:headEnd/>
              <a:tailEnd/>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grpSp>
        <p:nvGrpSpPr>
          <p:cNvPr id="62" name="Группа 61">
            <a:extLst>
              <a:ext uri="{FF2B5EF4-FFF2-40B4-BE49-F238E27FC236}">
                <a16:creationId xmlns:a16="http://schemas.microsoft.com/office/drawing/2014/main" id="{104533DE-F299-487D-A09F-BC5B4509F500}"/>
              </a:ext>
            </a:extLst>
          </p:cNvPr>
          <p:cNvGrpSpPr/>
          <p:nvPr/>
        </p:nvGrpSpPr>
        <p:grpSpPr>
          <a:xfrm flipH="1">
            <a:off x="11634367" y="3909040"/>
            <a:ext cx="364302" cy="364300"/>
            <a:chOff x="8275638" y="1365251"/>
            <a:chExt cx="525463" cy="525462"/>
          </a:xfrm>
          <a:solidFill>
            <a:schemeClr val="bg1"/>
          </a:solidFill>
        </p:grpSpPr>
        <p:sp>
          <p:nvSpPr>
            <p:cNvPr id="63" name="Freeform 350">
              <a:extLst>
                <a:ext uri="{FF2B5EF4-FFF2-40B4-BE49-F238E27FC236}">
                  <a16:creationId xmlns:a16="http://schemas.microsoft.com/office/drawing/2014/main" id="{98D2F204-5264-4BE5-9357-3BA933B35C11}"/>
                </a:ext>
              </a:extLst>
            </p:cNvPr>
            <p:cNvSpPr>
              <a:spLocks/>
            </p:cNvSpPr>
            <p:nvPr/>
          </p:nvSpPr>
          <p:spPr bwMode="auto">
            <a:xfrm>
              <a:off x="8275638" y="1846263"/>
              <a:ext cx="44450" cy="44450"/>
            </a:xfrm>
            <a:custGeom>
              <a:avLst/>
              <a:gdLst>
                <a:gd name="T0" fmla="*/ 9 w 12"/>
                <a:gd name="T1" fmla="*/ 1 h 12"/>
                <a:gd name="T2" fmla="*/ 8 w 12"/>
                <a:gd name="T3" fmla="*/ 0 h 12"/>
                <a:gd name="T4" fmla="*/ 0 w 12"/>
                <a:gd name="T5" fmla="*/ 8 h 12"/>
                <a:gd name="T6" fmla="*/ 4 w 12"/>
                <a:gd name="T7" fmla="*/ 12 h 12"/>
                <a:gd name="T8" fmla="*/ 12 w 12"/>
                <a:gd name="T9" fmla="*/ 3 h 12"/>
                <a:gd name="T10" fmla="*/ 11 w 12"/>
                <a:gd name="T11" fmla="*/ 2 h 12"/>
                <a:gd name="T12" fmla="*/ 9 w 12"/>
                <a:gd name="T13" fmla="*/ 1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9" y="1"/>
                  </a:moveTo>
                  <a:cubicBezTo>
                    <a:pt x="9" y="1"/>
                    <a:pt x="9" y="0"/>
                    <a:pt x="8" y="0"/>
                  </a:cubicBezTo>
                  <a:cubicBezTo>
                    <a:pt x="0" y="8"/>
                    <a:pt x="0" y="8"/>
                    <a:pt x="0" y="8"/>
                  </a:cubicBezTo>
                  <a:cubicBezTo>
                    <a:pt x="4" y="12"/>
                    <a:pt x="4" y="12"/>
                    <a:pt x="4" y="12"/>
                  </a:cubicBezTo>
                  <a:cubicBezTo>
                    <a:pt x="12" y="3"/>
                    <a:pt x="12" y="3"/>
                    <a:pt x="12" y="3"/>
                  </a:cubicBezTo>
                  <a:cubicBezTo>
                    <a:pt x="12" y="3"/>
                    <a:pt x="11" y="3"/>
                    <a:pt x="11" y="2"/>
                  </a:cubicBezTo>
                  <a:lnTo>
                    <a:pt x="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4" name="Freeform 351">
              <a:extLst>
                <a:ext uri="{FF2B5EF4-FFF2-40B4-BE49-F238E27FC236}">
                  <a16:creationId xmlns:a16="http://schemas.microsoft.com/office/drawing/2014/main" id="{40E9294D-4408-4F6C-B4F8-F6AB9AD42D47}"/>
                </a:ext>
              </a:extLst>
            </p:cNvPr>
            <p:cNvSpPr>
              <a:spLocks/>
            </p:cNvSpPr>
            <p:nvPr/>
          </p:nvSpPr>
          <p:spPr bwMode="auto">
            <a:xfrm>
              <a:off x="8372476" y="1489076"/>
              <a:ext cx="304800" cy="304800"/>
            </a:xfrm>
            <a:custGeom>
              <a:avLst/>
              <a:gdLst>
                <a:gd name="T0" fmla="*/ 60 w 81"/>
                <a:gd name="T1" fmla="*/ 0 h 81"/>
                <a:gd name="T2" fmla="*/ 3 w 81"/>
                <a:gd name="T3" fmla="*/ 66 h 81"/>
                <a:gd name="T4" fmla="*/ 3 w 81"/>
                <a:gd name="T5" fmla="*/ 75 h 81"/>
                <a:gd name="T6" fmla="*/ 5 w 81"/>
                <a:gd name="T7" fmla="*/ 78 h 81"/>
                <a:gd name="T8" fmla="*/ 15 w 81"/>
                <a:gd name="T9" fmla="*/ 78 h 81"/>
                <a:gd name="T10" fmla="*/ 81 w 81"/>
                <a:gd name="T11" fmla="*/ 21 h 81"/>
                <a:gd name="T12" fmla="*/ 68 w 81"/>
                <a:gd name="T13" fmla="*/ 13 h 81"/>
                <a:gd name="T14" fmla="*/ 60 w 81"/>
                <a:gd name="T15" fmla="*/ 0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81">
                  <a:moveTo>
                    <a:pt x="60" y="0"/>
                  </a:moveTo>
                  <a:cubicBezTo>
                    <a:pt x="3" y="66"/>
                    <a:pt x="3" y="66"/>
                    <a:pt x="3" y="66"/>
                  </a:cubicBezTo>
                  <a:cubicBezTo>
                    <a:pt x="0" y="68"/>
                    <a:pt x="0" y="73"/>
                    <a:pt x="3" y="75"/>
                  </a:cubicBezTo>
                  <a:cubicBezTo>
                    <a:pt x="5" y="78"/>
                    <a:pt x="5" y="78"/>
                    <a:pt x="5" y="78"/>
                  </a:cubicBezTo>
                  <a:cubicBezTo>
                    <a:pt x="8" y="80"/>
                    <a:pt x="12" y="81"/>
                    <a:pt x="15" y="78"/>
                  </a:cubicBezTo>
                  <a:cubicBezTo>
                    <a:pt x="81" y="21"/>
                    <a:pt x="81" y="21"/>
                    <a:pt x="81" y="21"/>
                  </a:cubicBezTo>
                  <a:cubicBezTo>
                    <a:pt x="76" y="19"/>
                    <a:pt x="71" y="17"/>
                    <a:pt x="68" y="13"/>
                  </a:cubicBezTo>
                  <a:cubicBezTo>
                    <a:pt x="64" y="9"/>
                    <a:pt x="61" y="5"/>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5" name="Freeform 352">
              <a:extLst>
                <a:ext uri="{FF2B5EF4-FFF2-40B4-BE49-F238E27FC236}">
                  <a16:creationId xmlns:a16="http://schemas.microsoft.com/office/drawing/2014/main" id="{56E1F6AE-EFF5-41CD-AD9B-C91F1B74EE6E}"/>
                </a:ext>
              </a:extLst>
            </p:cNvPr>
            <p:cNvSpPr>
              <a:spLocks/>
            </p:cNvSpPr>
            <p:nvPr/>
          </p:nvSpPr>
          <p:spPr bwMode="auto">
            <a:xfrm>
              <a:off x="8316913" y="1771651"/>
              <a:ext cx="77788" cy="77788"/>
            </a:xfrm>
            <a:custGeom>
              <a:avLst/>
              <a:gdLst>
                <a:gd name="T0" fmla="*/ 14 w 21"/>
                <a:gd name="T1" fmla="*/ 4 h 21"/>
                <a:gd name="T2" fmla="*/ 12 w 21"/>
                <a:gd name="T3" fmla="*/ 0 h 21"/>
                <a:gd name="T4" fmla="*/ 1 w 21"/>
                <a:gd name="T5" fmla="*/ 12 h 21"/>
                <a:gd name="T6" fmla="*/ 2 w 21"/>
                <a:gd name="T7" fmla="*/ 18 h 21"/>
                <a:gd name="T8" fmla="*/ 3 w 21"/>
                <a:gd name="T9" fmla="*/ 19 h 21"/>
                <a:gd name="T10" fmla="*/ 9 w 21"/>
                <a:gd name="T11" fmla="*/ 19 h 21"/>
                <a:gd name="T12" fmla="*/ 21 w 21"/>
                <a:gd name="T13" fmla="*/ 8 h 21"/>
                <a:gd name="T14" fmla="*/ 17 w 21"/>
                <a:gd name="T15" fmla="*/ 6 h 21"/>
                <a:gd name="T16" fmla="*/ 14 w 21"/>
                <a:gd name="T1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4" y="4"/>
                  </a:moveTo>
                  <a:cubicBezTo>
                    <a:pt x="13" y="3"/>
                    <a:pt x="13" y="1"/>
                    <a:pt x="12" y="0"/>
                  </a:cubicBezTo>
                  <a:cubicBezTo>
                    <a:pt x="1" y="12"/>
                    <a:pt x="1" y="12"/>
                    <a:pt x="1" y="12"/>
                  </a:cubicBezTo>
                  <a:cubicBezTo>
                    <a:pt x="0" y="14"/>
                    <a:pt x="0" y="16"/>
                    <a:pt x="2" y="18"/>
                  </a:cubicBezTo>
                  <a:cubicBezTo>
                    <a:pt x="3" y="19"/>
                    <a:pt x="3" y="19"/>
                    <a:pt x="3" y="19"/>
                  </a:cubicBezTo>
                  <a:cubicBezTo>
                    <a:pt x="5" y="21"/>
                    <a:pt x="7" y="21"/>
                    <a:pt x="9" y="19"/>
                  </a:cubicBezTo>
                  <a:cubicBezTo>
                    <a:pt x="21" y="8"/>
                    <a:pt x="21" y="8"/>
                    <a:pt x="21" y="8"/>
                  </a:cubicBezTo>
                  <a:cubicBezTo>
                    <a:pt x="19" y="8"/>
                    <a:pt x="18" y="8"/>
                    <a:pt x="17" y="6"/>
                  </a:cubicBezTo>
                  <a:lnTo>
                    <a:pt x="1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6" name="Freeform 353">
              <a:extLst>
                <a:ext uri="{FF2B5EF4-FFF2-40B4-BE49-F238E27FC236}">
                  <a16:creationId xmlns:a16="http://schemas.microsoft.com/office/drawing/2014/main" id="{B5C9001E-1A47-4125-927D-6A755F0A10B8}"/>
                </a:ext>
              </a:extLst>
            </p:cNvPr>
            <p:cNvSpPr>
              <a:spLocks/>
            </p:cNvSpPr>
            <p:nvPr/>
          </p:nvSpPr>
          <p:spPr bwMode="auto">
            <a:xfrm>
              <a:off x="8642351" y="1365251"/>
              <a:ext cx="158750" cy="157163"/>
            </a:xfrm>
            <a:custGeom>
              <a:avLst/>
              <a:gdLst>
                <a:gd name="T0" fmla="*/ 33 w 42"/>
                <a:gd name="T1" fmla="*/ 42 h 42"/>
                <a:gd name="T2" fmla="*/ 33 w 42"/>
                <a:gd name="T3" fmla="*/ 9 h 42"/>
                <a:gd name="T4" fmla="*/ 0 w 42"/>
                <a:gd name="T5" fmla="*/ 8 h 42"/>
                <a:gd name="T6" fmla="*/ 12 w 42"/>
                <a:gd name="T7" fmla="*/ 29 h 42"/>
                <a:gd name="T8" fmla="*/ 33 w 42"/>
                <a:gd name="T9" fmla="*/ 42 h 42"/>
              </a:gdLst>
              <a:ahLst/>
              <a:cxnLst>
                <a:cxn ang="0">
                  <a:pos x="T0" y="T1"/>
                </a:cxn>
                <a:cxn ang="0">
                  <a:pos x="T2" y="T3"/>
                </a:cxn>
                <a:cxn ang="0">
                  <a:pos x="T4" y="T5"/>
                </a:cxn>
                <a:cxn ang="0">
                  <a:pos x="T6" y="T7"/>
                </a:cxn>
                <a:cxn ang="0">
                  <a:pos x="T8" y="T9"/>
                </a:cxn>
              </a:cxnLst>
              <a:rect l="0" t="0" r="r" b="b"/>
              <a:pathLst>
                <a:path w="42" h="42">
                  <a:moveTo>
                    <a:pt x="33" y="42"/>
                  </a:moveTo>
                  <a:cubicBezTo>
                    <a:pt x="42" y="32"/>
                    <a:pt x="42" y="18"/>
                    <a:pt x="33" y="9"/>
                  </a:cubicBezTo>
                  <a:cubicBezTo>
                    <a:pt x="24" y="0"/>
                    <a:pt x="9" y="0"/>
                    <a:pt x="0" y="8"/>
                  </a:cubicBezTo>
                  <a:cubicBezTo>
                    <a:pt x="1" y="15"/>
                    <a:pt x="6" y="23"/>
                    <a:pt x="12" y="29"/>
                  </a:cubicBezTo>
                  <a:cubicBezTo>
                    <a:pt x="19" y="36"/>
                    <a:pt x="27" y="40"/>
                    <a:pt x="33"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67" name="Freeform 354">
              <a:extLst>
                <a:ext uri="{FF2B5EF4-FFF2-40B4-BE49-F238E27FC236}">
                  <a16:creationId xmlns:a16="http://schemas.microsoft.com/office/drawing/2014/main" id="{FE6FF0A0-1511-4375-98E4-CD49448D37FB}"/>
                </a:ext>
              </a:extLst>
            </p:cNvPr>
            <p:cNvSpPr>
              <a:spLocks/>
            </p:cNvSpPr>
            <p:nvPr/>
          </p:nvSpPr>
          <p:spPr bwMode="auto">
            <a:xfrm>
              <a:off x="8605838" y="1414463"/>
              <a:ext cx="146050" cy="146050"/>
            </a:xfrm>
            <a:custGeom>
              <a:avLst/>
              <a:gdLst>
                <a:gd name="T0" fmla="*/ 6 w 39"/>
                <a:gd name="T1" fmla="*/ 0 h 39"/>
                <a:gd name="T2" fmla="*/ 9 w 39"/>
                <a:gd name="T3" fmla="*/ 29 h 39"/>
                <a:gd name="T4" fmla="*/ 39 w 39"/>
                <a:gd name="T5" fmla="*/ 33 h 39"/>
                <a:gd name="T6" fmla="*/ 19 w 39"/>
                <a:gd name="T7" fmla="*/ 20 h 39"/>
                <a:gd name="T8" fmla="*/ 6 w 39"/>
                <a:gd name="T9" fmla="*/ 0 h 39"/>
              </a:gdLst>
              <a:ahLst/>
              <a:cxnLst>
                <a:cxn ang="0">
                  <a:pos x="T0" y="T1"/>
                </a:cxn>
                <a:cxn ang="0">
                  <a:pos x="T2" y="T3"/>
                </a:cxn>
                <a:cxn ang="0">
                  <a:pos x="T4" y="T5"/>
                </a:cxn>
                <a:cxn ang="0">
                  <a:pos x="T6" y="T7"/>
                </a:cxn>
                <a:cxn ang="0">
                  <a:pos x="T8" y="T9"/>
                </a:cxn>
              </a:cxnLst>
              <a:rect l="0" t="0" r="r" b="b"/>
              <a:pathLst>
                <a:path w="39" h="39">
                  <a:moveTo>
                    <a:pt x="6" y="0"/>
                  </a:moveTo>
                  <a:cubicBezTo>
                    <a:pt x="0" y="9"/>
                    <a:pt x="1" y="21"/>
                    <a:pt x="9" y="29"/>
                  </a:cubicBezTo>
                  <a:cubicBezTo>
                    <a:pt x="17" y="38"/>
                    <a:pt x="30" y="39"/>
                    <a:pt x="39" y="33"/>
                  </a:cubicBezTo>
                  <a:cubicBezTo>
                    <a:pt x="32" y="30"/>
                    <a:pt x="25" y="26"/>
                    <a:pt x="19" y="20"/>
                  </a:cubicBezTo>
                  <a:cubicBezTo>
                    <a:pt x="13" y="13"/>
                    <a:pt x="8" y="6"/>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grpSp>
        <p:nvGrpSpPr>
          <p:cNvPr id="68" name="Группа 67">
            <a:extLst>
              <a:ext uri="{FF2B5EF4-FFF2-40B4-BE49-F238E27FC236}">
                <a16:creationId xmlns:a16="http://schemas.microsoft.com/office/drawing/2014/main" id="{F547849F-310F-4675-95D9-505E8635B83A}"/>
              </a:ext>
            </a:extLst>
          </p:cNvPr>
          <p:cNvGrpSpPr/>
          <p:nvPr/>
        </p:nvGrpSpPr>
        <p:grpSpPr>
          <a:xfrm>
            <a:off x="10853017" y="3909040"/>
            <a:ext cx="347206" cy="361266"/>
            <a:chOff x="3467101" y="2563813"/>
            <a:chExt cx="509588" cy="530225"/>
          </a:xfrm>
          <a:solidFill>
            <a:schemeClr val="bg1"/>
          </a:solidFill>
        </p:grpSpPr>
        <p:sp>
          <p:nvSpPr>
            <p:cNvPr id="69" name="Freeform 347">
              <a:extLst>
                <a:ext uri="{FF2B5EF4-FFF2-40B4-BE49-F238E27FC236}">
                  <a16:creationId xmlns:a16="http://schemas.microsoft.com/office/drawing/2014/main" id="{C14B49CF-9C6A-462E-8056-F879237477C0}"/>
                </a:ext>
              </a:extLst>
            </p:cNvPr>
            <p:cNvSpPr>
              <a:spLocks/>
            </p:cNvSpPr>
            <p:nvPr/>
          </p:nvSpPr>
          <p:spPr bwMode="auto">
            <a:xfrm>
              <a:off x="3748088" y="2582863"/>
              <a:ext cx="228600" cy="230188"/>
            </a:xfrm>
            <a:custGeom>
              <a:avLst/>
              <a:gdLst>
                <a:gd name="T0" fmla="*/ 55 w 61"/>
                <a:gd name="T1" fmla="*/ 0 h 61"/>
                <a:gd name="T2" fmla="*/ 55 w 61"/>
                <a:gd name="T3" fmla="*/ 0 h 61"/>
                <a:gd name="T4" fmla="*/ 37 w 61"/>
                <a:gd name="T5" fmla="*/ 11 h 61"/>
                <a:gd name="T6" fmla="*/ 35 w 61"/>
                <a:gd name="T7" fmla="*/ 20 h 61"/>
                <a:gd name="T8" fmla="*/ 0 w 61"/>
                <a:gd name="T9" fmla="*/ 55 h 61"/>
                <a:gd name="T10" fmla="*/ 6 w 61"/>
                <a:gd name="T11" fmla="*/ 61 h 61"/>
                <a:gd name="T12" fmla="*/ 41 w 61"/>
                <a:gd name="T13" fmla="*/ 26 h 61"/>
                <a:gd name="T14" fmla="*/ 50 w 61"/>
                <a:gd name="T15" fmla="*/ 24 h 61"/>
                <a:gd name="T16" fmla="*/ 61 w 61"/>
                <a:gd name="T17" fmla="*/ 6 h 61"/>
                <a:gd name="T18" fmla="*/ 61 w 61"/>
                <a:gd name="T19" fmla="*/ 6 h 61"/>
                <a:gd name="T20" fmla="*/ 55 w 61"/>
                <a:gd name="T2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55" y="0"/>
                  </a:moveTo>
                  <a:cubicBezTo>
                    <a:pt x="55" y="0"/>
                    <a:pt x="55" y="0"/>
                    <a:pt x="55" y="0"/>
                  </a:cubicBezTo>
                  <a:cubicBezTo>
                    <a:pt x="51" y="4"/>
                    <a:pt x="37" y="11"/>
                    <a:pt x="37" y="11"/>
                  </a:cubicBezTo>
                  <a:cubicBezTo>
                    <a:pt x="37" y="11"/>
                    <a:pt x="38" y="17"/>
                    <a:pt x="35" y="20"/>
                  </a:cubicBezTo>
                  <a:cubicBezTo>
                    <a:pt x="0" y="55"/>
                    <a:pt x="0" y="55"/>
                    <a:pt x="0" y="55"/>
                  </a:cubicBezTo>
                  <a:cubicBezTo>
                    <a:pt x="2" y="57"/>
                    <a:pt x="4" y="59"/>
                    <a:pt x="6" y="61"/>
                  </a:cubicBezTo>
                  <a:cubicBezTo>
                    <a:pt x="41" y="26"/>
                    <a:pt x="41" y="26"/>
                    <a:pt x="41" y="26"/>
                  </a:cubicBezTo>
                  <a:cubicBezTo>
                    <a:pt x="44" y="23"/>
                    <a:pt x="50" y="24"/>
                    <a:pt x="50" y="24"/>
                  </a:cubicBezTo>
                  <a:cubicBezTo>
                    <a:pt x="50" y="24"/>
                    <a:pt x="57" y="10"/>
                    <a:pt x="61" y="6"/>
                  </a:cubicBezTo>
                  <a:cubicBezTo>
                    <a:pt x="61" y="6"/>
                    <a:pt x="61" y="6"/>
                    <a:pt x="61" y="6"/>
                  </a:cubicBez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70" name="Freeform 348">
              <a:extLst>
                <a:ext uri="{FF2B5EF4-FFF2-40B4-BE49-F238E27FC236}">
                  <a16:creationId xmlns:a16="http://schemas.microsoft.com/office/drawing/2014/main" id="{38E2695E-DC6A-4A69-AF76-8F58903BFC55}"/>
                </a:ext>
              </a:extLst>
            </p:cNvPr>
            <p:cNvSpPr>
              <a:spLocks/>
            </p:cNvSpPr>
            <p:nvPr/>
          </p:nvSpPr>
          <p:spPr bwMode="auto">
            <a:xfrm>
              <a:off x="3467101" y="2843213"/>
              <a:ext cx="254000" cy="250825"/>
            </a:xfrm>
            <a:custGeom>
              <a:avLst/>
              <a:gdLst>
                <a:gd name="T0" fmla="*/ 54 w 68"/>
                <a:gd name="T1" fmla="*/ 0 h 67"/>
                <a:gd name="T2" fmla="*/ 43 w 68"/>
                <a:gd name="T3" fmla="*/ 12 h 67"/>
                <a:gd name="T4" fmla="*/ 18 w 68"/>
                <a:gd name="T5" fmla="*/ 31 h 67"/>
                <a:gd name="T6" fmla="*/ 11 w 68"/>
                <a:gd name="T7" fmla="*/ 38 h 67"/>
                <a:gd name="T8" fmla="*/ 6 w 68"/>
                <a:gd name="T9" fmla="*/ 61 h 67"/>
                <a:gd name="T10" fmla="*/ 6 w 68"/>
                <a:gd name="T11" fmla="*/ 61 h 67"/>
                <a:gd name="T12" fmla="*/ 6 w 68"/>
                <a:gd name="T13" fmla="*/ 61 h 67"/>
                <a:gd name="T14" fmla="*/ 29 w 68"/>
                <a:gd name="T15" fmla="*/ 56 h 67"/>
                <a:gd name="T16" fmla="*/ 36 w 68"/>
                <a:gd name="T17" fmla="*/ 50 h 67"/>
                <a:gd name="T18" fmla="*/ 55 w 68"/>
                <a:gd name="T19" fmla="*/ 24 h 67"/>
                <a:gd name="T20" fmla="*/ 68 w 68"/>
                <a:gd name="T21" fmla="*/ 13 h 67"/>
                <a:gd name="T22" fmla="*/ 62 w 68"/>
                <a:gd name="T23" fmla="*/ 7 h 67"/>
                <a:gd name="T24" fmla="*/ 54 w 68"/>
                <a:gd name="T2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67">
                  <a:moveTo>
                    <a:pt x="54" y="0"/>
                  </a:moveTo>
                  <a:cubicBezTo>
                    <a:pt x="51" y="4"/>
                    <a:pt x="47" y="9"/>
                    <a:pt x="43" y="12"/>
                  </a:cubicBezTo>
                  <a:cubicBezTo>
                    <a:pt x="36" y="17"/>
                    <a:pt x="29" y="19"/>
                    <a:pt x="18" y="31"/>
                  </a:cubicBezTo>
                  <a:cubicBezTo>
                    <a:pt x="15" y="33"/>
                    <a:pt x="13" y="35"/>
                    <a:pt x="11" y="38"/>
                  </a:cubicBezTo>
                  <a:cubicBezTo>
                    <a:pt x="4" y="47"/>
                    <a:pt x="0" y="54"/>
                    <a:pt x="6" y="61"/>
                  </a:cubicBezTo>
                  <a:cubicBezTo>
                    <a:pt x="6" y="61"/>
                    <a:pt x="6" y="61"/>
                    <a:pt x="6" y="61"/>
                  </a:cubicBezTo>
                  <a:cubicBezTo>
                    <a:pt x="6" y="61"/>
                    <a:pt x="6" y="61"/>
                    <a:pt x="6" y="61"/>
                  </a:cubicBezTo>
                  <a:cubicBezTo>
                    <a:pt x="13" y="67"/>
                    <a:pt x="21" y="63"/>
                    <a:pt x="29" y="56"/>
                  </a:cubicBezTo>
                  <a:cubicBezTo>
                    <a:pt x="32" y="54"/>
                    <a:pt x="34" y="52"/>
                    <a:pt x="36" y="50"/>
                  </a:cubicBezTo>
                  <a:cubicBezTo>
                    <a:pt x="48" y="38"/>
                    <a:pt x="50" y="31"/>
                    <a:pt x="55" y="24"/>
                  </a:cubicBezTo>
                  <a:cubicBezTo>
                    <a:pt x="58" y="20"/>
                    <a:pt x="63" y="16"/>
                    <a:pt x="68" y="13"/>
                  </a:cubicBezTo>
                  <a:cubicBezTo>
                    <a:pt x="66" y="11"/>
                    <a:pt x="64" y="9"/>
                    <a:pt x="62" y="7"/>
                  </a:cubicBezTo>
                  <a:cubicBezTo>
                    <a:pt x="60" y="5"/>
                    <a:pt x="57" y="2"/>
                    <a:pt x="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71" name="Freeform 349">
              <a:extLst>
                <a:ext uri="{FF2B5EF4-FFF2-40B4-BE49-F238E27FC236}">
                  <a16:creationId xmlns:a16="http://schemas.microsoft.com/office/drawing/2014/main" id="{D7246C54-F8FE-4194-BB0F-D877E0F77A23}"/>
                </a:ext>
              </a:extLst>
            </p:cNvPr>
            <p:cNvSpPr>
              <a:spLocks noEditPoints="1"/>
            </p:cNvSpPr>
            <p:nvPr/>
          </p:nvSpPr>
          <p:spPr bwMode="auto">
            <a:xfrm>
              <a:off x="3473451" y="2563813"/>
              <a:ext cx="503238" cy="527050"/>
            </a:xfrm>
            <a:custGeom>
              <a:avLst/>
              <a:gdLst>
                <a:gd name="T0" fmla="*/ 127 w 134"/>
                <a:gd name="T1" fmla="*/ 106 h 140"/>
                <a:gd name="T2" fmla="*/ 125 w 134"/>
                <a:gd name="T3" fmla="*/ 104 h 140"/>
                <a:gd name="T4" fmla="*/ 102 w 134"/>
                <a:gd name="T5" fmla="*/ 96 h 140"/>
                <a:gd name="T6" fmla="*/ 40 w 134"/>
                <a:gd name="T7" fmla="*/ 34 h 140"/>
                <a:gd name="T8" fmla="*/ 34 w 134"/>
                <a:gd name="T9" fmla="*/ 15 h 140"/>
                <a:gd name="T10" fmla="*/ 11 w 134"/>
                <a:gd name="T11" fmla="*/ 9 h 140"/>
                <a:gd name="T12" fmla="*/ 22 w 134"/>
                <a:gd name="T13" fmla="*/ 14 h 140"/>
                <a:gd name="T14" fmla="*/ 22 w 134"/>
                <a:gd name="T15" fmla="*/ 25 h 140"/>
                <a:gd name="T16" fmla="*/ 14 w 134"/>
                <a:gd name="T17" fmla="*/ 31 h 140"/>
                <a:gd name="T18" fmla="*/ 3 w 134"/>
                <a:gd name="T19" fmla="*/ 25 h 140"/>
                <a:gd name="T20" fmla="*/ 9 w 134"/>
                <a:gd name="T21" fmla="*/ 40 h 140"/>
                <a:gd name="T22" fmla="*/ 29 w 134"/>
                <a:gd name="T23" fmla="*/ 43 h 140"/>
                <a:gd name="T24" fmla="*/ 92 w 134"/>
                <a:gd name="T25" fmla="*/ 106 h 140"/>
                <a:gd name="T26" fmla="*/ 96 w 134"/>
                <a:gd name="T27" fmla="*/ 122 h 140"/>
                <a:gd name="T28" fmla="*/ 111 w 134"/>
                <a:gd name="T29" fmla="*/ 138 h 140"/>
                <a:gd name="T30" fmla="*/ 133 w 134"/>
                <a:gd name="T31" fmla="*/ 124 h 140"/>
                <a:gd name="T32" fmla="*/ 127 w 134"/>
                <a:gd name="T33" fmla="*/ 106 h 140"/>
                <a:gd name="T34" fmla="*/ 121 w 134"/>
                <a:gd name="T35" fmla="*/ 130 h 140"/>
                <a:gd name="T36" fmla="*/ 109 w 134"/>
                <a:gd name="T37" fmla="*/ 130 h 140"/>
                <a:gd name="T38" fmla="*/ 103 w 134"/>
                <a:gd name="T39" fmla="*/ 120 h 140"/>
                <a:gd name="T40" fmla="*/ 108 w 134"/>
                <a:gd name="T41" fmla="*/ 110 h 140"/>
                <a:gd name="T42" fmla="*/ 120 w 134"/>
                <a:gd name="T43" fmla="*/ 109 h 140"/>
                <a:gd name="T44" fmla="*/ 127 w 134"/>
                <a:gd name="T45" fmla="*/ 119 h 140"/>
                <a:gd name="T46" fmla="*/ 121 w 134"/>
                <a:gd name="T47" fmla="*/ 13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4" h="140">
                  <a:moveTo>
                    <a:pt x="127" y="106"/>
                  </a:moveTo>
                  <a:cubicBezTo>
                    <a:pt x="126" y="105"/>
                    <a:pt x="126" y="105"/>
                    <a:pt x="125" y="104"/>
                  </a:cubicBezTo>
                  <a:cubicBezTo>
                    <a:pt x="118" y="99"/>
                    <a:pt x="107" y="102"/>
                    <a:pt x="102" y="96"/>
                  </a:cubicBezTo>
                  <a:cubicBezTo>
                    <a:pt x="96" y="91"/>
                    <a:pt x="44" y="39"/>
                    <a:pt x="40" y="34"/>
                  </a:cubicBezTo>
                  <a:cubicBezTo>
                    <a:pt x="35" y="30"/>
                    <a:pt x="36" y="22"/>
                    <a:pt x="34" y="15"/>
                  </a:cubicBezTo>
                  <a:cubicBezTo>
                    <a:pt x="33" y="8"/>
                    <a:pt x="21" y="0"/>
                    <a:pt x="11" y="9"/>
                  </a:cubicBezTo>
                  <a:cubicBezTo>
                    <a:pt x="22" y="14"/>
                    <a:pt x="22" y="14"/>
                    <a:pt x="22" y="14"/>
                  </a:cubicBezTo>
                  <a:cubicBezTo>
                    <a:pt x="22" y="25"/>
                    <a:pt x="22" y="25"/>
                    <a:pt x="22" y="25"/>
                  </a:cubicBezTo>
                  <a:cubicBezTo>
                    <a:pt x="14" y="31"/>
                    <a:pt x="14" y="31"/>
                    <a:pt x="14" y="31"/>
                  </a:cubicBezTo>
                  <a:cubicBezTo>
                    <a:pt x="3" y="25"/>
                    <a:pt x="3" y="25"/>
                    <a:pt x="3" y="25"/>
                  </a:cubicBezTo>
                  <a:cubicBezTo>
                    <a:pt x="3" y="25"/>
                    <a:pt x="0" y="34"/>
                    <a:pt x="9" y="40"/>
                  </a:cubicBezTo>
                  <a:cubicBezTo>
                    <a:pt x="16" y="45"/>
                    <a:pt x="23" y="37"/>
                    <a:pt x="29" y="43"/>
                  </a:cubicBezTo>
                  <a:cubicBezTo>
                    <a:pt x="36" y="50"/>
                    <a:pt x="87" y="100"/>
                    <a:pt x="92" y="106"/>
                  </a:cubicBezTo>
                  <a:cubicBezTo>
                    <a:pt x="96" y="110"/>
                    <a:pt x="95" y="116"/>
                    <a:pt x="96" y="122"/>
                  </a:cubicBezTo>
                  <a:cubicBezTo>
                    <a:pt x="98" y="130"/>
                    <a:pt x="103" y="136"/>
                    <a:pt x="111" y="138"/>
                  </a:cubicBezTo>
                  <a:cubicBezTo>
                    <a:pt x="121" y="140"/>
                    <a:pt x="130" y="134"/>
                    <a:pt x="133" y="124"/>
                  </a:cubicBezTo>
                  <a:cubicBezTo>
                    <a:pt x="134" y="117"/>
                    <a:pt x="132" y="110"/>
                    <a:pt x="127" y="106"/>
                  </a:cubicBezTo>
                  <a:close/>
                  <a:moveTo>
                    <a:pt x="121" y="130"/>
                  </a:moveTo>
                  <a:cubicBezTo>
                    <a:pt x="109" y="130"/>
                    <a:pt x="109" y="130"/>
                    <a:pt x="109" y="130"/>
                  </a:cubicBezTo>
                  <a:cubicBezTo>
                    <a:pt x="103" y="120"/>
                    <a:pt x="103" y="120"/>
                    <a:pt x="103" y="120"/>
                  </a:cubicBezTo>
                  <a:cubicBezTo>
                    <a:pt x="108" y="110"/>
                    <a:pt x="108" y="110"/>
                    <a:pt x="108" y="110"/>
                  </a:cubicBezTo>
                  <a:cubicBezTo>
                    <a:pt x="120" y="109"/>
                    <a:pt x="120" y="109"/>
                    <a:pt x="120" y="109"/>
                  </a:cubicBezTo>
                  <a:cubicBezTo>
                    <a:pt x="127" y="119"/>
                    <a:pt x="127" y="119"/>
                    <a:pt x="127" y="119"/>
                  </a:cubicBezTo>
                  <a:lnTo>
                    <a:pt x="12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72" name="Freeform 634">
            <a:extLst>
              <a:ext uri="{FF2B5EF4-FFF2-40B4-BE49-F238E27FC236}">
                <a16:creationId xmlns:a16="http://schemas.microsoft.com/office/drawing/2014/main" id="{73A95D0B-5205-4816-8DAB-31E799C34BB1}"/>
              </a:ext>
            </a:extLst>
          </p:cNvPr>
          <p:cNvSpPr>
            <a:spLocks noEditPoints="1"/>
          </p:cNvSpPr>
          <p:nvPr/>
        </p:nvSpPr>
        <p:spPr bwMode="auto">
          <a:xfrm>
            <a:off x="9967640" y="3912073"/>
            <a:ext cx="433242" cy="361266"/>
          </a:xfrm>
          <a:custGeom>
            <a:avLst/>
            <a:gdLst>
              <a:gd name="T0" fmla="*/ 125 w 132"/>
              <a:gd name="T1" fmla="*/ 0 h 110"/>
              <a:gd name="T2" fmla="*/ 8 w 132"/>
              <a:gd name="T3" fmla="*/ 0 h 110"/>
              <a:gd name="T4" fmla="*/ 0 w 132"/>
              <a:gd name="T5" fmla="*/ 8 h 110"/>
              <a:gd name="T6" fmla="*/ 0 w 132"/>
              <a:gd name="T7" fmla="*/ 83 h 110"/>
              <a:gd name="T8" fmla="*/ 8 w 132"/>
              <a:gd name="T9" fmla="*/ 91 h 110"/>
              <a:gd name="T10" fmla="*/ 52 w 132"/>
              <a:gd name="T11" fmla="*/ 91 h 110"/>
              <a:gd name="T12" fmla="*/ 51 w 132"/>
              <a:gd name="T13" fmla="*/ 106 h 110"/>
              <a:gd name="T14" fmla="*/ 45 w 132"/>
              <a:gd name="T15" fmla="*/ 106 h 110"/>
              <a:gd name="T16" fmla="*/ 43 w 132"/>
              <a:gd name="T17" fmla="*/ 108 h 110"/>
              <a:gd name="T18" fmla="*/ 45 w 132"/>
              <a:gd name="T19" fmla="*/ 110 h 110"/>
              <a:gd name="T20" fmla="*/ 88 w 132"/>
              <a:gd name="T21" fmla="*/ 110 h 110"/>
              <a:gd name="T22" fmla="*/ 90 w 132"/>
              <a:gd name="T23" fmla="*/ 108 h 110"/>
              <a:gd name="T24" fmla="*/ 88 w 132"/>
              <a:gd name="T25" fmla="*/ 106 h 110"/>
              <a:gd name="T26" fmla="*/ 81 w 132"/>
              <a:gd name="T27" fmla="*/ 106 h 110"/>
              <a:gd name="T28" fmla="*/ 80 w 132"/>
              <a:gd name="T29" fmla="*/ 91 h 110"/>
              <a:gd name="T30" fmla="*/ 125 w 132"/>
              <a:gd name="T31" fmla="*/ 91 h 110"/>
              <a:gd name="T32" fmla="*/ 132 w 132"/>
              <a:gd name="T33" fmla="*/ 83 h 110"/>
              <a:gd name="T34" fmla="*/ 132 w 132"/>
              <a:gd name="T35" fmla="*/ 8 h 110"/>
              <a:gd name="T36" fmla="*/ 125 w 132"/>
              <a:gd name="T37" fmla="*/ 0 h 110"/>
              <a:gd name="T38" fmla="*/ 129 w 132"/>
              <a:gd name="T39" fmla="*/ 77 h 110"/>
              <a:gd name="T40" fmla="*/ 4 w 132"/>
              <a:gd name="T41" fmla="*/ 77 h 110"/>
              <a:gd name="T42" fmla="*/ 4 w 132"/>
              <a:gd name="T43" fmla="*/ 8 h 110"/>
              <a:gd name="T44" fmla="*/ 129 w 132"/>
              <a:gd name="T45" fmla="*/ 8 h 110"/>
              <a:gd name="T46" fmla="*/ 129 w 132"/>
              <a:gd name="T47" fmla="*/ 7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10">
                <a:moveTo>
                  <a:pt x="125" y="0"/>
                </a:moveTo>
                <a:cubicBezTo>
                  <a:pt x="8" y="0"/>
                  <a:pt x="8" y="0"/>
                  <a:pt x="8" y="0"/>
                </a:cubicBezTo>
                <a:cubicBezTo>
                  <a:pt x="3" y="0"/>
                  <a:pt x="0" y="4"/>
                  <a:pt x="0" y="8"/>
                </a:cubicBezTo>
                <a:cubicBezTo>
                  <a:pt x="0" y="83"/>
                  <a:pt x="0" y="83"/>
                  <a:pt x="0" y="83"/>
                </a:cubicBezTo>
                <a:cubicBezTo>
                  <a:pt x="0" y="88"/>
                  <a:pt x="3" y="91"/>
                  <a:pt x="8" y="91"/>
                </a:cubicBezTo>
                <a:cubicBezTo>
                  <a:pt x="52" y="91"/>
                  <a:pt x="52" y="91"/>
                  <a:pt x="52" y="91"/>
                </a:cubicBezTo>
                <a:cubicBezTo>
                  <a:pt x="51" y="106"/>
                  <a:pt x="51" y="106"/>
                  <a:pt x="51" y="106"/>
                </a:cubicBezTo>
                <a:cubicBezTo>
                  <a:pt x="45" y="106"/>
                  <a:pt x="45" y="106"/>
                  <a:pt x="45" y="106"/>
                </a:cubicBezTo>
                <a:cubicBezTo>
                  <a:pt x="44" y="106"/>
                  <a:pt x="43" y="107"/>
                  <a:pt x="43" y="108"/>
                </a:cubicBezTo>
                <a:cubicBezTo>
                  <a:pt x="43" y="109"/>
                  <a:pt x="44" y="110"/>
                  <a:pt x="45" y="110"/>
                </a:cubicBezTo>
                <a:cubicBezTo>
                  <a:pt x="88" y="110"/>
                  <a:pt x="88" y="110"/>
                  <a:pt x="88" y="110"/>
                </a:cubicBezTo>
                <a:cubicBezTo>
                  <a:pt x="89" y="110"/>
                  <a:pt x="90" y="109"/>
                  <a:pt x="90" y="108"/>
                </a:cubicBezTo>
                <a:cubicBezTo>
                  <a:pt x="90" y="107"/>
                  <a:pt x="89" y="106"/>
                  <a:pt x="88" y="106"/>
                </a:cubicBezTo>
                <a:cubicBezTo>
                  <a:pt x="81" y="106"/>
                  <a:pt x="81" y="106"/>
                  <a:pt x="81" y="106"/>
                </a:cubicBezTo>
                <a:cubicBezTo>
                  <a:pt x="80" y="91"/>
                  <a:pt x="80" y="91"/>
                  <a:pt x="80" y="91"/>
                </a:cubicBezTo>
                <a:cubicBezTo>
                  <a:pt x="125" y="91"/>
                  <a:pt x="125" y="91"/>
                  <a:pt x="125" y="91"/>
                </a:cubicBezTo>
                <a:cubicBezTo>
                  <a:pt x="129" y="91"/>
                  <a:pt x="132" y="88"/>
                  <a:pt x="132" y="83"/>
                </a:cubicBezTo>
                <a:cubicBezTo>
                  <a:pt x="132" y="8"/>
                  <a:pt x="132" y="8"/>
                  <a:pt x="132" y="8"/>
                </a:cubicBezTo>
                <a:cubicBezTo>
                  <a:pt x="132" y="4"/>
                  <a:pt x="129" y="0"/>
                  <a:pt x="125" y="0"/>
                </a:cubicBezTo>
                <a:close/>
                <a:moveTo>
                  <a:pt x="129" y="77"/>
                </a:moveTo>
                <a:cubicBezTo>
                  <a:pt x="4" y="77"/>
                  <a:pt x="4" y="77"/>
                  <a:pt x="4" y="77"/>
                </a:cubicBezTo>
                <a:cubicBezTo>
                  <a:pt x="4" y="8"/>
                  <a:pt x="4" y="8"/>
                  <a:pt x="4" y="8"/>
                </a:cubicBezTo>
                <a:cubicBezTo>
                  <a:pt x="129" y="8"/>
                  <a:pt x="129" y="8"/>
                  <a:pt x="129" y="8"/>
                </a:cubicBezTo>
                <a:lnTo>
                  <a:pt x="129" y="77"/>
                </a:lnTo>
                <a:close/>
              </a:path>
            </a:pathLst>
          </a:custGeom>
          <a:solidFill>
            <a:schemeClr val="bg1"/>
          </a:solidFill>
          <a:ln>
            <a:noFill/>
          </a:ln>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pic>
        <p:nvPicPr>
          <p:cNvPr id="73" name="Рисунок 72">
            <a:extLst>
              <a:ext uri="{FF2B5EF4-FFF2-40B4-BE49-F238E27FC236}">
                <a16:creationId xmlns:a16="http://schemas.microsoft.com/office/drawing/2014/main" id="{8E2BD89C-83E7-45DC-A421-E9AD9B7ADA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35056" y="4895106"/>
            <a:ext cx="4496501" cy="539214"/>
          </a:xfrm>
          <a:prstGeom prst="rect">
            <a:avLst/>
          </a:prstGeom>
        </p:spPr>
      </p:pic>
      <p:sp>
        <p:nvSpPr>
          <p:cNvPr id="37" name="object 44">
            <a:extLst>
              <a:ext uri="{FF2B5EF4-FFF2-40B4-BE49-F238E27FC236}">
                <a16:creationId xmlns:a16="http://schemas.microsoft.com/office/drawing/2014/main" id="{E731C13F-644C-48FB-94C3-2A6067E3CE46}"/>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38" name="object 30">
            <a:extLst>
              <a:ext uri="{FF2B5EF4-FFF2-40B4-BE49-F238E27FC236}">
                <a16:creationId xmlns:a16="http://schemas.microsoft.com/office/drawing/2014/main" id="{EE3CE97C-2955-4AE0-B3C0-935235505A4F}"/>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39" name="object 30">
            <a:extLst>
              <a:ext uri="{FF2B5EF4-FFF2-40B4-BE49-F238E27FC236}">
                <a16:creationId xmlns:a16="http://schemas.microsoft.com/office/drawing/2014/main" id="{039C9439-6678-42C6-A0F1-F52A43915890}"/>
              </a:ext>
            </a:extLst>
          </p:cNvPr>
          <p:cNvSpPr txBox="1"/>
          <p:nvPr/>
        </p:nvSpPr>
        <p:spPr>
          <a:xfrm>
            <a:off x="6410228" y="5988397"/>
            <a:ext cx="3557412" cy="695883"/>
          </a:xfrm>
          <a:prstGeom prst="rect">
            <a:avLst/>
          </a:prstGeom>
        </p:spPr>
        <p:txBody>
          <a:bodyPr vert="horz" wrap="square" lIns="0" tIns="13195" rIns="0" bIns="0" rtlCol="0">
            <a:spAutoFit/>
          </a:bodyPr>
          <a:lstStyle/>
          <a:p>
            <a:pPr marL="87739" marR="294881" indent="-74545">
              <a:spcBef>
                <a:spcPts val="587"/>
              </a:spcBef>
              <a:buFontTx/>
              <a:buChar char="·"/>
              <a:tabLst>
                <a:tab pos="81141"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Исследование взаимосвязи </a:t>
            </a:r>
            <a:br>
              <a:rPr lang="ru-RU" sz="787">
                <a:solidFill>
                  <a:srgbClr val="252C69"/>
                </a:solidFill>
                <a:latin typeface="Roboto" panose="02000000000000000000" pitchFamily="2" charset="0"/>
                <a:ea typeface="Roboto" panose="02000000000000000000" pitchFamily="2" charset="0"/>
                <a:cs typeface="Roboto" panose="02000000000000000000" pitchFamily="2" charset="0"/>
              </a:rPr>
            </a:br>
            <a:r>
              <a:rPr lang="ru-RU" sz="787">
                <a:solidFill>
                  <a:schemeClr val="tx2"/>
                </a:solidFill>
                <a:latin typeface="Roboto" panose="02000000000000000000" pitchFamily="2" charset="0"/>
                <a:ea typeface="Roboto" panose="02000000000000000000" pitchFamily="2" charset="0"/>
                <a:cs typeface="Roboto" panose="02000000000000000000" pitchFamily="2" charset="0"/>
              </a:rPr>
              <a:t>мотивационного профиля </a:t>
            </a:r>
            <a:br>
              <a:rPr lang="ru-RU" sz="787">
                <a:solidFill>
                  <a:schemeClr val="tx2"/>
                </a:solidFill>
                <a:latin typeface="Roboto" panose="02000000000000000000" pitchFamily="2" charset="0"/>
                <a:ea typeface="Roboto" panose="02000000000000000000" pitchFamily="2" charset="0"/>
                <a:cs typeface="Roboto" panose="02000000000000000000" pitchFamily="2" charset="0"/>
              </a:rPr>
            </a:br>
            <a:r>
              <a:rPr lang="ru-RU" sz="787">
                <a:solidFill>
                  <a:schemeClr val="tx2"/>
                </a:solidFill>
                <a:latin typeface="Roboto" panose="02000000000000000000" pitchFamily="2" charset="0"/>
                <a:ea typeface="Roboto" panose="02000000000000000000" pitchFamily="2" charset="0"/>
                <a:cs typeface="Roboto" panose="02000000000000000000" pitchFamily="2" charset="0"/>
              </a:rPr>
              <a:t>и инструментов</a:t>
            </a:r>
          </a:p>
          <a:p>
            <a:pPr marL="87739" marR="294881" indent="-74545">
              <a:spcBef>
                <a:spcPts val="587"/>
              </a:spcBef>
              <a:buFontTx/>
              <a:buChar char="·"/>
              <a:tabLst>
                <a:tab pos="81141"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Разработка и анализ карты опыта </a:t>
            </a:r>
            <a:br>
              <a:rPr lang="ru-RU" sz="787">
                <a:solidFill>
                  <a:srgbClr val="252C69"/>
                </a:solidFill>
                <a:latin typeface="Roboto" panose="02000000000000000000" pitchFamily="2" charset="0"/>
                <a:ea typeface="Roboto" panose="02000000000000000000" pitchFamily="2" charset="0"/>
                <a:cs typeface="Roboto" panose="02000000000000000000" pitchFamily="2" charset="0"/>
              </a:rPr>
            </a:b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сотрудника по стадиям жизненного цикла</a:t>
            </a:r>
          </a:p>
        </p:txBody>
      </p:sp>
      <p:sp>
        <p:nvSpPr>
          <p:cNvPr id="40" name="object 30">
            <a:extLst>
              <a:ext uri="{FF2B5EF4-FFF2-40B4-BE49-F238E27FC236}">
                <a16:creationId xmlns:a16="http://schemas.microsoft.com/office/drawing/2014/main" id="{52BD2C91-7363-4D7E-BAA2-43D1511C8626}"/>
              </a:ext>
            </a:extLst>
          </p:cNvPr>
          <p:cNvSpPr txBox="1"/>
          <p:nvPr/>
        </p:nvSpPr>
        <p:spPr>
          <a:xfrm>
            <a:off x="3456770" y="5988397"/>
            <a:ext cx="2604403" cy="811299"/>
          </a:xfrm>
          <a:prstGeom prst="rect">
            <a:avLst/>
          </a:prstGeom>
        </p:spPr>
        <p:txBody>
          <a:bodyPr vert="horz" wrap="square" lIns="0" tIns="13195" rIns="0" bIns="0" rtlCol="0">
            <a:spAutoFit/>
          </a:bodyPr>
          <a:lstStyle/>
          <a:p>
            <a:pPr marL="87739" marR="217697" indent="-74545">
              <a:spcBef>
                <a:spcPts val="529"/>
              </a:spcBef>
              <a:buFontTx/>
              <a:buChar char="·"/>
              <a:tabLst>
                <a:tab pos="79162"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Разработка ценностного предложения</a:t>
            </a:r>
          </a:p>
          <a:p>
            <a:pPr marL="87739" marR="217697" indent="-74545">
              <a:spcBef>
                <a:spcPts val="529"/>
              </a:spcBef>
              <a:buFontTx/>
              <a:buChar char="·"/>
              <a:tabLst>
                <a:tab pos="79162"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Кастомизация генерального ценностного предложения под целевые аудитории</a:t>
            </a:r>
          </a:p>
          <a:p>
            <a:pPr marL="87739" marR="217697" indent="-74545">
              <a:spcBef>
                <a:spcPts val="529"/>
              </a:spcBef>
              <a:buFontTx/>
              <a:buChar char="·"/>
              <a:tabLst>
                <a:tab pos="79162"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Проектирование целевого опыта сотрудника</a:t>
            </a:r>
          </a:p>
          <a:p>
            <a:pPr marL="87739" marR="217697" indent="-74545">
              <a:spcBef>
                <a:spcPts val="529"/>
              </a:spcBef>
              <a:buFontTx/>
              <a:buChar char="·"/>
              <a:tabLst>
                <a:tab pos="79162" algn="l"/>
              </a:tabLst>
            </a:pPr>
            <a:endParaRPr lang="ru-RU" sz="787">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41" name="object 30">
            <a:extLst>
              <a:ext uri="{FF2B5EF4-FFF2-40B4-BE49-F238E27FC236}">
                <a16:creationId xmlns:a16="http://schemas.microsoft.com/office/drawing/2014/main" id="{A3274F89-9EBB-415A-8A45-E7E7C2E7DC8B}"/>
              </a:ext>
            </a:extLst>
          </p:cNvPr>
          <p:cNvSpPr txBox="1"/>
          <p:nvPr/>
        </p:nvSpPr>
        <p:spPr>
          <a:xfrm>
            <a:off x="9234547" y="5988398"/>
            <a:ext cx="3323062" cy="893950"/>
          </a:xfrm>
          <a:prstGeom prst="rect">
            <a:avLst/>
          </a:prstGeom>
        </p:spPr>
        <p:txBody>
          <a:bodyPr vert="horz" wrap="square" lIns="0" tIns="13195" rIns="0" bIns="0" rtlCol="0">
            <a:spAutoFit/>
          </a:bodyPr>
          <a:lstStyle/>
          <a:p>
            <a:pPr marL="87739" marR="217697" indent="-74545">
              <a:spcBef>
                <a:spcPts val="587"/>
              </a:spcBef>
              <a:buChar char="·"/>
              <a:tabLst>
                <a:tab pos="81141" algn="l"/>
              </a:tabLst>
            </a:pP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Разработка инструментов, практик </a:t>
            </a:r>
            <a:br>
              <a:rPr lang="ru-RU" sz="787">
                <a:solidFill>
                  <a:srgbClr val="252C69"/>
                </a:solidFill>
                <a:latin typeface="Roboto" panose="02000000000000000000" pitchFamily="2" charset="0"/>
                <a:ea typeface="Roboto" panose="02000000000000000000" pitchFamily="2" charset="0"/>
                <a:cs typeface="Roboto" panose="02000000000000000000" pitchFamily="2" charset="0"/>
              </a:rPr>
            </a:br>
            <a:r>
              <a:rPr lang="ru-RU" sz="787">
                <a:solidFill>
                  <a:srgbClr val="252C69"/>
                </a:solidFill>
                <a:latin typeface="Roboto" panose="02000000000000000000" pitchFamily="2" charset="0"/>
                <a:ea typeface="Roboto" panose="02000000000000000000" pitchFamily="2" charset="0"/>
                <a:cs typeface="Roboto" panose="02000000000000000000" pitchFamily="2" charset="0"/>
              </a:rPr>
              <a:t>по улучшению опыта сотрудника</a:t>
            </a:r>
          </a:p>
          <a:p>
            <a:pPr marL="87739" marR="217697" indent="-74545">
              <a:spcBef>
                <a:spcPts val="587"/>
              </a:spcBef>
              <a:buFontTx/>
              <a:buChar char="·"/>
              <a:tabLst>
                <a:tab pos="81141" algn="l"/>
              </a:tabLst>
            </a:pPr>
            <a:r>
              <a:rPr lang="ru-RU" sz="787" spc="-5">
                <a:solidFill>
                  <a:srgbClr val="252C69"/>
                </a:solidFill>
                <a:latin typeface="Roboto" panose="02000000000000000000" pitchFamily="2" charset="0"/>
                <a:ea typeface="Roboto" panose="02000000000000000000" pitchFamily="2" charset="0"/>
                <a:cs typeface="Roboto" panose="02000000000000000000" pitchFamily="2" charset="0"/>
              </a:rPr>
              <a:t>Развитие/настройка системы </a:t>
            </a:r>
            <a:br>
              <a:rPr lang="ru-RU" sz="787" spc="-5">
                <a:solidFill>
                  <a:srgbClr val="252C69"/>
                </a:solidFill>
                <a:latin typeface="Roboto" panose="02000000000000000000" pitchFamily="2" charset="0"/>
                <a:ea typeface="Roboto" panose="02000000000000000000" pitchFamily="2" charset="0"/>
                <a:cs typeface="Roboto" panose="02000000000000000000" pitchFamily="2" charset="0"/>
              </a:rPr>
            </a:br>
            <a:r>
              <a:rPr lang="ru-RU" sz="787" spc="-5">
                <a:solidFill>
                  <a:srgbClr val="252C69"/>
                </a:solidFill>
                <a:latin typeface="Roboto" panose="02000000000000000000" pitchFamily="2" charset="0"/>
                <a:ea typeface="Roboto" panose="02000000000000000000" pitchFamily="2" charset="0"/>
                <a:cs typeface="Roboto" panose="02000000000000000000" pitchFamily="2" charset="0"/>
              </a:rPr>
              <a:t>мотивации, формирование совокупного </a:t>
            </a:r>
            <a:br>
              <a:rPr lang="ru-RU" sz="787" spc="-5">
                <a:solidFill>
                  <a:srgbClr val="252C69"/>
                </a:solidFill>
                <a:latin typeface="Roboto" panose="02000000000000000000" pitchFamily="2" charset="0"/>
                <a:ea typeface="Roboto" panose="02000000000000000000" pitchFamily="2" charset="0"/>
                <a:cs typeface="Roboto" panose="02000000000000000000" pitchFamily="2" charset="0"/>
              </a:rPr>
            </a:br>
            <a:r>
              <a:rPr lang="ru-RU" sz="787" spc="-5">
                <a:solidFill>
                  <a:srgbClr val="252C69"/>
                </a:solidFill>
                <a:latin typeface="Roboto" panose="02000000000000000000" pitchFamily="2" charset="0"/>
                <a:ea typeface="Roboto" panose="02000000000000000000" pitchFamily="2" charset="0"/>
                <a:cs typeface="Roboto" panose="02000000000000000000" pitchFamily="2" charset="0"/>
              </a:rPr>
              <a:t>поощрения</a:t>
            </a:r>
          </a:p>
          <a:p>
            <a:pPr marL="87739" marR="217697" indent="-74545">
              <a:spcBef>
                <a:spcPts val="587"/>
              </a:spcBef>
              <a:buChar char="·"/>
              <a:tabLst>
                <a:tab pos="81141" algn="l"/>
              </a:tabLst>
            </a:pPr>
            <a:endParaRPr lang="ru-RU" sz="787">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79" name="object 26">
            <a:extLst>
              <a:ext uri="{FF2B5EF4-FFF2-40B4-BE49-F238E27FC236}">
                <a16:creationId xmlns:a16="http://schemas.microsoft.com/office/drawing/2014/main" id="{F8E2BF51-A918-4BFB-B85B-1C916D879FD3}"/>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5</a:t>
            </a:r>
            <a:endParaRPr sz="3778">
              <a:solidFill>
                <a:schemeClr val="bg1"/>
              </a:solidFill>
              <a:latin typeface="Roboto"/>
              <a:cs typeface="Roboto"/>
            </a:endParaRPr>
          </a:p>
        </p:txBody>
      </p:sp>
    </p:spTree>
    <p:extLst>
      <p:ext uri="{BB962C8B-B14F-4D97-AF65-F5344CB8AC3E}">
        <p14:creationId xmlns:p14="http://schemas.microsoft.com/office/powerpoint/2010/main" val="28204263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32">
            <a:extLst>
              <a:ext uri="{FF2B5EF4-FFF2-40B4-BE49-F238E27FC236}">
                <a16:creationId xmlns:a16="http://schemas.microsoft.com/office/drawing/2014/main" id="{D794383E-8498-44AE-A3EE-080BBC256F38}"/>
              </a:ext>
            </a:extLst>
          </p:cNvPr>
          <p:cNvSpPr txBox="1">
            <a:spLocks/>
          </p:cNvSpPr>
          <p:nvPr/>
        </p:nvSpPr>
        <p:spPr>
          <a:xfrm>
            <a:off x="822290" y="364132"/>
            <a:ext cx="4467433" cy="522053"/>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a:r>
              <a:rPr lang="ru-RU" sz="1653">
                <a:latin typeface="Roboto" panose="02000000000000000000" pitchFamily="2" charset="0"/>
                <a:ea typeface="Roboto" panose="02000000000000000000" pitchFamily="2" charset="0"/>
                <a:cs typeface="Roboto" panose="02000000000000000000" pitchFamily="2" charset="0"/>
              </a:rPr>
              <a:t>СТРАТЕГИЯ РАЗВИТИЯ </a:t>
            </a:r>
            <a:br>
              <a:rPr lang="ru-RU" sz="1653">
                <a:latin typeface="Roboto" panose="02000000000000000000" pitchFamily="2" charset="0"/>
                <a:ea typeface="Roboto" panose="02000000000000000000" pitchFamily="2" charset="0"/>
                <a:cs typeface="Roboto" panose="02000000000000000000" pitchFamily="2" charset="0"/>
              </a:rPr>
            </a:br>
            <a:r>
              <a:rPr lang="ru-RU" sz="1653">
                <a:latin typeface="Roboto" panose="02000000000000000000" pitchFamily="2" charset="0"/>
                <a:ea typeface="Roboto" panose="02000000000000000000" pitchFamily="2" charset="0"/>
                <a:cs typeface="Roboto" panose="02000000000000000000" pitchFamily="2" charset="0"/>
              </a:rPr>
              <a:t>ЧЕЛОВЕЧЕСКОГО КАПИТАЛА </a:t>
            </a:r>
          </a:p>
        </p:txBody>
      </p:sp>
      <p:sp>
        <p:nvSpPr>
          <p:cNvPr id="3" name="object 26">
            <a:extLst>
              <a:ext uri="{FF2B5EF4-FFF2-40B4-BE49-F238E27FC236}">
                <a16:creationId xmlns:a16="http://schemas.microsoft.com/office/drawing/2014/main" id="{8526DCA2-E592-49DB-A353-1C12B837BA1F}"/>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6</a:t>
            </a:r>
            <a:endParaRPr sz="3778">
              <a:solidFill>
                <a:schemeClr val="bg1"/>
              </a:solidFill>
              <a:latin typeface="Roboto"/>
              <a:cs typeface="Roboto"/>
            </a:endParaRPr>
          </a:p>
        </p:txBody>
      </p:sp>
      <p:sp>
        <p:nvSpPr>
          <p:cNvPr id="4" name="object 17">
            <a:extLst>
              <a:ext uri="{FF2B5EF4-FFF2-40B4-BE49-F238E27FC236}">
                <a16:creationId xmlns:a16="http://schemas.microsoft.com/office/drawing/2014/main" id="{79D32F38-64BE-45A9-9E51-08022B675B63}"/>
              </a:ext>
            </a:extLst>
          </p:cNvPr>
          <p:cNvSpPr txBox="1"/>
          <p:nvPr/>
        </p:nvSpPr>
        <p:spPr>
          <a:xfrm>
            <a:off x="833059" y="1117603"/>
            <a:ext cx="5467333" cy="594637"/>
          </a:xfrm>
          <a:prstGeom prst="rect">
            <a:avLst/>
          </a:prstGeom>
        </p:spPr>
        <p:txBody>
          <a:bodyPr vert="horz" wrap="square" lIns="0" tIns="13195" rIns="0" bIns="0" rtlCol="0">
            <a:spAutoFit/>
          </a:bodyPr>
          <a:lstStyle/>
          <a:p>
            <a:pPr marL="13194" marR="5277">
              <a:spcBef>
                <a:spcPts val="104"/>
              </a:spcBef>
            </a:pPr>
            <a:r>
              <a:rPr lang="ru-RU" sz="1259" spc="-5">
                <a:solidFill>
                  <a:srgbClr val="6D6E71"/>
                </a:solidFill>
                <a:latin typeface="Roboto"/>
                <a:cs typeface="Roboto"/>
              </a:rPr>
              <a:t>Мы используем принципы целостного организационного </a:t>
            </a:r>
            <a:r>
              <a:rPr lang="ru-RU" sz="1259" spc="-5">
                <a:solidFill>
                  <a:srgbClr val="747578"/>
                </a:solidFill>
                <a:latin typeface="Roboto"/>
                <a:cs typeface="Roboto"/>
              </a:rPr>
              <a:t>развития </a:t>
            </a:r>
            <a:br>
              <a:rPr lang="ru-RU" sz="1259" spc="-5">
                <a:solidFill>
                  <a:srgbClr val="747578"/>
                </a:solidFill>
                <a:latin typeface="Roboto"/>
                <a:cs typeface="Roboto"/>
              </a:rPr>
            </a:br>
            <a:r>
              <a:rPr lang="ru-RU" sz="1259" spc="-5">
                <a:solidFill>
                  <a:srgbClr val="6D6E71"/>
                </a:solidFill>
                <a:latin typeface="Roboto"/>
                <a:cs typeface="Roboto"/>
              </a:rPr>
              <a:t>в отношении человеческого капитала, создавая </a:t>
            </a:r>
            <a:r>
              <a:rPr lang="ru-RU" sz="1259">
                <a:solidFill>
                  <a:srgbClr val="6D6E71"/>
                </a:solidFill>
                <a:latin typeface="Roboto"/>
                <a:cs typeface="Roboto"/>
              </a:rPr>
              <a:t>мощный </a:t>
            </a:r>
            <a:r>
              <a:rPr lang="ru-RU" sz="1259" spc="-11">
                <a:solidFill>
                  <a:srgbClr val="6D6E71"/>
                </a:solidFill>
                <a:latin typeface="Roboto"/>
                <a:cs typeface="Roboto"/>
              </a:rPr>
              <a:t>импульс </a:t>
            </a:r>
            <a:br>
              <a:rPr lang="ru-RU" sz="1259" spc="-11">
                <a:solidFill>
                  <a:srgbClr val="6D6E71"/>
                </a:solidFill>
                <a:latin typeface="Roboto"/>
                <a:cs typeface="Roboto"/>
              </a:rPr>
            </a:br>
            <a:r>
              <a:rPr lang="ru-RU" sz="1259">
                <a:solidFill>
                  <a:srgbClr val="6D6E71"/>
                </a:solidFill>
                <a:latin typeface="Roboto"/>
                <a:cs typeface="Roboto"/>
              </a:rPr>
              <a:t>для </a:t>
            </a:r>
            <a:r>
              <a:rPr lang="ru-RU" sz="1259" spc="-5">
                <a:solidFill>
                  <a:srgbClr val="6D6E71"/>
                </a:solidFill>
                <a:latin typeface="Roboto"/>
                <a:cs typeface="Roboto"/>
              </a:rPr>
              <a:t>преображе</a:t>
            </a:r>
            <a:r>
              <a:rPr lang="ru-RU" sz="1259">
                <a:solidFill>
                  <a:srgbClr val="6D6E71"/>
                </a:solidFill>
                <a:latin typeface="Roboto"/>
                <a:cs typeface="Roboto"/>
              </a:rPr>
              <a:t>ния</a:t>
            </a:r>
            <a:r>
              <a:rPr lang="ru-RU" sz="1259" spc="-5">
                <a:solidFill>
                  <a:srgbClr val="6D6E71"/>
                </a:solidFill>
                <a:latin typeface="Roboto"/>
                <a:cs typeface="Roboto"/>
              </a:rPr>
              <a:t> </a:t>
            </a:r>
            <a:r>
              <a:rPr lang="ru-RU" sz="1259" spc="-11">
                <a:solidFill>
                  <a:srgbClr val="6D6E71"/>
                </a:solidFill>
                <a:latin typeface="Roboto"/>
                <a:cs typeface="Roboto"/>
              </a:rPr>
              <a:t>компании.</a:t>
            </a:r>
            <a:endParaRPr lang="ru-RU" sz="1259">
              <a:latin typeface="Roboto"/>
              <a:cs typeface="Roboto"/>
            </a:endParaRPr>
          </a:p>
        </p:txBody>
      </p:sp>
      <p:sp>
        <p:nvSpPr>
          <p:cNvPr id="5" name="object 4">
            <a:extLst>
              <a:ext uri="{FF2B5EF4-FFF2-40B4-BE49-F238E27FC236}">
                <a16:creationId xmlns:a16="http://schemas.microsoft.com/office/drawing/2014/main" id="{4CE7A6C2-78C1-4D5E-8D61-D33DE8D2CB3A}"/>
              </a:ext>
            </a:extLst>
          </p:cNvPr>
          <p:cNvSpPr txBox="1"/>
          <p:nvPr/>
        </p:nvSpPr>
        <p:spPr>
          <a:xfrm>
            <a:off x="833059" y="1923586"/>
            <a:ext cx="5447032" cy="336489"/>
          </a:xfrm>
          <a:prstGeom prst="rect">
            <a:avLst/>
          </a:prstGeom>
        </p:spPr>
        <p:txBody>
          <a:bodyPr vert="horz" wrap="square" lIns="0" tIns="13195" rIns="0" bIns="0" rtlCol="0">
            <a:spAutoFit/>
          </a:bodyPr>
          <a:lstStyle/>
          <a:p>
            <a:pPr marL="12496" marR="5937">
              <a:lnSpc>
                <a:spcPts val="1259"/>
              </a:lnSpc>
              <a:spcBef>
                <a:spcPts val="104"/>
              </a:spcBef>
              <a:buClr>
                <a:srgbClr val="252C69"/>
              </a:buClr>
            </a:pPr>
            <a:r>
              <a:rPr lang="ru-RU" sz="980" spc="-5">
                <a:solidFill>
                  <a:srgbClr val="6D6E71"/>
                </a:solidFill>
                <a:latin typeface="Roboto"/>
                <a:cs typeface="Roboto"/>
              </a:rPr>
              <a:t>Использование современных научных </a:t>
            </a:r>
            <a:r>
              <a:rPr lang="ru-RU" sz="980">
                <a:solidFill>
                  <a:srgbClr val="6D6E71"/>
                </a:solidFill>
                <a:latin typeface="Roboto"/>
                <a:cs typeface="Roboto"/>
              </a:rPr>
              <a:t>знаний о </a:t>
            </a:r>
            <a:r>
              <a:rPr lang="ru-RU" sz="980" spc="-11">
                <a:solidFill>
                  <a:srgbClr val="6D6E71"/>
                </a:solidFill>
                <a:latin typeface="Roboto"/>
                <a:cs typeface="Roboto"/>
              </a:rPr>
              <a:t>работе </a:t>
            </a:r>
            <a:r>
              <a:rPr lang="ru-RU" sz="980">
                <a:solidFill>
                  <a:srgbClr val="6D6E71"/>
                </a:solidFill>
                <a:latin typeface="Roboto"/>
                <a:cs typeface="Roboto"/>
              </a:rPr>
              <a:t>мозга </a:t>
            </a:r>
            <a:r>
              <a:rPr lang="ru-RU" sz="980" spc="-5">
                <a:solidFill>
                  <a:srgbClr val="6D6E71"/>
                </a:solidFill>
                <a:latin typeface="Roboto"/>
                <a:cs typeface="Roboto"/>
              </a:rPr>
              <a:t>является </a:t>
            </a:r>
            <a:r>
              <a:rPr lang="ru-RU" sz="980" spc="-11">
                <a:solidFill>
                  <a:srgbClr val="6D6E71"/>
                </a:solidFill>
                <a:latin typeface="Roboto"/>
                <a:cs typeface="Roboto"/>
              </a:rPr>
              <a:t>необходимым </a:t>
            </a:r>
            <a:r>
              <a:rPr lang="ru-RU" sz="980" spc="-5">
                <a:solidFill>
                  <a:srgbClr val="6D6E71"/>
                </a:solidFill>
                <a:latin typeface="Roboto"/>
                <a:cs typeface="Roboto"/>
              </a:rPr>
              <a:t>условием создания </a:t>
            </a:r>
            <a:r>
              <a:rPr lang="ru-RU" sz="980" spc="-11">
                <a:solidFill>
                  <a:srgbClr val="6D6E71"/>
                </a:solidFill>
                <a:latin typeface="Roboto"/>
                <a:cs typeface="Roboto"/>
              </a:rPr>
              <a:t>конкурентоспособной стратегии </a:t>
            </a:r>
            <a:r>
              <a:rPr lang="ru-RU" sz="980" spc="-5">
                <a:solidFill>
                  <a:srgbClr val="6D6E71"/>
                </a:solidFill>
                <a:latin typeface="Roboto"/>
                <a:cs typeface="Roboto"/>
              </a:rPr>
              <a:t>развития </a:t>
            </a:r>
            <a:r>
              <a:rPr lang="ru-RU" sz="980" spc="-11">
                <a:solidFill>
                  <a:srgbClr val="6D6E71"/>
                </a:solidFill>
                <a:latin typeface="Roboto"/>
                <a:cs typeface="Roboto"/>
              </a:rPr>
              <a:t>человеческого</a:t>
            </a:r>
            <a:r>
              <a:rPr lang="ru-RU" sz="980" spc="93">
                <a:solidFill>
                  <a:srgbClr val="6D6E71"/>
                </a:solidFill>
                <a:latin typeface="Roboto"/>
                <a:cs typeface="Roboto"/>
              </a:rPr>
              <a:t> </a:t>
            </a:r>
            <a:r>
              <a:rPr lang="ru-RU" sz="980" spc="-5">
                <a:solidFill>
                  <a:srgbClr val="6D6E71"/>
                </a:solidFill>
                <a:latin typeface="Roboto"/>
                <a:cs typeface="Roboto"/>
              </a:rPr>
              <a:t>капитала.</a:t>
            </a:r>
          </a:p>
        </p:txBody>
      </p:sp>
      <p:grpSp>
        <p:nvGrpSpPr>
          <p:cNvPr id="6" name="Группа 5">
            <a:extLst>
              <a:ext uri="{FF2B5EF4-FFF2-40B4-BE49-F238E27FC236}">
                <a16:creationId xmlns:a16="http://schemas.microsoft.com/office/drawing/2014/main" id="{820C4A06-6D7D-4A7C-A2F1-6DCFB54EBF8E}"/>
              </a:ext>
            </a:extLst>
          </p:cNvPr>
          <p:cNvGrpSpPr/>
          <p:nvPr/>
        </p:nvGrpSpPr>
        <p:grpSpPr>
          <a:xfrm>
            <a:off x="344876" y="1996240"/>
            <a:ext cx="241361" cy="167713"/>
            <a:chOff x="8235951" y="3248026"/>
            <a:chExt cx="525463" cy="365125"/>
          </a:xfrm>
          <a:solidFill>
            <a:srgbClr val="252C69"/>
          </a:solidFill>
        </p:grpSpPr>
        <p:sp>
          <p:nvSpPr>
            <p:cNvPr id="7" name="Freeform 180">
              <a:extLst>
                <a:ext uri="{FF2B5EF4-FFF2-40B4-BE49-F238E27FC236}">
                  <a16:creationId xmlns:a16="http://schemas.microsoft.com/office/drawing/2014/main" id="{BE365A63-DBA6-4D0D-86A0-A0A7E1EDC082}"/>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8" name="Freeform 181">
              <a:extLst>
                <a:ext uri="{FF2B5EF4-FFF2-40B4-BE49-F238E27FC236}">
                  <a16:creationId xmlns:a16="http://schemas.microsoft.com/office/drawing/2014/main" id="{742D8AAE-25E1-4E38-964C-C5FE4630D2B6}"/>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9" name="Freeform 182">
              <a:extLst>
                <a:ext uri="{FF2B5EF4-FFF2-40B4-BE49-F238E27FC236}">
                  <a16:creationId xmlns:a16="http://schemas.microsoft.com/office/drawing/2014/main" id="{9D3B40CC-A2E8-472D-B368-C1056523EB85}"/>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3">
              <a:extLst>
                <a:ext uri="{FF2B5EF4-FFF2-40B4-BE49-F238E27FC236}">
                  <a16:creationId xmlns:a16="http://schemas.microsoft.com/office/drawing/2014/main" id="{A492DE54-A983-42D6-BF11-C058973F0EC0}"/>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4">
              <a:extLst>
                <a:ext uri="{FF2B5EF4-FFF2-40B4-BE49-F238E27FC236}">
                  <a16:creationId xmlns:a16="http://schemas.microsoft.com/office/drawing/2014/main" id="{62F75764-77F9-4A37-8C5E-78905EC54C78}"/>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5">
              <a:extLst>
                <a:ext uri="{FF2B5EF4-FFF2-40B4-BE49-F238E27FC236}">
                  <a16:creationId xmlns:a16="http://schemas.microsoft.com/office/drawing/2014/main" id="{4CC59E1F-4DEB-4421-9556-3E4E9645ABA2}"/>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4" name="object 5">
            <a:extLst>
              <a:ext uri="{FF2B5EF4-FFF2-40B4-BE49-F238E27FC236}">
                <a16:creationId xmlns:a16="http://schemas.microsoft.com/office/drawing/2014/main" id="{9C5653FB-0515-4413-AC59-F9E7C3B7503C}"/>
              </a:ext>
            </a:extLst>
          </p:cNvPr>
          <p:cNvSpPr/>
          <p:nvPr/>
        </p:nvSpPr>
        <p:spPr>
          <a:xfrm flipH="1">
            <a:off x="672532" y="1944060"/>
            <a:ext cx="71977" cy="35177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7" name="object 4">
            <a:extLst>
              <a:ext uri="{FF2B5EF4-FFF2-40B4-BE49-F238E27FC236}">
                <a16:creationId xmlns:a16="http://schemas.microsoft.com/office/drawing/2014/main" id="{2E7FB9A3-1901-4FEA-A245-AAC496E383A9}"/>
              </a:ext>
            </a:extLst>
          </p:cNvPr>
          <p:cNvSpPr txBox="1"/>
          <p:nvPr/>
        </p:nvSpPr>
        <p:spPr>
          <a:xfrm>
            <a:off x="833058" y="2460985"/>
            <a:ext cx="5467333" cy="1067459"/>
          </a:xfrm>
          <a:prstGeom prst="rect">
            <a:avLst/>
          </a:prstGeom>
        </p:spPr>
        <p:txBody>
          <a:bodyPr vert="horz" wrap="square" lIns="0" tIns="13195" rIns="0" bIns="0" rtlCol="0">
            <a:spAutoFit/>
          </a:bodyPr>
          <a:lstStyle/>
          <a:p>
            <a:pPr marL="12495" marR="5277">
              <a:lnSpc>
                <a:spcPts val="1259"/>
              </a:lnSpc>
              <a:spcBef>
                <a:spcPts val="945"/>
              </a:spcBef>
              <a:buClr>
                <a:srgbClr val="252C69"/>
              </a:buClr>
            </a:pPr>
            <a:r>
              <a:rPr lang="ru-RU" sz="980" spc="-5" err="1">
                <a:solidFill>
                  <a:srgbClr val="6D6E71"/>
                </a:solidFill>
                <a:latin typeface="Roboto"/>
                <a:cs typeface="Roboto"/>
              </a:rPr>
              <a:t>Микросегментация</a:t>
            </a:r>
            <a:r>
              <a:rPr lang="ru-RU" sz="980" spc="-5">
                <a:solidFill>
                  <a:srgbClr val="6D6E71"/>
                </a:solidFill>
                <a:latin typeface="Roboto"/>
                <a:cs typeface="Roboto"/>
              </a:rPr>
              <a:t> персонала </a:t>
            </a:r>
            <a:r>
              <a:rPr lang="ru-RU" sz="980">
                <a:solidFill>
                  <a:srgbClr val="6D6E71"/>
                </a:solidFill>
                <a:latin typeface="Roboto"/>
                <a:cs typeface="Roboto"/>
              </a:rPr>
              <a:t>и </a:t>
            </a:r>
            <a:r>
              <a:rPr lang="ru-RU" sz="980" spc="-5">
                <a:solidFill>
                  <a:srgbClr val="6D6E71"/>
                </a:solidFill>
                <a:latin typeface="Roboto"/>
                <a:cs typeface="Roboto"/>
              </a:rPr>
              <a:t>персонализация HR-систем на основе комплексного исследования</a:t>
            </a:r>
            <a:r>
              <a:rPr lang="ru-RU" sz="980" spc="-5">
                <a:solidFill>
                  <a:srgbClr val="FF0000"/>
                </a:solidFill>
                <a:latin typeface="Roboto"/>
                <a:cs typeface="Roboto"/>
              </a:rPr>
              <a:t> </a:t>
            </a:r>
            <a:r>
              <a:rPr lang="ru-RU" sz="980" spc="-5">
                <a:solidFill>
                  <a:srgbClr val="6D6E71"/>
                </a:solidFill>
                <a:latin typeface="Roboto"/>
                <a:cs typeface="Roboto"/>
              </a:rPr>
              <a:t>способствуют максималь</a:t>
            </a:r>
            <a:r>
              <a:rPr lang="ru-RU" sz="980">
                <a:solidFill>
                  <a:srgbClr val="6D6E71"/>
                </a:solidFill>
                <a:latin typeface="Roboto"/>
                <a:cs typeface="Roboto"/>
              </a:rPr>
              <a:t>ному </a:t>
            </a:r>
            <a:r>
              <a:rPr lang="ru-RU" sz="980" spc="-5">
                <a:solidFill>
                  <a:srgbClr val="6D6E71"/>
                </a:solidFill>
                <a:latin typeface="Roboto"/>
                <a:cs typeface="Roboto"/>
              </a:rPr>
              <a:t>раскрытию потенциала</a:t>
            </a:r>
            <a:r>
              <a:rPr lang="ru-RU" sz="980">
                <a:solidFill>
                  <a:srgbClr val="6D6E71"/>
                </a:solidFill>
                <a:latin typeface="Roboto"/>
                <a:cs typeface="Roboto"/>
              </a:rPr>
              <a:t> </a:t>
            </a:r>
            <a:r>
              <a:rPr lang="ru-RU" sz="980" spc="-11">
                <a:solidFill>
                  <a:srgbClr val="6D6E71"/>
                </a:solidFill>
                <a:latin typeface="Roboto"/>
                <a:cs typeface="Roboto"/>
              </a:rPr>
              <a:t>сотрудников.</a:t>
            </a:r>
            <a:endParaRPr lang="en-US" sz="980">
              <a:latin typeface="Roboto"/>
              <a:cs typeface="Roboto"/>
            </a:endParaRPr>
          </a:p>
          <a:p>
            <a:pPr marL="12495" marR="5277">
              <a:lnSpc>
                <a:spcPts val="1259"/>
              </a:lnSpc>
              <a:spcBef>
                <a:spcPts val="945"/>
              </a:spcBef>
              <a:buClr>
                <a:srgbClr val="252C69"/>
              </a:buClr>
            </a:pPr>
            <a:r>
              <a:rPr lang="ru-RU" sz="980" spc="-5">
                <a:solidFill>
                  <a:srgbClr val="6D6E71"/>
                </a:solidFill>
                <a:latin typeface="Roboto"/>
                <a:cs typeface="Roboto"/>
              </a:rPr>
              <a:t>Развитие </a:t>
            </a:r>
            <a:r>
              <a:rPr lang="ru-RU" sz="980" spc="-11">
                <a:solidFill>
                  <a:srgbClr val="6D6E71"/>
                </a:solidFill>
                <a:latin typeface="Roboto"/>
                <a:cs typeface="Roboto"/>
              </a:rPr>
              <a:t>человеческого </a:t>
            </a:r>
            <a:r>
              <a:rPr lang="ru-RU" sz="980" spc="-5">
                <a:solidFill>
                  <a:srgbClr val="6D6E71"/>
                </a:solidFill>
                <a:latin typeface="Roboto"/>
                <a:cs typeface="Roboto"/>
              </a:rPr>
              <a:t>капитала </a:t>
            </a:r>
            <a:r>
              <a:rPr lang="ru-RU" sz="980" spc="-11">
                <a:solidFill>
                  <a:srgbClr val="6D6E71"/>
                </a:solidFill>
                <a:latin typeface="Roboto"/>
                <a:cs typeface="Roboto"/>
              </a:rPr>
              <a:t>сегодня </a:t>
            </a:r>
            <a:r>
              <a:rPr lang="ru-RU" sz="980" spc="-5">
                <a:solidFill>
                  <a:srgbClr val="6D6E71"/>
                </a:solidFill>
                <a:latin typeface="Roboto"/>
                <a:cs typeface="Roboto"/>
              </a:rPr>
              <a:t>определяет </a:t>
            </a:r>
            <a:r>
              <a:rPr lang="ru-RU" sz="980" spc="-11">
                <a:solidFill>
                  <a:srgbClr val="6D6E71"/>
                </a:solidFill>
                <a:latin typeface="Roboto"/>
                <a:cs typeface="Roboto"/>
              </a:rPr>
              <a:t>бизнес-стратегию</a:t>
            </a:r>
            <a:r>
              <a:rPr lang="ru-RU" sz="980" spc="52">
                <a:solidFill>
                  <a:srgbClr val="6D6E71"/>
                </a:solidFill>
                <a:latin typeface="Roboto"/>
                <a:cs typeface="Roboto"/>
              </a:rPr>
              <a:t> </a:t>
            </a:r>
            <a:r>
              <a:rPr lang="ru-RU" sz="980" spc="-5">
                <a:solidFill>
                  <a:srgbClr val="6D6E71"/>
                </a:solidFill>
                <a:latin typeface="Roboto"/>
                <a:cs typeface="Roboto"/>
              </a:rPr>
              <a:t>завтра.</a:t>
            </a:r>
            <a:endParaRPr lang="en-US" sz="980" spc="-5">
              <a:solidFill>
                <a:srgbClr val="6D6E71"/>
              </a:solidFill>
              <a:latin typeface="Roboto"/>
              <a:cs typeface="Roboto"/>
            </a:endParaRPr>
          </a:p>
          <a:p>
            <a:pPr marL="12495" marR="5277">
              <a:lnSpc>
                <a:spcPts val="1259"/>
              </a:lnSpc>
              <a:spcBef>
                <a:spcPts val="945"/>
              </a:spcBef>
              <a:buClr>
                <a:srgbClr val="252C69"/>
              </a:buClr>
            </a:pPr>
            <a:r>
              <a:rPr lang="ru-RU" sz="980" spc="-5">
                <a:solidFill>
                  <a:srgbClr val="6D6E71"/>
                </a:solidFill>
                <a:latin typeface="Roboto"/>
                <a:cs typeface="Roboto"/>
              </a:rPr>
              <a:t>Формирование дорожных карт </a:t>
            </a:r>
            <a:r>
              <a:rPr lang="ru-RU" sz="980">
                <a:solidFill>
                  <a:srgbClr val="6D6E71"/>
                </a:solidFill>
                <a:latin typeface="Roboto"/>
                <a:cs typeface="Roboto"/>
              </a:rPr>
              <a:t>и </a:t>
            </a:r>
            <a:r>
              <a:rPr lang="ru-RU" sz="980" spc="-5">
                <a:solidFill>
                  <a:srgbClr val="6D6E71"/>
                </a:solidFill>
                <a:latin typeface="Roboto"/>
                <a:cs typeface="Roboto"/>
              </a:rPr>
              <a:t>реализация стратегических инициатив </a:t>
            </a:r>
            <a:r>
              <a:rPr lang="ru-RU" sz="980" spc="-11">
                <a:solidFill>
                  <a:srgbClr val="6D6E71"/>
                </a:solidFill>
                <a:latin typeface="Roboto"/>
                <a:cs typeface="Roboto"/>
              </a:rPr>
              <a:t>переводят </a:t>
            </a:r>
            <a:br>
              <a:rPr lang="ru-RU" sz="980" spc="-11">
                <a:solidFill>
                  <a:srgbClr val="6D6E71"/>
                </a:solidFill>
                <a:latin typeface="Roboto"/>
                <a:cs typeface="Roboto"/>
              </a:rPr>
            </a:br>
            <a:r>
              <a:rPr lang="ru-RU" sz="980" spc="-5">
                <a:solidFill>
                  <a:srgbClr val="6D6E71"/>
                </a:solidFill>
                <a:latin typeface="Roboto"/>
                <a:cs typeface="Roboto"/>
              </a:rPr>
              <a:t>стра</a:t>
            </a:r>
            <a:r>
              <a:rPr lang="ru-RU" sz="980" spc="-11">
                <a:solidFill>
                  <a:srgbClr val="6D6E71"/>
                </a:solidFill>
                <a:latin typeface="Roboto"/>
                <a:cs typeface="Roboto"/>
              </a:rPr>
              <a:t>тегию </a:t>
            </a:r>
            <a:r>
              <a:rPr lang="ru-RU" sz="980">
                <a:solidFill>
                  <a:srgbClr val="6D6E71"/>
                </a:solidFill>
                <a:latin typeface="Roboto"/>
                <a:cs typeface="Roboto"/>
              </a:rPr>
              <a:t>в действие.</a:t>
            </a:r>
            <a:endParaRPr lang="ru-RU" sz="980">
              <a:latin typeface="Roboto"/>
              <a:cs typeface="Roboto"/>
            </a:endParaRPr>
          </a:p>
        </p:txBody>
      </p:sp>
      <p:grpSp>
        <p:nvGrpSpPr>
          <p:cNvPr id="18" name="Группа 17">
            <a:extLst>
              <a:ext uri="{FF2B5EF4-FFF2-40B4-BE49-F238E27FC236}">
                <a16:creationId xmlns:a16="http://schemas.microsoft.com/office/drawing/2014/main" id="{EF1D8345-5262-40CF-ABBA-F6C75A40478E}"/>
              </a:ext>
            </a:extLst>
          </p:cNvPr>
          <p:cNvGrpSpPr/>
          <p:nvPr/>
        </p:nvGrpSpPr>
        <p:grpSpPr>
          <a:xfrm>
            <a:off x="323111" y="2529536"/>
            <a:ext cx="255244" cy="181832"/>
            <a:chOff x="10502900" y="3167063"/>
            <a:chExt cx="717550" cy="511176"/>
          </a:xfrm>
          <a:solidFill>
            <a:srgbClr val="252C69"/>
          </a:solidFill>
        </p:grpSpPr>
        <p:sp>
          <p:nvSpPr>
            <p:cNvPr id="19" name="Freeform 214">
              <a:extLst>
                <a:ext uri="{FF2B5EF4-FFF2-40B4-BE49-F238E27FC236}">
                  <a16:creationId xmlns:a16="http://schemas.microsoft.com/office/drawing/2014/main" id="{A95DCBA1-8464-4AF8-AC6A-9EA18B3433C3}"/>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0" name="Freeform 215">
              <a:extLst>
                <a:ext uri="{FF2B5EF4-FFF2-40B4-BE49-F238E27FC236}">
                  <a16:creationId xmlns:a16="http://schemas.microsoft.com/office/drawing/2014/main" id="{B1A4ACF3-A561-480B-9712-1BBDC61A1BAD}"/>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1" name="Freeform 216">
              <a:extLst>
                <a:ext uri="{FF2B5EF4-FFF2-40B4-BE49-F238E27FC236}">
                  <a16:creationId xmlns:a16="http://schemas.microsoft.com/office/drawing/2014/main" id="{624F55FE-4FF9-4465-97BF-0C4C360C8F37}"/>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2" name="object 5">
            <a:extLst>
              <a:ext uri="{FF2B5EF4-FFF2-40B4-BE49-F238E27FC236}">
                <a16:creationId xmlns:a16="http://schemas.microsoft.com/office/drawing/2014/main" id="{66D80697-25DC-4BF3-BD51-D050636DB01C}"/>
              </a:ext>
            </a:extLst>
          </p:cNvPr>
          <p:cNvSpPr/>
          <p:nvPr/>
        </p:nvSpPr>
        <p:spPr>
          <a:xfrm flipH="1">
            <a:off x="672056" y="2468379"/>
            <a:ext cx="71977" cy="51883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23" name="object 5">
            <a:extLst>
              <a:ext uri="{FF2B5EF4-FFF2-40B4-BE49-F238E27FC236}">
                <a16:creationId xmlns:a16="http://schemas.microsoft.com/office/drawing/2014/main" id="{8717F786-FA53-46D8-B96A-2DD6301055A7}"/>
              </a:ext>
            </a:extLst>
          </p:cNvPr>
          <p:cNvSpPr/>
          <p:nvPr/>
        </p:nvSpPr>
        <p:spPr>
          <a:xfrm flipH="1">
            <a:off x="672055" y="2858904"/>
            <a:ext cx="71977" cy="701478"/>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25" name="Группа 24">
            <a:extLst>
              <a:ext uri="{FF2B5EF4-FFF2-40B4-BE49-F238E27FC236}">
                <a16:creationId xmlns:a16="http://schemas.microsoft.com/office/drawing/2014/main" id="{7D6152AC-0A72-4AA0-8E05-003350A39267}"/>
              </a:ext>
            </a:extLst>
          </p:cNvPr>
          <p:cNvGrpSpPr/>
          <p:nvPr/>
        </p:nvGrpSpPr>
        <p:grpSpPr>
          <a:xfrm>
            <a:off x="325844" y="3801001"/>
            <a:ext cx="257575" cy="182323"/>
            <a:chOff x="4800554" y="930116"/>
            <a:chExt cx="327660" cy="231933"/>
          </a:xfrm>
          <a:solidFill>
            <a:srgbClr val="252C69"/>
          </a:solidFill>
        </p:grpSpPr>
        <p:sp>
          <p:nvSpPr>
            <p:cNvPr id="26" name="Полилиния: фигура 25">
              <a:extLst>
                <a:ext uri="{FF2B5EF4-FFF2-40B4-BE49-F238E27FC236}">
                  <a16:creationId xmlns:a16="http://schemas.microsoft.com/office/drawing/2014/main" id="{A9878F87-04F6-46DE-A2F9-73B912367921}"/>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7" name="Полилиния: фигура 26">
              <a:extLst>
                <a:ext uri="{FF2B5EF4-FFF2-40B4-BE49-F238E27FC236}">
                  <a16:creationId xmlns:a16="http://schemas.microsoft.com/office/drawing/2014/main" id="{7A992E87-AA9E-4417-A70E-0F3E7475B288}"/>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8" name="Полилиния: фигура 27">
              <a:extLst>
                <a:ext uri="{FF2B5EF4-FFF2-40B4-BE49-F238E27FC236}">
                  <a16:creationId xmlns:a16="http://schemas.microsoft.com/office/drawing/2014/main" id="{F9EE4A54-E20D-4A48-B93B-88338EB3583A}"/>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9" name="Полилиния: фигура 28">
              <a:extLst>
                <a:ext uri="{FF2B5EF4-FFF2-40B4-BE49-F238E27FC236}">
                  <a16:creationId xmlns:a16="http://schemas.microsoft.com/office/drawing/2014/main" id="{4F0A7551-E14D-438E-ADD8-F3E772068C11}"/>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0" name="Полилиния: фигура 29">
              <a:extLst>
                <a:ext uri="{FF2B5EF4-FFF2-40B4-BE49-F238E27FC236}">
                  <a16:creationId xmlns:a16="http://schemas.microsoft.com/office/drawing/2014/main" id="{2246CD8E-0142-4784-9B99-D14F8A5FF3EA}"/>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1" name="Полилиния: фигура 30">
              <a:extLst>
                <a:ext uri="{FF2B5EF4-FFF2-40B4-BE49-F238E27FC236}">
                  <a16:creationId xmlns:a16="http://schemas.microsoft.com/office/drawing/2014/main" id="{5E3B225E-8254-4560-BC60-85C0644C544F}"/>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32" name="object 4">
            <a:extLst>
              <a:ext uri="{FF2B5EF4-FFF2-40B4-BE49-F238E27FC236}">
                <a16:creationId xmlns:a16="http://schemas.microsoft.com/office/drawing/2014/main" id="{2FD4030B-3B71-4919-AE54-0096359FFD49}"/>
              </a:ext>
            </a:extLst>
          </p:cNvPr>
          <p:cNvSpPr txBox="1"/>
          <p:nvPr/>
        </p:nvSpPr>
        <p:spPr>
          <a:xfrm>
            <a:off x="822796" y="3731909"/>
            <a:ext cx="5443413" cy="336489"/>
          </a:xfrm>
          <a:prstGeom prst="rect">
            <a:avLst/>
          </a:prstGeom>
        </p:spPr>
        <p:txBody>
          <a:bodyPr vert="horz" wrap="square" lIns="0" tIns="13195" rIns="0" bIns="0" rtlCol="0">
            <a:spAutoFit/>
          </a:bodyPr>
          <a:lstStyle/>
          <a:p>
            <a:pPr marL="12495" marR="6596">
              <a:lnSpc>
                <a:spcPts val="1259"/>
              </a:lnSpc>
              <a:buClr>
                <a:srgbClr val="252C69"/>
              </a:buClr>
            </a:pPr>
            <a:r>
              <a:rPr lang="ru-RU" sz="980">
                <a:solidFill>
                  <a:srgbClr val="6D6E71"/>
                </a:solidFill>
                <a:latin typeface="Roboto"/>
                <a:cs typeface="Roboto"/>
              </a:rPr>
              <a:t>Широкая </a:t>
            </a:r>
            <a:r>
              <a:rPr lang="ru-RU" sz="980" spc="-11">
                <a:solidFill>
                  <a:srgbClr val="6D6E71"/>
                </a:solidFill>
                <a:latin typeface="Roboto"/>
                <a:cs typeface="Roboto"/>
              </a:rPr>
              <a:t>коммуникационная </a:t>
            </a:r>
            <a:r>
              <a:rPr lang="ru-RU" sz="980" spc="-5">
                <a:solidFill>
                  <a:srgbClr val="6D6E71"/>
                </a:solidFill>
                <a:latin typeface="Roboto"/>
                <a:cs typeface="Roboto"/>
              </a:rPr>
              <a:t>кампания </a:t>
            </a:r>
            <a:r>
              <a:rPr lang="ru-RU" sz="980" spc="-11">
                <a:solidFill>
                  <a:srgbClr val="6D6E71"/>
                </a:solidFill>
                <a:latin typeface="Roboto"/>
                <a:cs typeface="Roboto"/>
              </a:rPr>
              <a:t>стимулирует </a:t>
            </a:r>
            <a:r>
              <a:rPr lang="ru-RU" sz="980" spc="-5">
                <a:solidFill>
                  <a:srgbClr val="6D6E71"/>
                </a:solidFill>
                <a:latin typeface="Roboto"/>
                <a:cs typeface="Roboto"/>
              </a:rPr>
              <a:t>вовлечение </a:t>
            </a:r>
            <a:r>
              <a:rPr lang="ru-RU" sz="980" spc="-11">
                <a:solidFill>
                  <a:srgbClr val="6D6E71"/>
                </a:solidFill>
                <a:latin typeface="Roboto"/>
                <a:cs typeface="Roboto"/>
              </a:rPr>
              <a:t>руководителей </a:t>
            </a:r>
            <a:r>
              <a:rPr lang="ru-RU" sz="980" spc="-5">
                <a:solidFill>
                  <a:srgbClr val="6D6E71"/>
                </a:solidFill>
                <a:latin typeface="Roboto"/>
                <a:cs typeface="Roboto"/>
              </a:rPr>
              <a:t>всех уровней </a:t>
            </a:r>
            <a:r>
              <a:rPr lang="ru-RU" sz="980">
                <a:solidFill>
                  <a:srgbClr val="6D6E71"/>
                </a:solidFill>
                <a:latin typeface="Roboto"/>
                <a:cs typeface="Roboto"/>
              </a:rPr>
              <a:t>в </a:t>
            </a:r>
            <a:r>
              <a:rPr lang="ru-RU" sz="980" spc="-5">
                <a:solidFill>
                  <a:srgbClr val="6D6E71"/>
                </a:solidFill>
                <a:latin typeface="Roboto"/>
                <a:cs typeface="Roboto"/>
              </a:rPr>
              <a:t>обсуждение </a:t>
            </a:r>
            <a:r>
              <a:rPr lang="ru-RU" sz="980">
                <a:solidFill>
                  <a:srgbClr val="6D6E71"/>
                </a:solidFill>
                <a:latin typeface="Roboto"/>
                <a:cs typeface="Roboto"/>
              </a:rPr>
              <a:t>и </a:t>
            </a:r>
            <a:r>
              <a:rPr lang="ru-RU" sz="980" spc="-5">
                <a:solidFill>
                  <a:srgbClr val="6D6E71"/>
                </a:solidFill>
                <a:latin typeface="Roboto"/>
                <a:cs typeface="Roboto"/>
              </a:rPr>
              <a:t>формирование </a:t>
            </a:r>
            <a:r>
              <a:rPr lang="ru-RU" sz="980" spc="-11">
                <a:solidFill>
                  <a:srgbClr val="6D6E71"/>
                </a:solidFill>
                <a:latin typeface="Roboto"/>
                <a:cs typeface="Roboto"/>
              </a:rPr>
              <a:t>стратегии </a:t>
            </a:r>
            <a:r>
              <a:rPr lang="ru-RU" sz="980" spc="-5">
                <a:solidFill>
                  <a:srgbClr val="6D6E71"/>
                </a:solidFill>
                <a:latin typeface="Roboto"/>
                <a:cs typeface="Roboto"/>
              </a:rPr>
              <a:t>развития </a:t>
            </a:r>
            <a:r>
              <a:rPr lang="ru-RU" sz="980" spc="-11">
                <a:solidFill>
                  <a:srgbClr val="6D6E71"/>
                </a:solidFill>
                <a:latin typeface="Roboto"/>
                <a:cs typeface="Roboto"/>
              </a:rPr>
              <a:t>человеческого</a:t>
            </a:r>
            <a:r>
              <a:rPr lang="ru-RU" sz="980" spc="36">
                <a:solidFill>
                  <a:srgbClr val="6D6E71"/>
                </a:solidFill>
                <a:latin typeface="Roboto"/>
                <a:cs typeface="Roboto"/>
              </a:rPr>
              <a:t> </a:t>
            </a:r>
            <a:r>
              <a:rPr lang="ru-RU" sz="980" spc="-5">
                <a:solidFill>
                  <a:srgbClr val="6D6E71"/>
                </a:solidFill>
                <a:latin typeface="Roboto"/>
                <a:cs typeface="Roboto"/>
              </a:rPr>
              <a:t>капитала.</a:t>
            </a:r>
            <a:endParaRPr lang="ru-RU" sz="980">
              <a:latin typeface="Roboto"/>
              <a:cs typeface="Roboto"/>
            </a:endParaRPr>
          </a:p>
        </p:txBody>
      </p:sp>
      <p:sp>
        <p:nvSpPr>
          <p:cNvPr id="33" name="object 5">
            <a:extLst>
              <a:ext uri="{FF2B5EF4-FFF2-40B4-BE49-F238E27FC236}">
                <a16:creationId xmlns:a16="http://schemas.microsoft.com/office/drawing/2014/main" id="{CE3A4C59-21ED-4629-8FA0-EB721E53D029}"/>
              </a:ext>
            </a:extLst>
          </p:cNvPr>
          <p:cNvSpPr/>
          <p:nvPr/>
        </p:nvSpPr>
        <p:spPr>
          <a:xfrm flipH="1">
            <a:off x="670635" y="3729875"/>
            <a:ext cx="73878"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pic>
        <p:nvPicPr>
          <p:cNvPr id="34" name="Рисунок 33">
            <a:extLst>
              <a:ext uri="{FF2B5EF4-FFF2-40B4-BE49-F238E27FC236}">
                <a16:creationId xmlns:a16="http://schemas.microsoft.com/office/drawing/2014/main" id="{F0E4D7F3-A3F9-4729-A245-6F351F4B3566}"/>
              </a:ext>
            </a:extLst>
          </p:cNvPr>
          <p:cNvPicPr>
            <a:picLocks noChangeAspect="1"/>
          </p:cNvPicPr>
          <p:nvPr/>
        </p:nvPicPr>
        <p:blipFill>
          <a:blip r:embed="rId3"/>
          <a:stretch>
            <a:fillRect/>
          </a:stretch>
        </p:blipFill>
        <p:spPr>
          <a:xfrm>
            <a:off x="6486151" y="657225"/>
            <a:ext cx="5167356" cy="4730015"/>
          </a:xfrm>
          <a:prstGeom prst="rect">
            <a:avLst/>
          </a:prstGeom>
        </p:spPr>
      </p:pic>
      <p:sp>
        <p:nvSpPr>
          <p:cNvPr id="35" name="object 44">
            <a:extLst>
              <a:ext uri="{FF2B5EF4-FFF2-40B4-BE49-F238E27FC236}">
                <a16:creationId xmlns:a16="http://schemas.microsoft.com/office/drawing/2014/main" id="{0AB04148-B922-46D2-A432-6A235A64B468}"/>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36" name="object 30">
            <a:extLst>
              <a:ext uri="{FF2B5EF4-FFF2-40B4-BE49-F238E27FC236}">
                <a16:creationId xmlns:a16="http://schemas.microsoft.com/office/drawing/2014/main" id="{0DD76104-E67F-47AD-BFC7-E44F44965AB0}"/>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37" name="object 30">
            <a:extLst>
              <a:ext uri="{FF2B5EF4-FFF2-40B4-BE49-F238E27FC236}">
                <a16:creationId xmlns:a16="http://schemas.microsoft.com/office/drawing/2014/main" id="{63B0A03D-04FE-4EBC-B461-CC9078378C72}"/>
              </a:ext>
            </a:extLst>
          </p:cNvPr>
          <p:cNvSpPr txBox="1"/>
          <p:nvPr/>
        </p:nvSpPr>
        <p:spPr>
          <a:xfrm>
            <a:off x="6410228" y="5988397"/>
            <a:ext cx="3323062" cy="1259819"/>
          </a:xfrm>
          <a:prstGeom prst="rect">
            <a:avLst/>
          </a:prstGeom>
        </p:spPr>
        <p:txBody>
          <a:bodyPr vert="horz" wrap="square" lIns="0" tIns="13195" rIns="0" bIns="0" rtlCol="0">
            <a:spAutoFit/>
          </a:bodyPr>
          <a:lstStyle/>
          <a:p>
            <a:pPr marL="87739" marR="210441"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Внедрение института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en-US" sz="800">
                <a:solidFill>
                  <a:srgbClr val="252C69"/>
                </a:solidFill>
                <a:latin typeface="Roboto" panose="02000000000000000000" pitchFamily="2" charset="0"/>
                <a:ea typeface="Roboto" panose="02000000000000000000" pitchFamily="2" charset="0"/>
                <a:cs typeface="Roboto" panose="02000000000000000000" pitchFamily="2" charset="0"/>
              </a:rPr>
              <a:t>HR-</a:t>
            </a: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бизнес-партнерства</a:t>
            </a:r>
          </a:p>
          <a:p>
            <a:pPr marL="87739" marR="210441"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Формирование единой тарифной сетки</a:t>
            </a:r>
          </a:p>
          <a:p>
            <a:pPr marL="87739" marR="210441"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т HR-аналитики к цифровому HR</a:t>
            </a:r>
          </a:p>
          <a:p>
            <a:pPr marL="87739" marR="210441" indent="-74545">
              <a:spcBef>
                <a:spcPts val="592"/>
              </a:spcBef>
              <a:buFontTx/>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210441"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335782" indent="-74545">
              <a:spcBef>
                <a:spcPts val="587"/>
              </a:spcBef>
              <a:buChar char="·"/>
              <a:tabLst>
                <a:tab pos="81141" algn="l"/>
              </a:tabLst>
            </a:pPr>
            <a:endParaRPr lang="en-US"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38" name="object 30">
            <a:extLst>
              <a:ext uri="{FF2B5EF4-FFF2-40B4-BE49-F238E27FC236}">
                <a16:creationId xmlns:a16="http://schemas.microsoft.com/office/drawing/2014/main" id="{A03C98DC-A5B5-4DE6-AF3D-4BE016521178}"/>
              </a:ext>
            </a:extLst>
          </p:cNvPr>
          <p:cNvSpPr txBox="1"/>
          <p:nvPr/>
        </p:nvSpPr>
        <p:spPr>
          <a:xfrm>
            <a:off x="3456770" y="5988397"/>
            <a:ext cx="2604403" cy="859709"/>
          </a:xfrm>
          <a:prstGeom prst="rect">
            <a:avLst/>
          </a:prstGeom>
        </p:spPr>
        <p:txBody>
          <a:bodyPr vert="horz" wrap="square" lIns="0" tIns="13195" rIns="0" bIns="0" rtlCol="0">
            <a:spAutoFit/>
          </a:bodyPr>
          <a:lstStyle/>
          <a:p>
            <a:pPr marL="87739" marR="248044" indent="-74545">
              <a:spcBef>
                <a:spcPts val="529"/>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Стратегическое планирование персонала: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от концепции до модели численности</a:t>
            </a:r>
          </a:p>
          <a:p>
            <a:pPr marL="87739" marR="161624"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Системное проектирование </a:t>
            </a:r>
            <a:r>
              <a:rPr lang="en-US" sz="800">
                <a:solidFill>
                  <a:srgbClr val="252C69"/>
                </a:solidFill>
                <a:latin typeface="Roboto" panose="02000000000000000000" pitchFamily="2" charset="0"/>
                <a:ea typeface="Roboto" panose="02000000000000000000" pitchFamily="2" charset="0"/>
                <a:cs typeface="Roboto" panose="02000000000000000000" pitchFamily="2" charset="0"/>
              </a:rPr>
              <a:t>HR-</a:t>
            </a: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цессов</a:t>
            </a:r>
          </a:p>
          <a:p>
            <a:pPr marL="87739" marR="161624" indent="-74545">
              <a:spcBef>
                <a:spcPts val="587"/>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работка ролевой модели </a:t>
            </a:r>
            <a:r>
              <a:rPr lang="en-US" sz="800">
                <a:solidFill>
                  <a:srgbClr val="252C69"/>
                </a:solidFill>
                <a:latin typeface="Roboto" panose="02000000000000000000" pitchFamily="2" charset="0"/>
                <a:ea typeface="Roboto" panose="02000000000000000000" pitchFamily="2" charset="0"/>
                <a:cs typeface="Roboto" panose="02000000000000000000" pitchFamily="2" charset="0"/>
              </a:rPr>
              <a:t>HR</a:t>
            </a: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161624" indent="-74545">
              <a:spcBef>
                <a:spcPts val="587"/>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39" name="object 30">
            <a:extLst>
              <a:ext uri="{FF2B5EF4-FFF2-40B4-BE49-F238E27FC236}">
                <a16:creationId xmlns:a16="http://schemas.microsoft.com/office/drawing/2014/main" id="{5CBEEF9D-3CFC-4335-8A80-4EBC877237BF}"/>
              </a:ext>
            </a:extLst>
          </p:cNvPr>
          <p:cNvSpPr txBox="1"/>
          <p:nvPr/>
        </p:nvSpPr>
        <p:spPr>
          <a:xfrm>
            <a:off x="9236642" y="5988398"/>
            <a:ext cx="3832086" cy="659655"/>
          </a:xfrm>
          <a:prstGeom prst="rect">
            <a:avLst/>
          </a:prstGeom>
        </p:spPr>
        <p:txBody>
          <a:bodyPr vert="horz" wrap="square" lIns="0" tIns="13195" rIns="0" bIns="0" rtlCol="0">
            <a:spAutoFit/>
          </a:bodyPr>
          <a:lstStyle/>
          <a:p>
            <a:pPr marL="87739" marR="250022"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модели совокупного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оощрения</a:t>
            </a:r>
          </a:p>
          <a:p>
            <a:pPr marL="87739" marR="496745" indent="-74545">
              <a:spcBef>
                <a:spcPts val="587"/>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Исследования вовлеченности персонала</a:t>
            </a:r>
          </a:p>
          <a:p>
            <a:pPr marL="87739" marR="496745" indent="-74545">
              <a:spcBef>
                <a:spcPts val="587"/>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226291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Рисунок 42" descr="Изображение выглядит как еда&#10;&#10;Автоматически созданное описание">
            <a:extLst>
              <a:ext uri="{FF2B5EF4-FFF2-40B4-BE49-F238E27FC236}">
                <a16:creationId xmlns:a16="http://schemas.microsoft.com/office/drawing/2014/main" id="{D917B5B3-ADFD-4F2F-A61F-E5CE3E8D8D05}"/>
              </a:ext>
            </a:extLst>
          </p:cNvPr>
          <p:cNvPicPr>
            <a:picLocks noChangeAspect="1"/>
          </p:cNvPicPr>
          <p:nvPr/>
        </p:nvPicPr>
        <p:blipFill rotWithShape="1">
          <a:blip r:embed="rId3">
            <a:extLst>
              <a:ext uri="{28A0092B-C50C-407E-A947-70E740481C1C}">
                <a14:useLocalDpi xmlns:a14="http://schemas.microsoft.com/office/drawing/2010/main" val="0"/>
              </a:ext>
            </a:extLst>
          </a:blip>
          <a:srcRect l="25398" t="9210" r="23616" b="4992"/>
          <a:stretch/>
        </p:blipFill>
        <p:spPr>
          <a:xfrm>
            <a:off x="6672263" y="862091"/>
            <a:ext cx="4484412" cy="4245179"/>
          </a:xfrm>
          <a:prstGeom prst="rect">
            <a:avLst/>
          </a:prstGeom>
        </p:spPr>
      </p:pic>
      <p:sp>
        <p:nvSpPr>
          <p:cNvPr id="2" name="object 32">
            <a:extLst>
              <a:ext uri="{FF2B5EF4-FFF2-40B4-BE49-F238E27FC236}">
                <a16:creationId xmlns:a16="http://schemas.microsoft.com/office/drawing/2014/main" id="{0C6D368D-85DD-4425-9721-548B25A4CD77}"/>
              </a:ext>
            </a:extLst>
          </p:cNvPr>
          <p:cNvSpPr txBox="1">
            <a:spLocks/>
          </p:cNvSpPr>
          <p:nvPr/>
        </p:nvSpPr>
        <p:spPr>
          <a:xfrm>
            <a:off x="822290" y="364132"/>
            <a:ext cx="6369620" cy="522053"/>
          </a:xfrm>
          <a:prstGeom prst="rect">
            <a:avLst/>
          </a:prstGeom>
        </p:spPr>
        <p:txBody>
          <a:bodyPr vert="horz" wrap="square" lIns="0" tIns="13195" rIns="0" bIns="0" rtlCol="0">
            <a:spAutoFit/>
          </a:bodyPr>
          <a:lstStyle>
            <a:lvl1pPr>
              <a:defRPr sz="1650" b="0" i="0">
                <a:solidFill>
                  <a:schemeClr val="bg1"/>
                </a:solidFill>
                <a:latin typeface="Roboto"/>
                <a:ea typeface="+mj-ea"/>
                <a:cs typeface="Roboto"/>
              </a:defRPr>
            </a:lvl1pPr>
          </a:lstStyle>
          <a:p>
            <a:pPr marL="13194" marR="1459233">
              <a:spcBef>
                <a:spcPts val="104"/>
              </a:spcBef>
            </a:pPr>
            <a:r>
              <a:rPr lang="ru-RU" sz="1653">
                <a:latin typeface="Roboto" panose="02000000000000000000" pitchFamily="2" charset="0"/>
                <a:ea typeface="Roboto" panose="02000000000000000000" pitchFamily="2" charset="0"/>
                <a:cs typeface="Roboto" panose="02000000000000000000" pitchFamily="2" charset="0"/>
              </a:rPr>
              <a:t>КОМПЛЕКСНОЕ ПРОФЕССИОНАЛЬНОЕ </a:t>
            </a:r>
            <a:br>
              <a:rPr lang="en-US" sz="1653">
                <a:latin typeface="Roboto" panose="02000000000000000000" pitchFamily="2" charset="0"/>
                <a:ea typeface="Roboto" panose="02000000000000000000" pitchFamily="2" charset="0"/>
                <a:cs typeface="Roboto" panose="02000000000000000000" pitchFamily="2" charset="0"/>
              </a:rPr>
            </a:br>
            <a:r>
              <a:rPr lang="ru-RU" sz="1653">
                <a:latin typeface="Roboto" panose="02000000000000000000" pitchFamily="2" charset="0"/>
                <a:ea typeface="Roboto" panose="02000000000000000000" pitchFamily="2" charset="0"/>
                <a:cs typeface="Roboto" panose="02000000000000000000" pitchFamily="2" charset="0"/>
              </a:rPr>
              <a:t>И КАРЬЕРНОЕ РАЗВИТИЕ</a:t>
            </a:r>
          </a:p>
        </p:txBody>
      </p:sp>
      <p:sp>
        <p:nvSpPr>
          <p:cNvPr id="3" name="object 26">
            <a:extLst>
              <a:ext uri="{FF2B5EF4-FFF2-40B4-BE49-F238E27FC236}">
                <a16:creationId xmlns:a16="http://schemas.microsoft.com/office/drawing/2014/main" id="{B2090B12-BA71-4658-A17F-2C18BDEA6741}"/>
              </a:ext>
            </a:extLst>
          </p:cNvPr>
          <p:cNvSpPr txBox="1"/>
          <p:nvPr/>
        </p:nvSpPr>
        <p:spPr>
          <a:xfrm>
            <a:off x="305958" y="326492"/>
            <a:ext cx="248050" cy="594701"/>
          </a:xfrm>
          <a:prstGeom prst="rect">
            <a:avLst/>
          </a:prstGeom>
        </p:spPr>
        <p:txBody>
          <a:bodyPr vert="horz" wrap="square" lIns="0" tIns="13195" rIns="0" bIns="0" rtlCol="0">
            <a:spAutoFit/>
          </a:bodyPr>
          <a:lstStyle/>
          <a:p>
            <a:pPr>
              <a:spcBef>
                <a:spcPts val="104"/>
              </a:spcBef>
            </a:pPr>
            <a:r>
              <a:rPr lang="ru-RU" sz="3778" b="1">
                <a:solidFill>
                  <a:schemeClr val="bg1"/>
                </a:solidFill>
                <a:latin typeface="Roboto"/>
                <a:cs typeface="Roboto"/>
              </a:rPr>
              <a:t>7</a:t>
            </a:r>
            <a:endParaRPr sz="3778">
              <a:solidFill>
                <a:schemeClr val="bg1"/>
              </a:solidFill>
              <a:latin typeface="Roboto"/>
              <a:cs typeface="Roboto"/>
            </a:endParaRPr>
          </a:p>
        </p:txBody>
      </p:sp>
      <p:sp>
        <p:nvSpPr>
          <p:cNvPr id="4" name="object 17">
            <a:extLst>
              <a:ext uri="{FF2B5EF4-FFF2-40B4-BE49-F238E27FC236}">
                <a16:creationId xmlns:a16="http://schemas.microsoft.com/office/drawing/2014/main" id="{CD3B217C-3B60-4D0B-8BD5-BE36AC0654CE}"/>
              </a:ext>
            </a:extLst>
          </p:cNvPr>
          <p:cNvSpPr txBox="1"/>
          <p:nvPr/>
        </p:nvSpPr>
        <p:spPr>
          <a:xfrm>
            <a:off x="833059" y="1117603"/>
            <a:ext cx="5467333" cy="594637"/>
          </a:xfrm>
          <a:prstGeom prst="rect">
            <a:avLst/>
          </a:prstGeom>
        </p:spPr>
        <p:txBody>
          <a:bodyPr vert="horz" wrap="square" lIns="0" tIns="13195" rIns="0" bIns="0" rtlCol="0">
            <a:spAutoFit/>
          </a:bodyPr>
          <a:lstStyle/>
          <a:p>
            <a:pPr marL="19131" marR="5277">
              <a:spcBef>
                <a:spcPts val="815"/>
              </a:spcBef>
            </a:pPr>
            <a:r>
              <a:rPr lang="ru-RU" sz="1259" spc="-5">
                <a:solidFill>
                  <a:srgbClr val="6D6E71"/>
                </a:solidFill>
                <a:latin typeface="Roboto"/>
                <a:cs typeface="Roboto"/>
              </a:rPr>
              <a:t>Мы</a:t>
            </a:r>
            <a:r>
              <a:rPr lang="ru-RU" sz="1259" spc="-41">
                <a:solidFill>
                  <a:srgbClr val="6D6E71"/>
                </a:solidFill>
                <a:latin typeface="Roboto"/>
                <a:cs typeface="Roboto"/>
              </a:rPr>
              <a:t> </a:t>
            </a:r>
            <a:r>
              <a:rPr lang="ru-RU" sz="1259" spc="-5">
                <a:solidFill>
                  <a:srgbClr val="6D6E71"/>
                </a:solidFill>
                <a:latin typeface="Roboto"/>
                <a:cs typeface="Roboto"/>
              </a:rPr>
              <a:t>формируем</a:t>
            </a:r>
            <a:r>
              <a:rPr lang="ru-RU" sz="1259" spc="-41">
                <a:solidFill>
                  <a:srgbClr val="6D6E71"/>
                </a:solidFill>
                <a:latin typeface="Roboto"/>
                <a:cs typeface="Roboto"/>
              </a:rPr>
              <a:t> </a:t>
            </a:r>
            <a:r>
              <a:rPr lang="ru-RU" sz="1259" spc="-5">
                <a:solidFill>
                  <a:srgbClr val="6D6E71"/>
                </a:solidFill>
                <a:latin typeface="Roboto"/>
                <a:cs typeface="Roboto"/>
              </a:rPr>
              <a:t>единый</a:t>
            </a:r>
            <a:r>
              <a:rPr lang="ru-RU" sz="1259" spc="-41">
                <a:solidFill>
                  <a:srgbClr val="6D6E71"/>
                </a:solidFill>
                <a:latin typeface="Roboto"/>
                <a:cs typeface="Roboto"/>
              </a:rPr>
              <a:t> </a:t>
            </a:r>
            <a:r>
              <a:rPr lang="ru-RU" sz="1259" spc="-5">
                <a:solidFill>
                  <a:srgbClr val="6D6E71"/>
                </a:solidFill>
                <a:latin typeface="Roboto"/>
                <a:cs typeface="Roboto"/>
              </a:rPr>
              <a:t>каркас</a:t>
            </a:r>
            <a:r>
              <a:rPr lang="ru-RU" sz="1259" spc="-36">
                <a:solidFill>
                  <a:srgbClr val="6D6E71"/>
                </a:solidFill>
                <a:latin typeface="Roboto"/>
                <a:cs typeface="Roboto"/>
              </a:rPr>
              <a:t> </a:t>
            </a:r>
            <a:r>
              <a:rPr lang="ru-RU" sz="1259" spc="-5">
                <a:solidFill>
                  <a:srgbClr val="6D6E71"/>
                </a:solidFill>
                <a:latin typeface="Roboto"/>
                <a:cs typeface="Roboto"/>
              </a:rPr>
              <a:t>профессионального</a:t>
            </a:r>
            <a:r>
              <a:rPr lang="ru-RU" sz="1259" spc="-41">
                <a:solidFill>
                  <a:srgbClr val="6D6E71"/>
                </a:solidFill>
                <a:latin typeface="Roboto"/>
                <a:cs typeface="Roboto"/>
              </a:rPr>
              <a:t> </a:t>
            </a:r>
            <a:r>
              <a:rPr lang="ru-RU" sz="1259">
                <a:solidFill>
                  <a:srgbClr val="6D6E71"/>
                </a:solidFill>
                <a:latin typeface="Roboto"/>
                <a:cs typeface="Roboto"/>
              </a:rPr>
              <a:t>и</a:t>
            </a:r>
            <a:r>
              <a:rPr lang="ru-RU" sz="1259" spc="-41">
                <a:solidFill>
                  <a:srgbClr val="6D6E71"/>
                </a:solidFill>
                <a:latin typeface="Roboto"/>
                <a:cs typeface="Roboto"/>
              </a:rPr>
              <a:t> </a:t>
            </a:r>
            <a:r>
              <a:rPr lang="ru-RU" sz="1259" spc="-5">
                <a:solidFill>
                  <a:srgbClr val="6D6E71"/>
                </a:solidFill>
                <a:latin typeface="Roboto"/>
                <a:cs typeface="Roboto"/>
              </a:rPr>
              <a:t>карьерного</a:t>
            </a:r>
            <a:r>
              <a:rPr lang="ru-RU" sz="1259" spc="-41">
                <a:solidFill>
                  <a:srgbClr val="6D6E71"/>
                </a:solidFill>
                <a:latin typeface="Roboto"/>
                <a:cs typeface="Roboto"/>
              </a:rPr>
              <a:t> </a:t>
            </a:r>
            <a:r>
              <a:rPr lang="ru-RU" sz="1259" spc="-5">
                <a:solidFill>
                  <a:srgbClr val="6D6E71"/>
                </a:solidFill>
                <a:latin typeface="Roboto"/>
                <a:cs typeface="Roboto"/>
              </a:rPr>
              <a:t>развития</a:t>
            </a:r>
            <a:r>
              <a:rPr lang="ru-RU" sz="1259" spc="-41">
                <a:solidFill>
                  <a:srgbClr val="6D6E71"/>
                </a:solidFill>
                <a:latin typeface="Roboto"/>
                <a:cs typeface="Roboto"/>
              </a:rPr>
              <a:t> </a:t>
            </a:r>
            <a:r>
              <a:rPr lang="ru-RU" sz="1259" spc="-5">
                <a:solidFill>
                  <a:srgbClr val="6D6E71"/>
                </a:solidFill>
                <a:latin typeface="Roboto"/>
                <a:cs typeface="Roboto"/>
              </a:rPr>
              <a:t>человека</a:t>
            </a:r>
            <a:r>
              <a:rPr lang="ru-RU" sz="1259" spc="-52">
                <a:solidFill>
                  <a:srgbClr val="6D6E71"/>
                </a:solidFill>
                <a:latin typeface="Roboto"/>
                <a:cs typeface="Roboto"/>
              </a:rPr>
              <a:t> </a:t>
            </a:r>
            <a:r>
              <a:rPr lang="ru-RU" sz="1259">
                <a:solidFill>
                  <a:srgbClr val="6D6E71"/>
                </a:solidFill>
                <a:latin typeface="Roboto"/>
                <a:cs typeface="Roboto"/>
              </a:rPr>
              <a:t>в</a:t>
            </a:r>
            <a:r>
              <a:rPr lang="ru-RU" sz="1259" spc="-47">
                <a:solidFill>
                  <a:srgbClr val="6D6E71"/>
                </a:solidFill>
                <a:latin typeface="Roboto"/>
                <a:cs typeface="Roboto"/>
              </a:rPr>
              <a:t> </a:t>
            </a:r>
            <a:r>
              <a:rPr lang="ru-RU" sz="1259" spc="-11">
                <a:solidFill>
                  <a:srgbClr val="6D6E71"/>
                </a:solidFill>
                <a:latin typeface="Roboto"/>
                <a:cs typeface="Roboto"/>
              </a:rPr>
              <a:t>компании,</a:t>
            </a:r>
            <a:r>
              <a:rPr lang="ru-RU" sz="1259" spc="-47">
                <a:solidFill>
                  <a:srgbClr val="6D6E71"/>
                </a:solidFill>
                <a:latin typeface="Roboto"/>
                <a:cs typeface="Roboto"/>
              </a:rPr>
              <a:t> </a:t>
            </a:r>
            <a:r>
              <a:rPr lang="ru-RU" sz="1259" spc="-11">
                <a:solidFill>
                  <a:srgbClr val="6D6E71"/>
                </a:solidFill>
                <a:latin typeface="Roboto"/>
                <a:cs typeface="Roboto"/>
              </a:rPr>
              <a:t>который</a:t>
            </a:r>
            <a:r>
              <a:rPr lang="ru-RU" sz="1259" spc="-52">
                <a:solidFill>
                  <a:srgbClr val="6D6E71"/>
                </a:solidFill>
                <a:latin typeface="Roboto"/>
                <a:cs typeface="Roboto"/>
              </a:rPr>
              <a:t> </a:t>
            </a:r>
            <a:r>
              <a:rPr lang="ru-RU" sz="1259" spc="-5">
                <a:solidFill>
                  <a:srgbClr val="6D6E71"/>
                </a:solidFill>
                <a:latin typeface="Roboto"/>
                <a:cs typeface="Roboto"/>
              </a:rPr>
              <a:t>определяет</a:t>
            </a:r>
            <a:r>
              <a:rPr lang="ru-RU" sz="1259" spc="-47">
                <a:solidFill>
                  <a:srgbClr val="6D6E71"/>
                </a:solidFill>
                <a:latin typeface="Roboto"/>
                <a:cs typeface="Roboto"/>
              </a:rPr>
              <a:t> </a:t>
            </a:r>
            <a:r>
              <a:rPr lang="ru-RU" sz="1259" spc="-5">
                <a:solidFill>
                  <a:srgbClr val="6D6E71"/>
                </a:solidFill>
                <a:latin typeface="Roboto"/>
                <a:cs typeface="Roboto"/>
              </a:rPr>
              <a:t>долгосрочную</a:t>
            </a:r>
            <a:r>
              <a:rPr lang="ru-RU" sz="1259" spc="-47">
                <a:solidFill>
                  <a:srgbClr val="6D6E71"/>
                </a:solidFill>
                <a:latin typeface="Roboto"/>
                <a:cs typeface="Roboto"/>
              </a:rPr>
              <a:t> </a:t>
            </a:r>
            <a:r>
              <a:rPr lang="ru-RU" sz="1259">
                <a:solidFill>
                  <a:srgbClr val="6D6E71"/>
                </a:solidFill>
                <a:latin typeface="Roboto"/>
                <a:cs typeface="Roboto"/>
              </a:rPr>
              <a:t>эффективность</a:t>
            </a:r>
            <a:r>
              <a:rPr lang="ru-RU" sz="1259" spc="-52">
                <a:solidFill>
                  <a:srgbClr val="6D6E71"/>
                </a:solidFill>
                <a:latin typeface="Roboto"/>
                <a:cs typeface="Roboto"/>
              </a:rPr>
              <a:t> </a:t>
            </a:r>
            <a:r>
              <a:rPr lang="ru-RU" sz="1259" spc="-5">
                <a:solidFill>
                  <a:srgbClr val="6D6E71"/>
                </a:solidFill>
                <a:latin typeface="Roboto"/>
                <a:cs typeface="Roboto"/>
              </a:rPr>
              <a:t>всех</a:t>
            </a:r>
            <a:r>
              <a:rPr lang="ru-RU" sz="1259" spc="-47">
                <a:solidFill>
                  <a:srgbClr val="6D6E71"/>
                </a:solidFill>
                <a:latin typeface="Roboto"/>
                <a:cs typeface="Roboto"/>
              </a:rPr>
              <a:t> </a:t>
            </a:r>
            <a:r>
              <a:rPr lang="ru-RU" sz="1259">
                <a:solidFill>
                  <a:srgbClr val="6D6E71"/>
                </a:solidFill>
                <a:latin typeface="Roboto"/>
                <a:cs typeface="Roboto"/>
              </a:rPr>
              <a:t>HR-си</a:t>
            </a:r>
            <a:r>
              <a:rPr lang="ru-RU" sz="1259" spc="-11">
                <a:solidFill>
                  <a:srgbClr val="6D6E71"/>
                </a:solidFill>
                <a:latin typeface="Roboto"/>
                <a:cs typeface="Roboto"/>
              </a:rPr>
              <a:t>стем.</a:t>
            </a:r>
            <a:endParaRPr lang="ru-RU" sz="1259">
              <a:latin typeface="Roboto"/>
              <a:cs typeface="Roboto"/>
            </a:endParaRPr>
          </a:p>
        </p:txBody>
      </p:sp>
      <p:sp>
        <p:nvSpPr>
          <p:cNvPr id="6" name="object 4">
            <a:extLst>
              <a:ext uri="{FF2B5EF4-FFF2-40B4-BE49-F238E27FC236}">
                <a16:creationId xmlns:a16="http://schemas.microsoft.com/office/drawing/2014/main" id="{30AD55B7-0267-4618-B574-681870985952}"/>
              </a:ext>
            </a:extLst>
          </p:cNvPr>
          <p:cNvSpPr txBox="1"/>
          <p:nvPr/>
        </p:nvSpPr>
        <p:spPr>
          <a:xfrm>
            <a:off x="833059" y="1923586"/>
            <a:ext cx="5447032" cy="1067459"/>
          </a:xfrm>
          <a:prstGeom prst="rect">
            <a:avLst/>
          </a:prstGeom>
        </p:spPr>
        <p:txBody>
          <a:bodyPr vert="horz" wrap="square" lIns="0" tIns="13195" rIns="0" bIns="0" rtlCol="0">
            <a:spAutoFit/>
          </a:bodyPr>
          <a:lstStyle/>
          <a:p>
            <a:pPr marL="12495" marR="5937">
              <a:lnSpc>
                <a:spcPts val="1259"/>
              </a:lnSpc>
              <a:spcBef>
                <a:spcPts val="945"/>
              </a:spcBef>
              <a:buClr>
                <a:srgbClr val="252C69"/>
              </a:buClr>
            </a:pPr>
            <a:r>
              <a:rPr lang="ru-RU" sz="980">
                <a:solidFill>
                  <a:srgbClr val="6D6E71"/>
                </a:solidFill>
                <a:latin typeface="Roboto"/>
                <a:cs typeface="Roboto"/>
              </a:rPr>
              <a:t>Для </a:t>
            </a:r>
            <a:r>
              <a:rPr lang="ru-RU" sz="980" spc="-5">
                <a:solidFill>
                  <a:srgbClr val="6D6E71"/>
                </a:solidFill>
                <a:latin typeface="Roboto"/>
                <a:cs typeface="Roboto"/>
              </a:rPr>
              <a:t>поддержания актуальности </a:t>
            </a:r>
            <a:r>
              <a:rPr lang="ru-RU" sz="980">
                <a:solidFill>
                  <a:srgbClr val="6D6E71"/>
                </a:solidFill>
                <a:latin typeface="Roboto"/>
                <a:cs typeface="Roboto"/>
              </a:rPr>
              <a:t>и </a:t>
            </a:r>
            <a:r>
              <a:rPr lang="ru-RU" sz="980" spc="-5">
                <a:solidFill>
                  <a:srgbClr val="6D6E71"/>
                </a:solidFill>
                <a:latin typeface="Roboto"/>
                <a:cs typeface="Roboto"/>
              </a:rPr>
              <a:t>востребованности профессиональных </a:t>
            </a:r>
            <a:r>
              <a:rPr lang="ru-RU" sz="980">
                <a:solidFill>
                  <a:srgbClr val="6D6E71"/>
                </a:solidFill>
                <a:latin typeface="Roboto"/>
                <a:cs typeface="Roboto"/>
              </a:rPr>
              <a:t>и </a:t>
            </a:r>
            <a:r>
              <a:rPr lang="ru-RU" sz="980" spc="-5">
                <a:solidFill>
                  <a:srgbClr val="6D6E71"/>
                </a:solidFill>
                <a:latin typeface="Roboto"/>
                <a:cs typeface="Roboto"/>
              </a:rPr>
              <a:t>кросс-функциональных </a:t>
            </a:r>
            <a:r>
              <a:rPr lang="ru-RU" sz="980" spc="-11">
                <a:solidFill>
                  <a:srgbClr val="6D6E71"/>
                </a:solidFill>
                <a:latin typeface="Roboto"/>
                <a:cs typeface="Roboto"/>
              </a:rPr>
              <a:t>компетенций </a:t>
            </a:r>
            <a:r>
              <a:rPr lang="ru-RU" sz="980" spc="-5">
                <a:solidFill>
                  <a:srgbClr val="6D6E71"/>
                </a:solidFill>
                <a:latin typeface="Roboto"/>
                <a:cs typeface="Roboto"/>
              </a:rPr>
              <a:t>важно интегрировать их </a:t>
            </a:r>
            <a:r>
              <a:rPr lang="ru-RU" sz="980">
                <a:solidFill>
                  <a:srgbClr val="6D6E71"/>
                </a:solidFill>
                <a:latin typeface="Roboto"/>
                <a:cs typeface="Roboto"/>
              </a:rPr>
              <a:t>с </a:t>
            </a:r>
            <a:r>
              <a:rPr lang="ru-RU" sz="980" spc="-5">
                <a:solidFill>
                  <a:srgbClr val="6D6E71"/>
                </a:solidFill>
                <a:latin typeface="Roboto"/>
                <a:cs typeface="Roboto"/>
              </a:rPr>
              <a:t>бизнес-процессами</a:t>
            </a:r>
            <a:r>
              <a:rPr lang="ru-RU" sz="980">
                <a:solidFill>
                  <a:srgbClr val="6D6E71"/>
                </a:solidFill>
                <a:latin typeface="Roboto"/>
                <a:cs typeface="Roboto"/>
              </a:rPr>
              <a:t> </a:t>
            </a:r>
            <a:r>
              <a:rPr lang="ru-RU" sz="980" spc="-11">
                <a:solidFill>
                  <a:srgbClr val="6D6E71"/>
                </a:solidFill>
                <a:latin typeface="Roboto"/>
                <a:cs typeface="Roboto"/>
              </a:rPr>
              <a:t>компании.</a:t>
            </a:r>
          </a:p>
          <a:p>
            <a:pPr marL="12495" marR="5937">
              <a:lnSpc>
                <a:spcPts val="1259"/>
              </a:lnSpc>
              <a:spcBef>
                <a:spcPts val="945"/>
              </a:spcBef>
              <a:buClr>
                <a:srgbClr val="252C69"/>
              </a:buClr>
            </a:pPr>
            <a:r>
              <a:rPr lang="ru-RU" sz="980" spc="-16">
                <a:solidFill>
                  <a:srgbClr val="6D6E71"/>
                </a:solidFill>
                <a:latin typeface="Roboto"/>
                <a:cs typeface="Roboto"/>
              </a:rPr>
              <a:t>Грамотно </a:t>
            </a:r>
            <a:r>
              <a:rPr lang="ru-RU" sz="980" spc="-5">
                <a:solidFill>
                  <a:srgbClr val="6D6E71"/>
                </a:solidFill>
                <a:latin typeface="Roboto"/>
                <a:cs typeface="Roboto"/>
              </a:rPr>
              <a:t>выстроенная архитектура </a:t>
            </a:r>
            <a:r>
              <a:rPr lang="ru-RU" sz="980" spc="-11">
                <a:solidFill>
                  <a:srgbClr val="6D6E71"/>
                </a:solidFill>
                <a:latin typeface="Roboto"/>
                <a:cs typeface="Roboto"/>
              </a:rPr>
              <a:t>должностей/ролей </a:t>
            </a:r>
            <a:r>
              <a:rPr lang="ru-RU" sz="980" spc="-5">
                <a:solidFill>
                  <a:srgbClr val="6D6E71"/>
                </a:solidFill>
                <a:latin typeface="Roboto"/>
                <a:cs typeface="Roboto"/>
              </a:rPr>
              <a:t>повышает </a:t>
            </a:r>
            <a:r>
              <a:rPr lang="ru-RU" sz="980">
                <a:solidFill>
                  <a:srgbClr val="6D6E71"/>
                </a:solidFill>
                <a:latin typeface="Roboto"/>
                <a:cs typeface="Roboto"/>
              </a:rPr>
              <a:t>эффективность </a:t>
            </a:r>
            <a:r>
              <a:rPr lang="ru-RU" sz="980" spc="-5">
                <a:solidFill>
                  <a:srgbClr val="6D6E71"/>
                </a:solidFill>
                <a:latin typeface="Roboto"/>
                <a:cs typeface="Roboto"/>
              </a:rPr>
              <a:t>всей </a:t>
            </a:r>
            <a:r>
              <a:rPr lang="ru-RU" sz="980" spc="-11">
                <a:solidFill>
                  <a:srgbClr val="6D6E71"/>
                </a:solidFill>
                <a:latin typeface="Roboto"/>
                <a:cs typeface="Roboto"/>
              </a:rPr>
              <a:t>системы экспертного </a:t>
            </a:r>
            <a:r>
              <a:rPr lang="ru-RU" sz="980">
                <a:solidFill>
                  <a:srgbClr val="6D6E71"/>
                </a:solidFill>
                <a:latin typeface="Roboto"/>
                <a:cs typeface="Roboto"/>
              </a:rPr>
              <a:t>и </a:t>
            </a:r>
            <a:r>
              <a:rPr lang="ru-RU" sz="980" spc="-5">
                <a:solidFill>
                  <a:srgbClr val="6D6E71"/>
                </a:solidFill>
                <a:latin typeface="Roboto"/>
                <a:cs typeface="Roboto"/>
              </a:rPr>
              <a:t>карьерного</a:t>
            </a:r>
            <a:r>
              <a:rPr lang="ru-RU" sz="980" spc="11">
                <a:solidFill>
                  <a:srgbClr val="6D6E71"/>
                </a:solidFill>
                <a:latin typeface="Roboto"/>
                <a:cs typeface="Roboto"/>
              </a:rPr>
              <a:t> </a:t>
            </a:r>
            <a:r>
              <a:rPr lang="ru-RU" sz="980">
                <a:solidFill>
                  <a:srgbClr val="6D6E71"/>
                </a:solidFill>
                <a:latin typeface="Roboto"/>
                <a:cs typeface="Roboto"/>
              </a:rPr>
              <a:t>развития.</a:t>
            </a:r>
            <a:endParaRPr lang="ru-RU" sz="980">
              <a:latin typeface="Roboto"/>
              <a:cs typeface="Roboto"/>
            </a:endParaRPr>
          </a:p>
          <a:p>
            <a:pPr marL="12495" marR="5937">
              <a:lnSpc>
                <a:spcPts val="1259"/>
              </a:lnSpc>
              <a:spcBef>
                <a:spcPts val="945"/>
              </a:spcBef>
              <a:buClr>
                <a:srgbClr val="252C69"/>
              </a:buClr>
            </a:pPr>
            <a:endParaRPr lang="ru-RU" sz="980">
              <a:latin typeface="Roboto"/>
              <a:cs typeface="Roboto"/>
            </a:endParaRPr>
          </a:p>
        </p:txBody>
      </p:sp>
      <p:grpSp>
        <p:nvGrpSpPr>
          <p:cNvPr id="7" name="Группа 6">
            <a:extLst>
              <a:ext uri="{FF2B5EF4-FFF2-40B4-BE49-F238E27FC236}">
                <a16:creationId xmlns:a16="http://schemas.microsoft.com/office/drawing/2014/main" id="{53C1406E-2226-4630-8E91-C9ACD3AFAD90}"/>
              </a:ext>
            </a:extLst>
          </p:cNvPr>
          <p:cNvGrpSpPr/>
          <p:nvPr/>
        </p:nvGrpSpPr>
        <p:grpSpPr>
          <a:xfrm>
            <a:off x="344876" y="1996240"/>
            <a:ext cx="241361" cy="167713"/>
            <a:chOff x="8235951" y="3248026"/>
            <a:chExt cx="525463" cy="365125"/>
          </a:xfrm>
          <a:solidFill>
            <a:srgbClr val="252C69"/>
          </a:solidFill>
        </p:grpSpPr>
        <p:sp>
          <p:nvSpPr>
            <p:cNvPr id="8" name="Freeform 180">
              <a:extLst>
                <a:ext uri="{FF2B5EF4-FFF2-40B4-BE49-F238E27FC236}">
                  <a16:creationId xmlns:a16="http://schemas.microsoft.com/office/drawing/2014/main" id="{C5F6F3C3-D05C-49FD-82E2-E7BF678B1BAC}"/>
                </a:ext>
              </a:extLst>
            </p:cNvPr>
            <p:cNvSpPr>
              <a:spLocks/>
            </p:cNvSpPr>
            <p:nvPr/>
          </p:nvSpPr>
          <p:spPr bwMode="auto">
            <a:xfrm>
              <a:off x="8461376" y="3294063"/>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9" name="Freeform 181">
              <a:extLst>
                <a:ext uri="{FF2B5EF4-FFF2-40B4-BE49-F238E27FC236}">
                  <a16:creationId xmlns:a16="http://schemas.microsoft.com/office/drawing/2014/main" id="{2FFD6D66-9E15-4F54-9F98-7139131B97D7}"/>
                </a:ext>
              </a:extLst>
            </p:cNvPr>
            <p:cNvSpPr>
              <a:spLocks/>
            </p:cNvSpPr>
            <p:nvPr/>
          </p:nvSpPr>
          <p:spPr bwMode="auto">
            <a:xfrm>
              <a:off x="8618538" y="3248026"/>
              <a:ext cx="76200"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1"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0" name="Freeform 182">
              <a:extLst>
                <a:ext uri="{FF2B5EF4-FFF2-40B4-BE49-F238E27FC236}">
                  <a16:creationId xmlns:a16="http://schemas.microsoft.com/office/drawing/2014/main" id="{C485C1C5-8EB7-48CD-8A6F-9A2C7D7F45DB}"/>
                </a:ext>
              </a:extLst>
            </p:cNvPr>
            <p:cNvSpPr>
              <a:spLocks/>
            </p:cNvSpPr>
            <p:nvPr/>
          </p:nvSpPr>
          <p:spPr bwMode="auto">
            <a:xfrm>
              <a:off x="8562976" y="3371851"/>
              <a:ext cx="198438" cy="195263"/>
            </a:xfrm>
            <a:custGeom>
              <a:avLst/>
              <a:gdLst>
                <a:gd name="T0" fmla="*/ 45 w 53"/>
                <a:gd name="T1" fmla="*/ 5 h 51"/>
                <a:gd name="T2" fmla="*/ 25 w 53"/>
                <a:gd name="T3" fmla="*/ 0 h 51"/>
                <a:gd name="T4" fmla="*/ 5 w 53"/>
                <a:gd name="T5" fmla="*/ 5 h 51"/>
                <a:gd name="T6" fmla="*/ 0 w 53"/>
                <a:gd name="T7" fmla="*/ 10 h 51"/>
                <a:gd name="T8" fmla="*/ 6 w 53"/>
                <a:gd name="T9" fmla="*/ 12 h 51"/>
                <a:gd name="T10" fmla="*/ 18 w 53"/>
                <a:gd name="T11" fmla="*/ 31 h 51"/>
                <a:gd name="T12" fmla="*/ 18 w 53"/>
                <a:gd name="T13" fmla="*/ 51 h 51"/>
                <a:gd name="T14" fmla="*/ 53 w 53"/>
                <a:gd name="T15" fmla="*/ 51 h 51"/>
                <a:gd name="T16" fmla="*/ 53 w 53"/>
                <a:gd name="T17" fmla="*/ 19 h 51"/>
                <a:gd name="T18" fmla="*/ 45 w 53"/>
                <a:gd name="T19"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45" y="5"/>
                  </a:moveTo>
                  <a:cubicBezTo>
                    <a:pt x="41" y="3"/>
                    <a:pt x="28" y="0"/>
                    <a:pt x="25" y="0"/>
                  </a:cubicBezTo>
                  <a:cubicBezTo>
                    <a:pt x="21" y="0"/>
                    <a:pt x="9" y="3"/>
                    <a:pt x="5" y="5"/>
                  </a:cubicBezTo>
                  <a:cubicBezTo>
                    <a:pt x="3" y="6"/>
                    <a:pt x="1" y="8"/>
                    <a:pt x="0" y="10"/>
                  </a:cubicBezTo>
                  <a:cubicBezTo>
                    <a:pt x="2" y="10"/>
                    <a:pt x="4" y="11"/>
                    <a:pt x="6" y="12"/>
                  </a:cubicBezTo>
                  <a:cubicBezTo>
                    <a:pt x="13" y="15"/>
                    <a:pt x="18" y="21"/>
                    <a:pt x="18" y="31"/>
                  </a:cubicBezTo>
                  <a:cubicBezTo>
                    <a:pt x="18" y="34"/>
                    <a:pt x="18" y="51"/>
                    <a:pt x="18" y="51"/>
                  </a:cubicBezTo>
                  <a:cubicBezTo>
                    <a:pt x="53" y="51"/>
                    <a:pt x="53" y="51"/>
                    <a:pt x="53" y="51"/>
                  </a:cubicBezTo>
                  <a:cubicBezTo>
                    <a:pt x="53" y="51"/>
                    <a:pt x="53" y="20"/>
                    <a:pt x="53" y="19"/>
                  </a:cubicBezTo>
                  <a:cubicBezTo>
                    <a:pt x="53" y="11"/>
                    <a:pt x="49" y="7"/>
                    <a:pt x="4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1" name="Freeform 183">
              <a:extLst>
                <a:ext uri="{FF2B5EF4-FFF2-40B4-BE49-F238E27FC236}">
                  <a16:creationId xmlns:a16="http://schemas.microsoft.com/office/drawing/2014/main" id="{BA529436-339B-4BE2-9C53-765D15B84C6F}"/>
                </a:ext>
              </a:extLst>
            </p:cNvPr>
            <p:cNvSpPr>
              <a:spLocks/>
            </p:cNvSpPr>
            <p:nvPr/>
          </p:nvSpPr>
          <p:spPr bwMode="auto">
            <a:xfrm>
              <a:off x="8304213" y="3248026"/>
              <a:ext cx="74613" cy="115888"/>
            </a:xfrm>
            <a:custGeom>
              <a:avLst/>
              <a:gdLst>
                <a:gd name="T0" fmla="*/ 10 w 20"/>
                <a:gd name="T1" fmla="*/ 30 h 30"/>
                <a:gd name="T2" fmla="*/ 19 w 20"/>
                <a:gd name="T3" fmla="*/ 19 h 30"/>
                <a:gd name="T4" fmla="*/ 19 w 20"/>
                <a:gd name="T5" fmla="*/ 10 h 30"/>
                <a:gd name="T6" fmla="*/ 10 w 20"/>
                <a:gd name="T7" fmla="*/ 0 h 30"/>
                <a:gd name="T8" fmla="*/ 0 w 20"/>
                <a:gd name="T9" fmla="*/ 10 h 30"/>
                <a:gd name="T10" fmla="*/ 1 w 20"/>
                <a:gd name="T11" fmla="*/ 19 h 30"/>
                <a:gd name="T12" fmla="*/ 1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10" y="30"/>
                  </a:moveTo>
                  <a:cubicBezTo>
                    <a:pt x="16" y="30"/>
                    <a:pt x="18" y="22"/>
                    <a:pt x="19" y="19"/>
                  </a:cubicBezTo>
                  <a:cubicBezTo>
                    <a:pt x="19" y="15"/>
                    <a:pt x="19" y="14"/>
                    <a:pt x="19" y="10"/>
                  </a:cubicBezTo>
                  <a:cubicBezTo>
                    <a:pt x="20" y="5"/>
                    <a:pt x="17" y="0"/>
                    <a:pt x="10" y="0"/>
                  </a:cubicBezTo>
                  <a:cubicBezTo>
                    <a:pt x="3" y="0"/>
                    <a:pt x="0" y="5"/>
                    <a:pt x="0" y="10"/>
                  </a:cubicBezTo>
                  <a:cubicBezTo>
                    <a:pt x="0" y="14"/>
                    <a:pt x="0" y="15"/>
                    <a:pt x="1" y="19"/>
                  </a:cubicBezTo>
                  <a:cubicBezTo>
                    <a:pt x="1" y="22"/>
                    <a:pt x="4" y="30"/>
                    <a:pt x="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2" name="Freeform 184">
              <a:extLst>
                <a:ext uri="{FF2B5EF4-FFF2-40B4-BE49-F238E27FC236}">
                  <a16:creationId xmlns:a16="http://schemas.microsoft.com/office/drawing/2014/main" id="{9404ED22-B90D-4D52-8C94-D291AE8EAF39}"/>
                </a:ext>
              </a:extLst>
            </p:cNvPr>
            <p:cNvSpPr>
              <a:spLocks/>
            </p:cNvSpPr>
            <p:nvPr/>
          </p:nvSpPr>
          <p:spPr bwMode="auto">
            <a:xfrm>
              <a:off x="8235951" y="3371851"/>
              <a:ext cx="200025" cy="195263"/>
            </a:xfrm>
            <a:custGeom>
              <a:avLst/>
              <a:gdLst>
                <a:gd name="T0" fmla="*/ 53 w 53"/>
                <a:gd name="T1" fmla="*/ 10 h 51"/>
                <a:gd name="T2" fmla="*/ 48 w 53"/>
                <a:gd name="T3" fmla="*/ 5 h 51"/>
                <a:gd name="T4" fmla="*/ 28 w 53"/>
                <a:gd name="T5" fmla="*/ 0 h 51"/>
                <a:gd name="T6" fmla="*/ 8 w 53"/>
                <a:gd name="T7" fmla="*/ 5 h 51"/>
                <a:gd name="T8" fmla="*/ 0 w 53"/>
                <a:gd name="T9" fmla="*/ 19 h 51"/>
                <a:gd name="T10" fmla="*/ 0 w 53"/>
                <a:gd name="T11" fmla="*/ 51 h 51"/>
                <a:gd name="T12" fmla="*/ 35 w 53"/>
                <a:gd name="T13" fmla="*/ 51 h 51"/>
                <a:gd name="T14" fmla="*/ 35 w 53"/>
                <a:gd name="T15" fmla="*/ 31 h 51"/>
                <a:gd name="T16" fmla="*/ 47 w 53"/>
                <a:gd name="T17" fmla="*/ 12 h 51"/>
                <a:gd name="T18" fmla="*/ 53 w 53"/>
                <a:gd name="T19"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1">
                  <a:moveTo>
                    <a:pt x="53" y="10"/>
                  </a:moveTo>
                  <a:cubicBezTo>
                    <a:pt x="51" y="8"/>
                    <a:pt x="50" y="6"/>
                    <a:pt x="48" y="5"/>
                  </a:cubicBezTo>
                  <a:cubicBezTo>
                    <a:pt x="44" y="3"/>
                    <a:pt x="31" y="0"/>
                    <a:pt x="28" y="0"/>
                  </a:cubicBezTo>
                  <a:cubicBezTo>
                    <a:pt x="24" y="0"/>
                    <a:pt x="12" y="3"/>
                    <a:pt x="8" y="5"/>
                  </a:cubicBezTo>
                  <a:cubicBezTo>
                    <a:pt x="3" y="7"/>
                    <a:pt x="0" y="11"/>
                    <a:pt x="0" y="19"/>
                  </a:cubicBezTo>
                  <a:cubicBezTo>
                    <a:pt x="0" y="20"/>
                    <a:pt x="0" y="51"/>
                    <a:pt x="0" y="51"/>
                  </a:cubicBezTo>
                  <a:cubicBezTo>
                    <a:pt x="35" y="51"/>
                    <a:pt x="35" y="51"/>
                    <a:pt x="35" y="51"/>
                  </a:cubicBezTo>
                  <a:cubicBezTo>
                    <a:pt x="35" y="51"/>
                    <a:pt x="35" y="34"/>
                    <a:pt x="35" y="31"/>
                  </a:cubicBezTo>
                  <a:cubicBezTo>
                    <a:pt x="35" y="21"/>
                    <a:pt x="40" y="15"/>
                    <a:pt x="47" y="12"/>
                  </a:cubicBezTo>
                  <a:cubicBezTo>
                    <a:pt x="48" y="11"/>
                    <a:pt x="50" y="10"/>
                    <a:pt x="5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13" name="Freeform 185">
              <a:extLst>
                <a:ext uri="{FF2B5EF4-FFF2-40B4-BE49-F238E27FC236}">
                  <a16:creationId xmlns:a16="http://schemas.microsoft.com/office/drawing/2014/main" id="{A41F5B4B-C3C7-4DE8-8379-EC72E6DBBF20}"/>
                </a:ext>
              </a:extLst>
            </p:cNvPr>
            <p:cNvSpPr>
              <a:spLocks noEditPoints="1"/>
            </p:cNvSpPr>
            <p:nvPr/>
          </p:nvSpPr>
          <p:spPr bwMode="auto">
            <a:xfrm>
              <a:off x="8389938" y="3417888"/>
              <a:ext cx="217488" cy="195263"/>
            </a:xfrm>
            <a:custGeom>
              <a:avLst/>
              <a:gdLst>
                <a:gd name="T0" fmla="*/ 49 w 58"/>
                <a:gd name="T1" fmla="*/ 5 h 51"/>
                <a:gd name="T2" fmla="*/ 29 w 58"/>
                <a:gd name="T3" fmla="*/ 0 h 51"/>
                <a:gd name="T4" fmla="*/ 8 w 58"/>
                <a:gd name="T5" fmla="*/ 5 h 51"/>
                <a:gd name="T6" fmla="*/ 0 w 58"/>
                <a:gd name="T7" fmla="*/ 20 h 51"/>
                <a:gd name="T8" fmla="*/ 0 w 58"/>
                <a:gd name="T9" fmla="*/ 51 h 51"/>
                <a:gd name="T10" fmla="*/ 58 w 58"/>
                <a:gd name="T11" fmla="*/ 51 h 51"/>
                <a:gd name="T12" fmla="*/ 58 w 58"/>
                <a:gd name="T13" fmla="*/ 20 h 51"/>
                <a:gd name="T14" fmla="*/ 49 w 58"/>
                <a:gd name="T15" fmla="*/ 5 h 51"/>
                <a:gd name="T16" fmla="*/ 53 w 58"/>
                <a:gd name="T17" fmla="*/ 46 h 51"/>
                <a:gd name="T18" fmla="*/ 5 w 58"/>
                <a:gd name="T19" fmla="*/ 46 h 51"/>
                <a:gd name="T20" fmla="*/ 5 w 58"/>
                <a:gd name="T21" fmla="*/ 20 h 51"/>
                <a:gd name="T22" fmla="*/ 10 w 58"/>
                <a:gd name="T23" fmla="*/ 10 h 51"/>
                <a:gd name="T24" fmla="*/ 29 w 58"/>
                <a:gd name="T25" fmla="*/ 5 h 51"/>
                <a:gd name="T26" fmla="*/ 47 w 58"/>
                <a:gd name="T27" fmla="*/ 10 h 51"/>
                <a:gd name="T28" fmla="*/ 53 w 58"/>
                <a:gd name="T29" fmla="*/ 20 h 51"/>
                <a:gd name="T30" fmla="*/ 53 w 58"/>
                <a:gd name="T31" fmla="*/ 4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51">
                  <a:moveTo>
                    <a:pt x="49" y="5"/>
                  </a:moveTo>
                  <a:cubicBezTo>
                    <a:pt x="45" y="3"/>
                    <a:pt x="32" y="0"/>
                    <a:pt x="29" y="0"/>
                  </a:cubicBezTo>
                  <a:cubicBezTo>
                    <a:pt x="25" y="0"/>
                    <a:pt x="12" y="3"/>
                    <a:pt x="8" y="5"/>
                  </a:cubicBezTo>
                  <a:cubicBezTo>
                    <a:pt x="1" y="8"/>
                    <a:pt x="0" y="15"/>
                    <a:pt x="0" y="20"/>
                  </a:cubicBezTo>
                  <a:cubicBezTo>
                    <a:pt x="0" y="22"/>
                    <a:pt x="0" y="30"/>
                    <a:pt x="0" y="51"/>
                  </a:cubicBezTo>
                  <a:cubicBezTo>
                    <a:pt x="58" y="51"/>
                    <a:pt x="58" y="51"/>
                    <a:pt x="58" y="51"/>
                  </a:cubicBezTo>
                  <a:cubicBezTo>
                    <a:pt x="58" y="30"/>
                    <a:pt x="58" y="22"/>
                    <a:pt x="58" y="20"/>
                  </a:cubicBezTo>
                  <a:cubicBezTo>
                    <a:pt x="58" y="16"/>
                    <a:pt x="57" y="8"/>
                    <a:pt x="49" y="5"/>
                  </a:cubicBezTo>
                  <a:close/>
                  <a:moveTo>
                    <a:pt x="53" y="46"/>
                  </a:moveTo>
                  <a:cubicBezTo>
                    <a:pt x="5" y="46"/>
                    <a:pt x="5" y="46"/>
                    <a:pt x="5" y="46"/>
                  </a:cubicBezTo>
                  <a:cubicBezTo>
                    <a:pt x="5" y="46"/>
                    <a:pt x="5" y="21"/>
                    <a:pt x="5" y="20"/>
                  </a:cubicBezTo>
                  <a:cubicBezTo>
                    <a:pt x="5" y="14"/>
                    <a:pt x="7" y="11"/>
                    <a:pt x="10" y="10"/>
                  </a:cubicBezTo>
                  <a:cubicBezTo>
                    <a:pt x="14" y="8"/>
                    <a:pt x="26" y="5"/>
                    <a:pt x="29" y="5"/>
                  </a:cubicBezTo>
                  <a:cubicBezTo>
                    <a:pt x="31" y="5"/>
                    <a:pt x="44" y="8"/>
                    <a:pt x="47" y="10"/>
                  </a:cubicBezTo>
                  <a:cubicBezTo>
                    <a:pt x="50" y="11"/>
                    <a:pt x="53" y="15"/>
                    <a:pt x="53" y="20"/>
                  </a:cubicBezTo>
                  <a:cubicBezTo>
                    <a:pt x="53" y="21"/>
                    <a:pt x="53" y="46"/>
                    <a:pt x="5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14" name="object 5">
            <a:extLst>
              <a:ext uri="{FF2B5EF4-FFF2-40B4-BE49-F238E27FC236}">
                <a16:creationId xmlns:a16="http://schemas.microsoft.com/office/drawing/2014/main" id="{60A86824-E79D-4207-95FC-1AD2D30EDBC9}"/>
              </a:ext>
            </a:extLst>
          </p:cNvPr>
          <p:cNvSpPr/>
          <p:nvPr/>
        </p:nvSpPr>
        <p:spPr>
          <a:xfrm flipH="1">
            <a:off x="672533" y="1944060"/>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5" name="object 5">
            <a:extLst>
              <a:ext uri="{FF2B5EF4-FFF2-40B4-BE49-F238E27FC236}">
                <a16:creationId xmlns:a16="http://schemas.microsoft.com/office/drawing/2014/main" id="{9226C096-C552-4C57-821A-9ED9928E5404}"/>
              </a:ext>
            </a:extLst>
          </p:cNvPr>
          <p:cNvSpPr/>
          <p:nvPr/>
        </p:nvSpPr>
        <p:spPr>
          <a:xfrm flipH="1">
            <a:off x="672533" y="2245623"/>
            <a:ext cx="71977" cy="49025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17" name="object 4">
            <a:extLst>
              <a:ext uri="{FF2B5EF4-FFF2-40B4-BE49-F238E27FC236}">
                <a16:creationId xmlns:a16="http://schemas.microsoft.com/office/drawing/2014/main" id="{52121A5A-20CF-43AD-A97D-E76619D6987D}"/>
              </a:ext>
            </a:extLst>
          </p:cNvPr>
          <p:cNvSpPr txBox="1"/>
          <p:nvPr/>
        </p:nvSpPr>
        <p:spPr>
          <a:xfrm>
            <a:off x="833058" y="2894107"/>
            <a:ext cx="5467333" cy="900746"/>
          </a:xfrm>
          <a:prstGeom prst="rect">
            <a:avLst/>
          </a:prstGeom>
        </p:spPr>
        <p:txBody>
          <a:bodyPr vert="horz" wrap="square" lIns="0" tIns="13195" rIns="0" bIns="0" rtlCol="0">
            <a:spAutoFit/>
          </a:bodyPr>
          <a:lstStyle/>
          <a:p>
            <a:pPr marL="12497" marR="5277">
              <a:lnSpc>
                <a:spcPts val="1259"/>
              </a:lnSpc>
              <a:spcBef>
                <a:spcPts val="945"/>
              </a:spcBef>
              <a:buClr>
                <a:srgbClr val="252C69"/>
              </a:buClr>
            </a:pPr>
            <a:r>
              <a:rPr lang="ru-RU" sz="980" spc="-5" err="1">
                <a:solidFill>
                  <a:srgbClr val="6D6E71"/>
                </a:solidFill>
                <a:latin typeface="Roboto"/>
                <a:cs typeface="Roboto"/>
              </a:rPr>
              <a:t>Взаимоувязывание</a:t>
            </a:r>
            <a:r>
              <a:rPr lang="ru-RU" sz="980" spc="-5">
                <a:solidFill>
                  <a:srgbClr val="6D6E71"/>
                </a:solidFill>
                <a:latin typeface="Roboto"/>
                <a:cs typeface="Roboto"/>
              </a:rPr>
              <a:t> интегрированного профиля </a:t>
            </a:r>
            <a:r>
              <a:rPr lang="ru-RU" sz="980" spc="-11">
                <a:solidFill>
                  <a:srgbClr val="6D6E71"/>
                </a:solidFill>
                <a:latin typeface="Roboto"/>
                <a:cs typeface="Roboto"/>
              </a:rPr>
              <a:t>компетенций </a:t>
            </a:r>
            <a:r>
              <a:rPr lang="ru-RU" sz="980">
                <a:solidFill>
                  <a:srgbClr val="6D6E71"/>
                </a:solidFill>
                <a:latin typeface="Roboto"/>
                <a:cs typeface="Roboto"/>
              </a:rPr>
              <a:t>с надежной </a:t>
            </a:r>
            <a:r>
              <a:rPr lang="ru-RU" sz="980" spc="-5">
                <a:solidFill>
                  <a:srgbClr val="6D6E71"/>
                </a:solidFill>
                <a:latin typeface="Roboto"/>
                <a:cs typeface="Roboto"/>
              </a:rPr>
              <a:t>системой </a:t>
            </a:r>
            <a:br>
              <a:rPr lang="ru-RU" sz="980" spc="-5">
                <a:solidFill>
                  <a:srgbClr val="6D6E71"/>
                </a:solidFill>
                <a:latin typeface="Roboto"/>
                <a:cs typeface="Roboto"/>
              </a:rPr>
            </a:br>
            <a:r>
              <a:rPr lang="ru-RU" sz="980" spc="-5">
                <a:solidFill>
                  <a:srgbClr val="6D6E71"/>
                </a:solidFill>
                <a:latin typeface="Roboto"/>
                <a:cs typeface="Roboto"/>
              </a:rPr>
              <a:t>оценки позволяет обучать </a:t>
            </a:r>
            <a:r>
              <a:rPr lang="ru-RU" sz="980" spc="-11">
                <a:solidFill>
                  <a:srgbClr val="6D6E71"/>
                </a:solidFill>
                <a:latin typeface="Roboto"/>
                <a:cs typeface="Roboto"/>
              </a:rPr>
              <a:t>только тех, кого </a:t>
            </a:r>
            <a:r>
              <a:rPr lang="ru-RU" sz="980">
                <a:solidFill>
                  <a:srgbClr val="6D6E71"/>
                </a:solidFill>
                <a:latin typeface="Roboto"/>
                <a:cs typeface="Roboto"/>
              </a:rPr>
              <a:t>нужно, </a:t>
            </a:r>
            <a:r>
              <a:rPr lang="ru-RU" sz="980" spc="-20">
                <a:solidFill>
                  <a:srgbClr val="6D6E71"/>
                </a:solidFill>
                <a:latin typeface="Roboto"/>
                <a:cs typeface="Roboto"/>
              </a:rPr>
              <a:t>тому, </a:t>
            </a:r>
            <a:r>
              <a:rPr lang="ru-RU" sz="980" spc="-11">
                <a:solidFill>
                  <a:srgbClr val="6D6E71"/>
                </a:solidFill>
                <a:latin typeface="Roboto"/>
                <a:cs typeface="Roboto"/>
              </a:rPr>
              <a:t>что</a:t>
            </a:r>
            <a:r>
              <a:rPr lang="ru-RU" sz="980" spc="20">
                <a:solidFill>
                  <a:srgbClr val="6D6E71"/>
                </a:solidFill>
                <a:latin typeface="Roboto"/>
                <a:cs typeface="Roboto"/>
              </a:rPr>
              <a:t> </a:t>
            </a:r>
            <a:r>
              <a:rPr lang="ru-RU" sz="980" spc="-11">
                <a:solidFill>
                  <a:srgbClr val="6D6E71"/>
                </a:solidFill>
                <a:latin typeface="Roboto"/>
                <a:cs typeface="Roboto"/>
              </a:rPr>
              <a:t>необходимо. </a:t>
            </a:r>
          </a:p>
          <a:p>
            <a:pPr marL="12497" marR="5277">
              <a:lnSpc>
                <a:spcPts val="1259"/>
              </a:lnSpc>
              <a:spcBef>
                <a:spcPts val="945"/>
              </a:spcBef>
              <a:buClr>
                <a:srgbClr val="252C69"/>
              </a:buClr>
            </a:pPr>
            <a:r>
              <a:rPr lang="ru-RU" sz="980" spc="-20">
                <a:solidFill>
                  <a:srgbClr val="6D6E71"/>
                </a:solidFill>
                <a:latin typeface="Roboto"/>
                <a:cs typeface="Roboto"/>
              </a:rPr>
              <a:t>Гибкие </a:t>
            </a:r>
            <a:r>
              <a:rPr lang="ru-RU" sz="980" spc="-5">
                <a:solidFill>
                  <a:srgbClr val="6D6E71"/>
                </a:solidFill>
                <a:latin typeface="Roboto"/>
                <a:cs typeface="Roboto"/>
              </a:rPr>
              <a:t>инструменты позволяют формировать индивидуальные треки</a:t>
            </a:r>
            <a:r>
              <a:rPr lang="ru-RU" sz="980" spc="16">
                <a:solidFill>
                  <a:srgbClr val="6D6E71"/>
                </a:solidFill>
                <a:latin typeface="Roboto"/>
                <a:cs typeface="Roboto"/>
              </a:rPr>
              <a:t> </a:t>
            </a:r>
            <a:r>
              <a:rPr lang="ru-RU" sz="980">
                <a:solidFill>
                  <a:srgbClr val="6D6E71"/>
                </a:solidFill>
                <a:latin typeface="Roboto"/>
                <a:cs typeface="Roboto"/>
              </a:rPr>
              <a:t>развития.</a:t>
            </a:r>
            <a:endParaRPr lang="ru-RU" sz="980">
              <a:latin typeface="Roboto"/>
              <a:cs typeface="Roboto"/>
            </a:endParaRPr>
          </a:p>
          <a:p>
            <a:pPr marL="12495" marR="5937">
              <a:lnSpc>
                <a:spcPts val="1259"/>
              </a:lnSpc>
              <a:spcBef>
                <a:spcPts val="945"/>
              </a:spcBef>
              <a:buClr>
                <a:srgbClr val="252C69"/>
              </a:buClr>
            </a:pPr>
            <a:endParaRPr lang="ru-RU" sz="980">
              <a:latin typeface="Roboto"/>
              <a:cs typeface="Roboto"/>
            </a:endParaRPr>
          </a:p>
        </p:txBody>
      </p:sp>
      <p:grpSp>
        <p:nvGrpSpPr>
          <p:cNvPr id="18" name="Группа 17">
            <a:extLst>
              <a:ext uri="{FF2B5EF4-FFF2-40B4-BE49-F238E27FC236}">
                <a16:creationId xmlns:a16="http://schemas.microsoft.com/office/drawing/2014/main" id="{BF684E1B-7B9E-4BC8-B4AC-857717CE6741}"/>
              </a:ext>
            </a:extLst>
          </p:cNvPr>
          <p:cNvGrpSpPr/>
          <p:nvPr/>
        </p:nvGrpSpPr>
        <p:grpSpPr>
          <a:xfrm>
            <a:off x="323111" y="2962658"/>
            <a:ext cx="255244" cy="181832"/>
            <a:chOff x="10502900" y="3167063"/>
            <a:chExt cx="717550" cy="511176"/>
          </a:xfrm>
          <a:solidFill>
            <a:srgbClr val="252C69"/>
          </a:solidFill>
        </p:grpSpPr>
        <p:sp>
          <p:nvSpPr>
            <p:cNvPr id="19" name="Freeform 214">
              <a:extLst>
                <a:ext uri="{FF2B5EF4-FFF2-40B4-BE49-F238E27FC236}">
                  <a16:creationId xmlns:a16="http://schemas.microsoft.com/office/drawing/2014/main" id="{1FEFE708-5DEC-4932-8EE8-5BF819C77AAB}"/>
                </a:ext>
              </a:extLst>
            </p:cNvPr>
            <p:cNvSpPr>
              <a:spLocks noEditPoints="1"/>
            </p:cNvSpPr>
            <p:nvPr/>
          </p:nvSpPr>
          <p:spPr bwMode="auto">
            <a:xfrm>
              <a:off x="10909300" y="3228976"/>
              <a:ext cx="311150" cy="307975"/>
            </a:xfrm>
            <a:custGeom>
              <a:avLst/>
              <a:gdLst>
                <a:gd name="T0" fmla="*/ 81 w 83"/>
                <a:gd name="T1" fmla="*/ 36 h 80"/>
                <a:gd name="T2" fmla="*/ 72 w 83"/>
                <a:gd name="T3" fmla="*/ 25 h 80"/>
                <a:gd name="T4" fmla="*/ 76 w 83"/>
                <a:gd name="T5" fmla="*/ 18 h 80"/>
                <a:gd name="T6" fmla="*/ 71 w 83"/>
                <a:gd name="T7" fmla="*/ 13 h 80"/>
                <a:gd name="T8" fmla="*/ 58 w 83"/>
                <a:gd name="T9" fmla="*/ 10 h 80"/>
                <a:gd name="T10" fmla="*/ 56 w 83"/>
                <a:gd name="T11" fmla="*/ 1 h 80"/>
                <a:gd name="T12" fmla="*/ 49 w 83"/>
                <a:gd name="T13" fmla="*/ 1 h 80"/>
                <a:gd name="T14" fmla="*/ 41 w 83"/>
                <a:gd name="T15" fmla="*/ 6 h 80"/>
                <a:gd name="T16" fmla="*/ 33 w 83"/>
                <a:gd name="T17" fmla="*/ 1 h 80"/>
                <a:gd name="T18" fmla="*/ 27 w 83"/>
                <a:gd name="T19" fmla="*/ 1 h 80"/>
                <a:gd name="T20" fmla="*/ 25 w 83"/>
                <a:gd name="T21" fmla="*/ 10 h 80"/>
                <a:gd name="T22" fmla="*/ 12 w 83"/>
                <a:gd name="T23" fmla="*/ 13 h 80"/>
                <a:gd name="T24" fmla="*/ 7 w 83"/>
                <a:gd name="T25" fmla="*/ 18 h 80"/>
                <a:gd name="T26" fmla="*/ 11 w 83"/>
                <a:gd name="T27" fmla="*/ 25 h 80"/>
                <a:gd name="T28" fmla="*/ 2 w 83"/>
                <a:gd name="T29" fmla="*/ 36 h 80"/>
                <a:gd name="T30" fmla="*/ 0 w 83"/>
                <a:gd name="T31" fmla="*/ 40 h 80"/>
                <a:gd name="T32" fmla="*/ 2 w 83"/>
                <a:gd name="T33" fmla="*/ 45 h 80"/>
                <a:gd name="T34" fmla="*/ 11 w 83"/>
                <a:gd name="T35" fmla="*/ 55 h 80"/>
                <a:gd name="T36" fmla="*/ 7 w 83"/>
                <a:gd name="T37" fmla="*/ 63 h 80"/>
                <a:gd name="T38" fmla="*/ 12 w 83"/>
                <a:gd name="T39" fmla="*/ 67 h 80"/>
                <a:gd name="T40" fmla="*/ 25 w 83"/>
                <a:gd name="T41" fmla="*/ 70 h 80"/>
                <a:gd name="T42" fmla="*/ 27 w 83"/>
                <a:gd name="T43" fmla="*/ 79 h 80"/>
                <a:gd name="T44" fmla="*/ 33 w 83"/>
                <a:gd name="T45" fmla="*/ 79 h 80"/>
                <a:gd name="T46" fmla="*/ 41 w 83"/>
                <a:gd name="T47" fmla="*/ 74 h 80"/>
                <a:gd name="T48" fmla="*/ 49 w 83"/>
                <a:gd name="T49" fmla="*/ 79 h 80"/>
                <a:gd name="T50" fmla="*/ 56 w 83"/>
                <a:gd name="T51" fmla="*/ 79 h 80"/>
                <a:gd name="T52" fmla="*/ 58 w 83"/>
                <a:gd name="T53" fmla="*/ 70 h 80"/>
                <a:gd name="T54" fmla="*/ 71 w 83"/>
                <a:gd name="T55" fmla="*/ 67 h 80"/>
                <a:gd name="T56" fmla="*/ 76 w 83"/>
                <a:gd name="T57" fmla="*/ 63 h 80"/>
                <a:gd name="T58" fmla="*/ 72 w 83"/>
                <a:gd name="T59" fmla="*/ 55 h 80"/>
                <a:gd name="T60" fmla="*/ 81 w 83"/>
                <a:gd name="T61" fmla="*/ 45 h 80"/>
                <a:gd name="T62" fmla="*/ 83 w 83"/>
                <a:gd name="T63" fmla="*/ 40 h 80"/>
                <a:gd name="T64" fmla="*/ 41 w 83"/>
                <a:gd name="T65" fmla="*/ 64 h 80"/>
                <a:gd name="T66" fmla="*/ 41 w 83"/>
                <a:gd name="T67" fmla="*/ 16 h 80"/>
                <a:gd name="T68" fmla="*/ 41 w 83"/>
                <a:gd name="T69"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0">
                  <a:moveTo>
                    <a:pt x="83" y="38"/>
                  </a:moveTo>
                  <a:cubicBezTo>
                    <a:pt x="83" y="37"/>
                    <a:pt x="82" y="36"/>
                    <a:pt x="81" y="36"/>
                  </a:cubicBezTo>
                  <a:cubicBezTo>
                    <a:pt x="75" y="34"/>
                    <a:pt x="75" y="34"/>
                    <a:pt x="75" y="34"/>
                  </a:cubicBezTo>
                  <a:cubicBezTo>
                    <a:pt x="74" y="31"/>
                    <a:pt x="74" y="28"/>
                    <a:pt x="72" y="25"/>
                  </a:cubicBezTo>
                  <a:cubicBezTo>
                    <a:pt x="76" y="21"/>
                    <a:pt x="76" y="21"/>
                    <a:pt x="76" y="21"/>
                  </a:cubicBezTo>
                  <a:cubicBezTo>
                    <a:pt x="77" y="20"/>
                    <a:pt x="77" y="18"/>
                    <a:pt x="76" y="18"/>
                  </a:cubicBezTo>
                  <a:cubicBezTo>
                    <a:pt x="74" y="14"/>
                    <a:pt x="74" y="14"/>
                    <a:pt x="74" y="14"/>
                  </a:cubicBezTo>
                  <a:cubicBezTo>
                    <a:pt x="73" y="13"/>
                    <a:pt x="72" y="13"/>
                    <a:pt x="71" y="13"/>
                  </a:cubicBezTo>
                  <a:cubicBezTo>
                    <a:pt x="65" y="15"/>
                    <a:pt x="65" y="15"/>
                    <a:pt x="65" y="15"/>
                  </a:cubicBezTo>
                  <a:cubicBezTo>
                    <a:pt x="63" y="13"/>
                    <a:pt x="60" y="11"/>
                    <a:pt x="58" y="10"/>
                  </a:cubicBezTo>
                  <a:cubicBezTo>
                    <a:pt x="58" y="4"/>
                    <a:pt x="58" y="4"/>
                    <a:pt x="58" y="4"/>
                  </a:cubicBezTo>
                  <a:cubicBezTo>
                    <a:pt x="58" y="3"/>
                    <a:pt x="57" y="2"/>
                    <a:pt x="56" y="1"/>
                  </a:cubicBezTo>
                  <a:cubicBezTo>
                    <a:pt x="52" y="0"/>
                    <a:pt x="52" y="0"/>
                    <a:pt x="52" y="0"/>
                  </a:cubicBezTo>
                  <a:cubicBezTo>
                    <a:pt x="51" y="0"/>
                    <a:pt x="50" y="0"/>
                    <a:pt x="49" y="1"/>
                  </a:cubicBezTo>
                  <a:cubicBezTo>
                    <a:pt x="46" y="6"/>
                    <a:pt x="46" y="6"/>
                    <a:pt x="46" y="6"/>
                  </a:cubicBezTo>
                  <a:cubicBezTo>
                    <a:pt x="44" y="6"/>
                    <a:pt x="43" y="6"/>
                    <a:pt x="41" y="6"/>
                  </a:cubicBezTo>
                  <a:cubicBezTo>
                    <a:pt x="40" y="6"/>
                    <a:pt x="38" y="6"/>
                    <a:pt x="37" y="6"/>
                  </a:cubicBezTo>
                  <a:cubicBezTo>
                    <a:pt x="33" y="1"/>
                    <a:pt x="33" y="1"/>
                    <a:pt x="33" y="1"/>
                  </a:cubicBezTo>
                  <a:cubicBezTo>
                    <a:pt x="33" y="0"/>
                    <a:pt x="32" y="0"/>
                    <a:pt x="31" y="0"/>
                  </a:cubicBezTo>
                  <a:cubicBezTo>
                    <a:pt x="27" y="1"/>
                    <a:pt x="27" y="1"/>
                    <a:pt x="27" y="1"/>
                  </a:cubicBezTo>
                  <a:cubicBezTo>
                    <a:pt x="26" y="2"/>
                    <a:pt x="25" y="3"/>
                    <a:pt x="25" y="4"/>
                  </a:cubicBezTo>
                  <a:cubicBezTo>
                    <a:pt x="25" y="10"/>
                    <a:pt x="25" y="10"/>
                    <a:pt x="25" y="10"/>
                  </a:cubicBezTo>
                  <a:cubicBezTo>
                    <a:pt x="22" y="11"/>
                    <a:pt x="20" y="13"/>
                    <a:pt x="18" y="15"/>
                  </a:cubicBezTo>
                  <a:cubicBezTo>
                    <a:pt x="12" y="13"/>
                    <a:pt x="12" y="13"/>
                    <a:pt x="12" y="13"/>
                  </a:cubicBezTo>
                  <a:cubicBezTo>
                    <a:pt x="11" y="13"/>
                    <a:pt x="10" y="13"/>
                    <a:pt x="9" y="14"/>
                  </a:cubicBezTo>
                  <a:cubicBezTo>
                    <a:pt x="7" y="18"/>
                    <a:pt x="7" y="18"/>
                    <a:pt x="7" y="18"/>
                  </a:cubicBezTo>
                  <a:cubicBezTo>
                    <a:pt x="6" y="18"/>
                    <a:pt x="6" y="20"/>
                    <a:pt x="7" y="21"/>
                  </a:cubicBezTo>
                  <a:cubicBezTo>
                    <a:pt x="11" y="25"/>
                    <a:pt x="11" y="25"/>
                    <a:pt x="11" y="25"/>
                  </a:cubicBezTo>
                  <a:cubicBezTo>
                    <a:pt x="9" y="28"/>
                    <a:pt x="8" y="31"/>
                    <a:pt x="8" y="34"/>
                  </a:cubicBezTo>
                  <a:cubicBezTo>
                    <a:pt x="2" y="36"/>
                    <a:pt x="2" y="36"/>
                    <a:pt x="2" y="36"/>
                  </a:cubicBezTo>
                  <a:cubicBezTo>
                    <a:pt x="1" y="36"/>
                    <a:pt x="0" y="37"/>
                    <a:pt x="0" y="38"/>
                  </a:cubicBezTo>
                  <a:cubicBezTo>
                    <a:pt x="0" y="38"/>
                    <a:pt x="0" y="39"/>
                    <a:pt x="0" y="40"/>
                  </a:cubicBezTo>
                  <a:cubicBezTo>
                    <a:pt x="0" y="41"/>
                    <a:pt x="0" y="42"/>
                    <a:pt x="0" y="42"/>
                  </a:cubicBezTo>
                  <a:cubicBezTo>
                    <a:pt x="0" y="43"/>
                    <a:pt x="1" y="44"/>
                    <a:pt x="2" y="45"/>
                  </a:cubicBezTo>
                  <a:cubicBezTo>
                    <a:pt x="8" y="46"/>
                    <a:pt x="8" y="46"/>
                    <a:pt x="8" y="46"/>
                  </a:cubicBezTo>
                  <a:cubicBezTo>
                    <a:pt x="8" y="49"/>
                    <a:pt x="9" y="52"/>
                    <a:pt x="11" y="55"/>
                  </a:cubicBezTo>
                  <a:cubicBezTo>
                    <a:pt x="7" y="60"/>
                    <a:pt x="7" y="60"/>
                    <a:pt x="7" y="60"/>
                  </a:cubicBezTo>
                  <a:cubicBezTo>
                    <a:pt x="6" y="61"/>
                    <a:pt x="6" y="62"/>
                    <a:pt x="7" y="63"/>
                  </a:cubicBezTo>
                  <a:cubicBezTo>
                    <a:pt x="9" y="66"/>
                    <a:pt x="9" y="66"/>
                    <a:pt x="9" y="66"/>
                  </a:cubicBezTo>
                  <a:cubicBezTo>
                    <a:pt x="10" y="67"/>
                    <a:pt x="11" y="67"/>
                    <a:pt x="12" y="67"/>
                  </a:cubicBezTo>
                  <a:cubicBezTo>
                    <a:pt x="18" y="65"/>
                    <a:pt x="18" y="65"/>
                    <a:pt x="18" y="65"/>
                  </a:cubicBezTo>
                  <a:cubicBezTo>
                    <a:pt x="20" y="67"/>
                    <a:pt x="22" y="69"/>
                    <a:pt x="25" y="70"/>
                  </a:cubicBezTo>
                  <a:cubicBezTo>
                    <a:pt x="25" y="76"/>
                    <a:pt x="25" y="76"/>
                    <a:pt x="25" y="76"/>
                  </a:cubicBezTo>
                  <a:cubicBezTo>
                    <a:pt x="25" y="77"/>
                    <a:pt x="26" y="79"/>
                    <a:pt x="27" y="79"/>
                  </a:cubicBezTo>
                  <a:cubicBezTo>
                    <a:pt x="31" y="80"/>
                    <a:pt x="31" y="80"/>
                    <a:pt x="31" y="80"/>
                  </a:cubicBezTo>
                  <a:cubicBezTo>
                    <a:pt x="32" y="80"/>
                    <a:pt x="33" y="80"/>
                    <a:pt x="33" y="79"/>
                  </a:cubicBezTo>
                  <a:cubicBezTo>
                    <a:pt x="37" y="74"/>
                    <a:pt x="37" y="74"/>
                    <a:pt x="37" y="74"/>
                  </a:cubicBezTo>
                  <a:cubicBezTo>
                    <a:pt x="38" y="74"/>
                    <a:pt x="40" y="74"/>
                    <a:pt x="41" y="74"/>
                  </a:cubicBezTo>
                  <a:cubicBezTo>
                    <a:pt x="43" y="74"/>
                    <a:pt x="44" y="74"/>
                    <a:pt x="46" y="74"/>
                  </a:cubicBezTo>
                  <a:cubicBezTo>
                    <a:pt x="49" y="79"/>
                    <a:pt x="49" y="79"/>
                    <a:pt x="49" y="79"/>
                  </a:cubicBezTo>
                  <a:cubicBezTo>
                    <a:pt x="50" y="80"/>
                    <a:pt x="51" y="80"/>
                    <a:pt x="52" y="80"/>
                  </a:cubicBezTo>
                  <a:cubicBezTo>
                    <a:pt x="56" y="79"/>
                    <a:pt x="56" y="79"/>
                    <a:pt x="56" y="79"/>
                  </a:cubicBezTo>
                  <a:cubicBezTo>
                    <a:pt x="57" y="79"/>
                    <a:pt x="58" y="77"/>
                    <a:pt x="58" y="76"/>
                  </a:cubicBezTo>
                  <a:cubicBezTo>
                    <a:pt x="58" y="70"/>
                    <a:pt x="58" y="70"/>
                    <a:pt x="58" y="70"/>
                  </a:cubicBezTo>
                  <a:cubicBezTo>
                    <a:pt x="60" y="69"/>
                    <a:pt x="63" y="67"/>
                    <a:pt x="65" y="65"/>
                  </a:cubicBezTo>
                  <a:cubicBezTo>
                    <a:pt x="71" y="67"/>
                    <a:pt x="71" y="67"/>
                    <a:pt x="71" y="67"/>
                  </a:cubicBezTo>
                  <a:cubicBezTo>
                    <a:pt x="72" y="67"/>
                    <a:pt x="73" y="67"/>
                    <a:pt x="74" y="66"/>
                  </a:cubicBezTo>
                  <a:cubicBezTo>
                    <a:pt x="76" y="63"/>
                    <a:pt x="76" y="63"/>
                    <a:pt x="76" y="63"/>
                  </a:cubicBezTo>
                  <a:cubicBezTo>
                    <a:pt x="77" y="62"/>
                    <a:pt x="77" y="61"/>
                    <a:pt x="76" y="60"/>
                  </a:cubicBezTo>
                  <a:cubicBezTo>
                    <a:pt x="72" y="55"/>
                    <a:pt x="72" y="55"/>
                    <a:pt x="72" y="55"/>
                  </a:cubicBezTo>
                  <a:cubicBezTo>
                    <a:pt x="73" y="52"/>
                    <a:pt x="74" y="49"/>
                    <a:pt x="75" y="46"/>
                  </a:cubicBezTo>
                  <a:cubicBezTo>
                    <a:pt x="81" y="45"/>
                    <a:pt x="81" y="45"/>
                    <a:pt x="81" y="45"/>
                  </a:cubicBezTo>
                  <a:cubicBezTo>
                    <a:pt x="82" y="44"/>
                    <a:pt x="83" y="43"/>
                    <a:pt x="83" y="42"/>
                  </a:cubicBezTo>
                  <a:cubicBezTo>
                    <a:pt x="83" y="42"/>
                    <a:pt x="83" y="41"/>
                    <a:pt x="83" y="40"/>
                  </a:cubicBezTo>
                  <a:cubicBezTo>
                    <a:pt x="83" y="39"/>
                    <a:pt x="83" y="38"/>
                    <a:pt x="83" y="38"/>
                  </a:cubicBezTo>
                  <a:close/>
                  <a:moveTo>
                    <a:pt x="41" y="64"/>
                  </a:moveTo>
                  <a:cubicBezTo>
                    <a:pt x="28" y="64"/>
                    <a:pt x="17" y="54"/>
                    <a:pt x="17" y="40"/>
                  </a:cubicBezTo>
                  <a:cubicBezTo>
                    <a:pt x="17" y="27"/>
                    <a:pt x="28" y="16"/>
                    <a:pt x="41" y="16"/>
                  </a:cubicBezTo>
                  <a:cubicBezTo>
                    <a:pt x="55" y="16"/>
                    <a:pt x="66" y="27"/>
                    <a:pt x="66" y="40"/>
                  </a:cubicBezTo>
                  <a:cubicBezTo>
                    <a:pt x="66" y="54"/>
                    <a:pt x="55" y="64"/>
                    <a:pt x="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0" name="Freeform 215">
              <a:extLst>
                <a:ext uri="{FF2B5EF4-FFF2-40B4-BE49-F238E27FC236}">
                  <a16:creationId xmlns:a16="http://schemas.microsoft.com/office/drawing/2014/main" id="{910F2D42-EBD6-4C3F-B784-471B77999874}"/>
                </a:ext>
              </a:extLst>
            </p:cNvPr>
            <p:cNvSpPr>
              <a:spLocks noEditPoints="1"/>
            </p:cNvSpPr>
            <p:nvPr/>
          </p:nvSpPr>
          <p:spPr bwMode="auto">
            <a:xfrm>
              <a:off x="10826750" y="3498851"/>
              <a:ext cx="176213" cy="179388"/>
            </a:xfrm>
            <a:custGeom>
              <a:avLst/>
              <a:gdLst>
                <a:gd name="T0" fmla="*/ 45 w 47"/>
                <a:gd name="T1" fmla="*/ 18 h 47"/>
                <a:gd name="T2" fmla="*/ 40 w 47"/>
                <a:gd name="T3" fmla="*/ 13 h 47"/>
                <a:gd name="T4" fmla="*/ 41 w 47"/>
                <a:gd name="T5" fmla="*/ 8 h 47"/>
                <a:gd name="T6" fmla="*/ 38 w 47"/>
                <a:gd name="T7" fmla="*/ 6 h 47"/>
                <a:gd name="T8" fmla="*/ 30 w 47"/>
                <a:gd name="T9" fmla="*/ 5 h 47"/>
                <a:gd name="T10" fmla="*/ 29 w 47"/>
                <a:gd name="T11" fmla="*/ 1 h 47"/>
                <a:gd name="T12" fmla="*/ 25 w 47"/>
                <a:gd name="T13" fmla="*/ 1 h 47"/>
                <a:gd name="T14" fmla="*/ 21 w 47"/>
                <a:gd name="T15" fmla="*/ 4 h 47"/>
                <a:gd name="T16" fmla="*/ 16 w 47"/>
                <a:gd name="T17" fmla="*/ 2 h 47"/>
                <a:gd name="T18" fmla="*/ 12 w 47"/>
                <a:gd name="T19" fmla="*/ 3 h 47"/>
                <a:gd name="T20" fmla="*/ 12 w 47"/>
                <a:gd name="T21" fmla="*/ 8 h 47"/>
                <a:gd name="T22" fmla="*/ 5 w 47"/>
                <a:gd name="T23" fmla="*/ 11 h 47"/>
                <a:gd name="T24" fmla="*/ 2 w 47"/>
                <a:gd name="T25" fmla="*/ 14 h 47"/>
                <a:gd name="T26" fmla="*/ 5 w 47"/>
                <a:gd name="T27" fmla="*/ 18 h 47"/>
                <a:gd name="T28" fmla="*/ 1 w 47"/>
                <a:gd name="T29" fmla="*/ 24 h 47"/>
                <a:gd name="T30" fmla="*/ 0 w 47"/>
                <a:gd name="T31" fmla="*/ 27 h 47"/>
                <a:gd name="T32" fmla="*/ 1 w 47"/>
                <a:gd name="T33" fmla="*/ 29 h 47"/>
                <a:gd name="T34" fmla="*/ 7 w 47"/>
                <a:gd name="T35" fmla="*/ 35 h 47"/>
                <a:gd name="T36" fmla="*/ 6 w 47"/>
                <a:gd name="T37" fmla="*/ 39 h 47"/>
                <a:gd name="T38" fmla="*/ 9 w 47"/>
                <a:gd name="T39" fmla="*/ 41 h 47"/>
                <a:gd name="T40" fmla="*/ 17 w 47"/>
                <a:gd name="T41" fmla="*/ 42 h 47"/>
                <a:gd name="T42" fmla="*/ 18 w 47"/>
                <a:gd name="T43" fmla="*/ 47 h 47"/>
                <a:gd name="T44" fmla="*/ 22 w 47"/>
                <a:gd name="T45" fmla="*/ 46 h 47"/>
                <a:gd name="T46" fmla="*/ 26 w 47"/>
                <a:gd name="T47" fmla="*/ 43 h 47"/>
                <a:gd name="T48" fmla="*/ 31 w 47"/>
                <a:gd name="T49" fmla="*/ 45 h 47"/>
                <a:gd name="T50" fmla="*/ 35 w 47"/>
                <a:gd name="T51" fmla="*/ 44 h 47"/>
                <a:gd name="T52" fmla="*/ 35 w 47"/>
                <a:gd name="T53" fmla="*/ 39 h 47"/>
                <a:gd name="T54" fmla="*/ 42 w 47"/>
                <a:gd name="T55" fmla="*/ 36 h 47"/>
                <a:gd name="T56" fmla="*/ 45 w 47"/>
                <a:gd name="T57" fmla="*/ 34 h 47"/>
                <a:gd name="T58" fmla="*/ 42 w 47"/>
                <a:gd name="T59" fmla="*/ 30 h 47"/>
                <a:gd name="T60" fmla="*/ 46 w 47"/>
                <a:gd name="T61" fmla="*/ 23 h 47"/>
                <a:gd name="T62" fmla="*/ 47 w 47"/>
                <a:gd name="T63" fmla="*/ 20 h 47"/>
                <a:gd name="T64" fmla="*/ 25 w 47"/>
                <a:gd name="T65" fmla="*/ 35 h 47"/>
                <a:gd name="T66" fmla="*/ 22 w 47"/>
                <a:gd name="T67" fmla="*/ 12 h 47"/>
                <a:gd name="T68" fmla="*/ 25 w 47"/>
                <a:gd name="T6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 h="47">
                  <a:moveTo>
                    <a:pt x="47" y="19"/>
                  </a:moveTo>
                  <a:cubicBezTo>
                    <a:pt x="46" y="19"/>
                    <a:pt x="46" y="18"/>
                    <a:pt x="45" y="18"/>
                  </a:cubicBezTo>
                  <a:cubicBezTo>
                    <a:pt x="42" y="17"/>
                    <a:pt x="42" y="17"/>
                    <a:pt x="42" y="17"/>
                  </a:cubicBezTo>
                  <a:cubicBezTo>
                    <a:pt x="41" y="16"/>
                    <a:pt x="41" y="14"/>
                    <a:pt x="40" y="13"/>
                  </a:cubicBezTo>
                  <a:cubicBezTo>
                    <a:pt x="41" y="10"/>
                    <a:pt x="41" y="10"/>
                    <a:pt x="41" y="10"/>
                  </a:cubicBezTo>
                  <a:cubicBezTo>
                    <a:pt x="42" y="9"/>
                    <a:pt x="42" y="9"/>
                    <a:pt x="41" y="8"/>
                  </a:cubicBezTo>
                  <a:cubicBezTo>
                    <a:pt x="39" y="6"/>
                    <a:pt x="39" y="6"/>
                    <a:pt x="39" y="6"/>
                  </a:cubicBezTo>
                  <a:cubicBezTo>
                    <a:pt x="39" y="6"/>
                    <a:pt x="38" y="6"/>
                    <a:pt x="38" y="6"/>
                  </a:cubicBezTo>
                  <a:cubicBezTo>
                    <a:pt x="35" y="8"/>
                    <a:pt x="35" y="8"/>
                    <a:pt x="35" y="8"/>
                  </a:cubicBezTo>
                  <a:cubicBezTo>
                    <a:pt x="33" y="7"/>
                    <a:pt x="32" y="6"/>
                    <a:pt x="30" y="5"/>
                  </a:cubicBezTo>
                  <a:cubicBezTo>
                    <a:pt x="30" y="2"/>
                    <a:pt x="30" y="2"/>
                    <a:pt x="30" y="2"/>
                  </a:cubicBezTo>
                  <a:cubicBezTo>
                    <a:pt x="30" y="1"/>
                    <a:pt x="29" y="1"/>
                    <a:pt x="29" y="1"/>
                  </a:cubicBezTo>
                  <a:cubicBezTo>
                    <a:pt x="26" y="0"/>
                    <a:pt x="26" y="0"/>
                    <a:pt x="26" y="0"/>
                  </a:cubicBezTo>
                  <a:cubicBezTo>
                    <a:pt x="26" y="0"/>
                    <a:pt x="25" y="0"/>
                    <a:pt x="25" y="1"/>
                  </a:cubicBezTo>
                  <a:cubicBezTo>
                    <a:pt x="23" y="4"/>
                    <a:pt x="23" y="4"/>
                    <a:pt x="23" y="4"/>
                  </a:cubicBezTo>
                  <a:cubicBezTo>
                    <a:pt x="22" y="4"/>
                    <a:pt x="21" y="4"/>
                    <a:pt x="21" y="4"/>
                  </a:cubicBezTo>
                  <a:cubicBezTo>
                    <a:pt x="20" y="4"/>
                    <a:pt x="19" y="5"/>
                    <a:pt x="18" y="5"/>
                  </a:cubicBezTo>
                  <a:cubicBezTo>
                    <a:pt x="16" y="2"/>
                    <a:pt x="16" y="2"/>
                    <a:pt x="16" y="2"/>
                  </a:cubicBezTo>
                  <a:cubicBezTo>
                    <a:pt x="15" y="2"/>
                    <a:pt x="15" y="2"/>
                    <a:pt x="14" y="2"/>
                  </a:cubicBezTo>
                  <a:cubicBezTo>
                    <a:pt x="12" y="3"/>
                    <a:pt x="12" y="3"/>
                    <a:pt x="12" y="3"/>
                  </a:cubicBezTo>
                  <a:cubicBezTo>
                    <a:pt x="11" y="3"/>
                    <a:pt x="11" y="4"/>
                    <a:pt x="11" y="4"/>
                  </a:cubicBezTo>
                  <a:cubicBezTo>
                    <a:pt x="12" y="8"/>
                    <a:pt x="12" y="8"/>
                    <a:pt x="12" y="8"/>
                  </a:cubicBezTo>
                  <a:cubicBezTo>
                    <a:pt x="10" y="9"/>
                    <a:pt x="9" y="10"/>
                    <a:pt x="8" y="12"/>
                  </a:cubicBezTo>
                  <a:cubicBezTo>
                    <a:pt x="5" y="11"/>
                    <a:pt x="5" y="11"/>
                    <a:pt x="5" y="11"/>
                  </a:cubicBezTo>
                  <a:cubicBezTo>
                    <a:pt x="4" y="11"/>
                    <a:pt x="3" y="11"/>
                    <a:pt x="3" y="12"/>
                  </a:cubicBezTo>
                  <a:cubicBezTo>
                    <a:pt x="2" y="14"/>
                    <a:pt x="2" y="14"/>
                    <a:pt x="2" y="14"/>
                  </a:cubicBezTo>
                  <a:cubicBezTo>
                    <a:pt x="2" y="14"/>
                    <a:pt x="2" y="15"/>
                    <a:pt x="2" y="15"/>
                  </a:cubicBezTo>
                  <a:cubicBezTo>
                    <a:pt x="5" y="18"/>
                    <a:pt x="5" y="18"/>
                    <a:pt x="5" y="18"/>
                  </a:cubicBezTo>
                  <a:cubicBezTo>
                    <a:pt x="4" y="19"/>
                    <a:pt x="4" y="21"/>
                    <a:pt x="4" y="23"/>
                  </a:cubicBezTo>
                  <a:cubicBezTo>
                    <a:pt x="1" y="24"/>
                    <a:pt x="1" y="24"/>
                    <a:pt x="1" y="24"/>
                  </a:cubicBezTo>
                  <a:cubicBezTo>
                    <a:pt x="0" y="25"/>
                    <a:pt x="0" y="25"/>
                    <a:pt x="0" y="26"/>
                  </a:cubicBezTo>
                  <a:cubicBezTo>
                    <a:pt x="0" y="26"/>
                    <a:pt x="0" y="26"/>
                    <a:pt x="0" y="27"/>
                  </a:cubicBezTo>
                  <a:cubicBezTo>
                    <a:pt x="0" y="28"/>
                    <a:pt x="0" y="28"/>
                    <a:pt x="0" y="28"/>
                  </a:cubicBezTo>
                  <a:cubicBezTo>
                    <a:pt x="0" y="29"/>
                    <a:pt x="1" y="29"/>
                    <a:pt x="1" y="29"/>
                  </a:cubicBezTo>
                  <a:cubicBezTo>
                    <a:pt x="5" y="30"/>
                    <a:pt x="5" y="30"/>
                    <a:pt x="5" y="30"/>
                  </a:cubicBezTo>
                  <a:cubicBezTo>
                    <a:pt x="5" y="32"/>
                    <a:pt x="6" y="33"/>
                    <a:pt x="7" y="35"/>
                  </a:cubicBezTo>
                  <a:cubicBezTo>
                    <a:pt x="5" y="38"/>
                    <a:pt x="5" y="38"/>
                    <a:pt x="5" y="38"/>
                  </a:cubicBezTo>
                  <a:cubicBezTo>
                    <a:pt x="5" y="38"/>
                    <a:pt x="5" y="39"/>
                    <a:pt x="6" y="39"/>
                  </a:cubicBezTo>
                  <a:cubicBezTo>
                    <a:pt x="7" y="41"/>
                    <a:pt x="7" y="41"/>
                    <a:pt x="7" y="41"/>
                  </a:cubicBezTo>
                  <a:cubicBezTo>
                    <a:pt x="8" y="41"/>
                    <a:pt x="8" y="41"/>
                    <a:pt x="9" y="41"/>
                  </a:cubicBezTo>
                  <a:cubicBezTo>
                    <a:pt x="12" y="40"/>
                    <a:pt x="12" y="40"/>
                    <a:pt x="12" y="40"/>
                  </a:cubicBezTo>
                  <a:cubicBezTo>
                    <a:pt x="13" y="41"/>
                    <a:pt x="15" y="41"/>
                    <a:pt x="17" y="42"/>
                  </a:cubicBezTo>
                  <a:cubicBezTo>
                    <a:pt x="17" y="46"/>
                    <a:pt x="17" y="46"/>
                    <a:pt x="17" y="46"/>
                  </a:cubicBezTo>
                  <a:cubicBezTo>
                    <a:pt x="17" y="46"/>
                    <a:pt x="18" y="47"/>
                    <a:pt x="18" y="47"/>
                  </a:cubicBezTo>
                  <a:cubicBezTo>
                    <a:pt x="20" y="47"/>
                    <a:pt x="20" y="47"/>
                    <a:pt x="20" y="47"/>
                  </a:cubicBezTo>
                  <a:cubicBezTo>
                    <a:pt x="21" y="47"/>
                    <a:pt x="22" y="47"/>
                    <a:pt x="22" y="46"/>
                  </a:cubicBezTo>
                  <a:cubicBezTo>
                    <a:pt x="24" y="43"/>
                    <a:pt x="24" y="43"/>
                    <a:pt x="24" y="43"/>
                  </a:cubicBezTo>
                  <a:cubicBezTo>
                    <a:pt x="24" y="43"/>
                    <a:pt x="25" y="43"/>
                    <a:pt x="26" y="43"/>
                  </a:cubicBezTo>
                  <a:cubicBezTo>
                    <a:pt x="27" y="43"/>
                    <a:pt x="28" y="43"/>
                    <a:pt x="29" y="43"/>
                  </a:cubicBezTo>
                  <a:cubicBezTo>
                    <a:pt x="31" y="45"/>
                    <a:pt x="31" y="45"/>
                    <a:pt x="31" y="45"/>
                  </a:cubicBezTo>
                  <a:cubicBezTo>
                    <a:pt x="31" y="46"/>
                    <a:pt x="32" y="46"/>
                    <a:pt x="33" y="45"/>
                  </a:cubicBezTo>
                  <a:cubicBezTo>
                    <a:pt x="35" y="44"/>
                    <a:pt x="35" y="44"/>
                    <a:pt x="35" y="44"/>
                  </a:cubicBezTo>
                  <a:cubicBezTo>
                    <a:pt x="35" y="44"/>
                    <a:pt x="36" y="43"/>
                    <a:pt x="36" y="43"/>
                  </a:cubicBezTo>
                  <a:cubicBezTo>
                    <a:pt x="35" y="39"/>
                    <a:pt x="35" y="39"/>
                    <a:pt x="35" y="39"/>
                  </a:cubicBezTo>
                  <a:cubicBezTo>
                    <a:pt x="36" y="38"/>
                    <a:pt x="38" y="37"/>
                    <a:pt x="39" y="36"/>
                  </a:cubicBezTo>
                  <a:cubicBezTo>
                    <a:pt x="42" y="36"/>
                    <a:pt x="42" y="36"/>
                    <a:pt x="42" y="36"/>
                  </a:cubicBezTo>
                  <a:cubicBezTo>
                    <a:pt x="43" y="37"/>
                    <a:pt x="43" y="36"/>
                    <a:pt x="44" y="36"/>
                  </a:cubicBezTo>
                  <a:cubicBezTo>
                    <a:pt x="45" y="34"/>
                    <a:pt x="45" y="34"/>
                    <a:pt x="45" y="34"/>
                  </a:cubicBezTo>
                  <a:cubicBezTo>
                    <a:pt x="45" y="33"/>
                    <a:pt x="45" y="32"/>
                    <a:pt x="44" y="32"/>
                  </a:cubicBezTo>
                  <a:cubicBezTo>
                    <a:pt x="42" y="30"/>
                    <a:pt x="42" y="30"/>
                    <a:pt x="42" y="30"/>
                  </a:cubicBezTo>
                  <a:cubicBezTo>
                    <a:pt x="43" y="28"/>
                    <a:pt x="43" y="26"/>
                    <a:pt x="43" y="24"/>
                  </a:cubicBezTo>
                  <a:cubicBezTo>
                    <a:pt x="46" y="23"/>
                    <a:pt x="46" y="23"/>
                    <a:pt x="46" y="23"/>
                  </a:cubicBezTo>
                  <a:cubicBezTo>
                    <a:pt x="47" y="23"/>
                    <a:pt x="47" y="22"/>
                    <a:pt x="47" y="22"/>
                  </a:cubicBezTo>
                  <a:cubicBezTo>
                    <a:pt x="47" y="22"/>
                    <a:pt x="47" y="21"/>
                    <a:pt x="47" y="20"/>
                  </a:cubicBezTo>
                  <a:cubicBezTo>
                    <a:pt x="47" y="20"/>
                    <a:pt x="47" y="19"/>
                    <a:pt x="47" y="19"/>
                  </a:cubicBezTo>
                  <a:close/>
                  <a:moveTo>
                    <a:pt x="25" y="35"/>
                  </a:moveTo>
                  <a:cubicBezTo>
                    <a:pt x="19" y="36"/>
                    <a:pt x="13" y="32"/>
                    <a:pt x="12" y="25"/>
                  </a:cubicBezTo>
                  <a:cubicBezTo>
                    <a:pt x="11" y="19"/>
                    <a:pt x="15" y="13"/>
                    <a:pt x="22" y="12"/>
                  </a:cubicBezTo>
                  <a:cubicBezTo>
                    <a:pt x="28" y="11"/>
                    <a:pt x="34" y="16"/>
                    <a:pt x="35" y="22"/>
                  </a:cubicBezTo>
                  <a:cubicBezTo>
                    <a:pt x="36" y="28"/>
                    <a:pt x="31" y="34"/>
                    <a:pt x="25"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1" name="Freeform 216">
              <a:extLst>
                <a:ext uri="{FF2B5EF4-FFF2-40B4-BE49-F238E27FC236}">
                  <a16:creationId xmlns:a16="http://schemas.microsoft.com/office/drawing/2014/main" id="{AEE0AA3C-7E9E-4935-ACC5-3239CED544A6}"/>
                </a:ext>
              </a:extLst>
            </p:cNvPr>
            <p:cNvSpPr>
              <a:spLocks noEditPoints="1"/>
            </p:cNvSpPr>
            <p:nvPr/>
          </p:nvSpPr>
          <p:spPr bwMode="auto">
            <a:xfrm>
              <a:off x="10502900" y="3167063"/>
              <a:ext cx="420688" cy="431800"/>
            </a:xfrm>
            <a:custGeom>
              <a:avLst/>
              <a:gdLst>
                <a:gd name="T0" fmla="*/ 83 w 112"/>
                <a:gd name="T1" fmla="*/ 96 h 112"/>
                <a:gd name="T2" fmla="*/ 96 w 112"/>
                <a:gd name="T3" fmla="*/ 83 h 112"/>
                <a:gd name="T4" fmla="*/ 102 w 112"/>
                <a:gd name="T5" fmla="*/ 85 h 112"/>
                <a:gd name="T6" fmla="*/ 108 w 112"/>
                <a:gd name="T7" fmla="*/ 83 h 112"/>
                <a:gd name="T8" fmla="*/ 112 w 112"/>
                <a:gd name="T9" fmla="*/ 74 h 112"/>
                <a:gd name="T10" fmla="*/ 109 w 112"/>
                <a:gd name="T11" fmla="*/ 68 h 112"/>
                <a:gd name="T12" fmla="*/ 103 w 112"/>
                <a:gd name="T13" fmla="*/ 65 h 112"/>
                <a:gd name="T14" fmla="*/ 104 w 112"/>
                <a:gd name="T15" fmla="*/ 56 h 112"/>
                <a:gd name="T16" fmla="*/ 103 w 112"/>
                <a:gd name="T17" fmla="*/ 47 h 112"/>
                <a:gd name="T18" fmla="*/ 109 w 112"/>
                <a:gd name="T19" fmla="*/ 44 h 112"/>
                <a:gd name="T20" fmla="*/ 112 w 112"/>
                <a:gd name="T21" fmla="*/ 39 h 112"/>
                <a:gd name="T22" fmla="*/ 110 w 112"/>
                <a:gd name="T23" fmla="*/ 34 h 112"/>
                <a:gd name="T24" fmla="*/ 108 w 112"/>
                <a:gd name="T25" fmla="*/ 29 h 112"/>
                <a:gd name="T26" fmla="*/ 102 w 112"/>
                <a:gd name="T27" fmla="*/ 27 h 112"/>
                <a:gd name="T28" fmla="*/ 96 w 112"/>
                <a:gd name="T29" fmla="*/ 29 h 112"/>
                <a:gd name="T30" fmla="*/ 83 w 112"/>
                <a:gd name="T31" fmla="*/ 17 h 112"/>
                <a:gd name="T32" fmla="*/ 85 w 112"/>
                <a:gd name="T33" fmla="*/ 10 h 112"/>
                <a:gd name="T34" fmla="*/ 83 w 112"/>
                <a:gd name="T35" fmla="*/ 5 h 112"/>
                <a:gd name="T36" fmla="*/ 74 w 112"/>
                <a:gd name="T37" fmla="*/ 1 h 112"/>
                <a:gd name="T38" fmla="*/ 69 w 112"/>
                <a:gd name="T39" fmla="*/ 3 h 112"/>
                <a:gd name="T40" fmla="*/ 65 w 112"/>
                <a:gd name="T41" fmla="*/ 9 h 112"/>
                <a:gd name="T42" fmla="*/ 56 w 112"/>
                <a:gd name="T43" fmla="*/ 8 h 112"/>
                <a:gd name="T44" fmla="*/ 47 w 112"/>
                <a:gd name="T45" fmla="*/ 9 h 112"/>
                <a:gd name="T46" fmla="*/ 44 w 112"/>
                <a:gd name="T47" fmla="*/ 3 h 112"/>
                <a:gd name="T48" fmla="*/ 39 w 112"/>
                <a:gd name="T49" fmla="*/ 1 h 112"/>
                <a:gd name="T50" fmla="*/ 34 w 112"/>
                <a:gd name="T51" fmla="*/ 3 h 112"/>
                <a:gd name="T52" fmla="*/ 29 w 112"/>
                <a:gd name="T53" fmla="*/ 5 h 112"/>
                <a:gd name="T54" fmla="*/ 27 w 112"/>
                <a:gd name="T55" fmla="*/ 10 h 112"/>
                <a:gd name="T56" fmla="*/ 30 w 112"/>
                <a:gd name="T57" fmla="*/ 17 h 112"/>
                <a:gd name="T58" fmla="*/ 17 w 112"/>
                <a:gd name="T59" fmla="*/ 29 h 112"/>
                <a:gd name="T60" fmla="*/ 10 w 112"/>
                <a:gd name="T61" fmla="*/ 27 h 112"/>
                <a:gd name="T62" fmla="*/ 5 w 112"/>
                <a:gd name="T63" fmla="*/ 29 h 112"/>
                <a:gd name="T64" fmla="*/ 1 w 112"/>
                <a:gd name="T65" fmla="*/ 39 h 112"/>
                <a:gd name="T66" fmla="*/ 3 w 112"/>
                <a:gd name="T67" fmla="*/ 44 h 112"/>
                <a:gd name="T68" fmla="*/ 10 w 112"/>
                <a:gd name="T69" fmla="*/ 47 h 112"/>
                <a:gd name="T70" fmla="*/ 9 w 112"/>
                <a:gd name="T71" fmla="*/ 56 h 112"/>
                <a:gd name="T72" fmla="*/ 10 w 112"/>
                <a:gd name="T73" fmla="*/ 65 h 112"/>
                <a:gd name="T74" fmla="*/ 3 w 112"/>
                <a:gd name="T75" fmla="*/ 68 h 112"/>
                <a:gd name="T76" fmla="*/ 1 w 112"/>
                <a:gd name="T77" fmla="*/ 73 h 112"/>
                <a:gd name="T78" fmla="*/ 3 w 112"/>
                <a:gd name="T79" fmla="*/ 78 h 112"/>
                <a:gd name="T80" fmla="*/ 5 w 112"/>
                <a:gd name="T81" fmla="*/ 83 h 112"/>
                <a:gd name="T82" fmla="*/ 10 w 112"/>
                <a:gd name="T83" fmla="*/ 85 h 112"/>
                <a:gd name="T84" fmla="*/ 17 w 112"/>
                <a:gd name="T85" fmla="*/ 83 h 112"/>
                <a:gd name="T86" fmla="*/ 30 w 112"/>
                <a:gd name="T87" fmla="*/ 96 h 112"/>
                <a:gd name="T88" fmla="*/ 27 w 112"/>
                <a:gd name="T89" fmla="*/ 102 h 112"/>
                <a:gd name="T90" fmla="*/ 30 w 112"/>
                <a:gd name="T91" fmla="*/ 108 h 112"/>
                <a:gd name="T92" fmla="*/ 39 w 112"/>
                <a:gd name="T93" fmla="*/ 111 h 112"/>
                <a:gd name="T94" fmla="*/ 44 w 112"/>
                <a:gd name="T95" fmla="*/ 109 h 112"/>
                <a:gd name="T96" fmla="*/ 47 w 112"/>
                <a:gd name="T97" fmla="*/ 103 h 112"/>
                <a:gd name="T98" fmla="*/ 56 w 112"/>
                <a:gd name="T99" fmla="*/ 104 h 112"/>
                <a:gd name="T100" fmla="*/ 65 w 112"/>
                <a:gd name="T101" fmla="*/ 103 h 112"/>
                <a:gd name="T102" fmla="*/ 69 w 112"/>
                <a:gd name="T103" fmla="*/ 109 h 112"/>
                <a:gd name="T104" fmla="*/ 74 w 112"/>
                <a:gd name="T105" fmla="*/ 111 h 112"/>
                <a:gd name="T106" fmla="*/ 79 w 112"/>
                <a:gd name="T107" fmla="*/ 110 h 112"/>
                <a:gd name="T108" fmla="*/ 83 w 112"/>
                <a:gd name="T109" fmla="*/ 108 h 112"/>
                <a:gd name="T110" fmla="*/ 85 w 112"/>
                <a:gd name="T111" fmla="*/ 102 h 112"/>
                <a:gd name="T112" fmla="*/ 83 w 112"/>
                <a:gd name="T113" fmla="*/ 96 h 112"/>
                <a:gd name="T114" fmla="*/ 68 w 112"/>
                <a:gd name="T115" fmla="*/ 85 h 112"/>
                <a:gd name="T116" fmla="*/ 27 w 112"/>
                <a:gd name="T117" fmla="*/ 68 h 112"/>
                <a:gd name="T118" fmla="*/ 44 w 112"/>
                <a:gd name="T119" fmla="*/ 27 h 112"/>
                <a:gd name="T120" fmla="*/ 86 w 112"/>
                <a:gd name="T121" fmla="*/ 44 h 112"/>
                <a:gd name="T122" fmla="*/ 68 w 112"/>
                <a:gd name="T123" fmla="*/ 8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12">
                  <a:moveTo>
                    <a:pt x="83" y="96"/>
                  </a:moveTo>
                  <a:cubicBezTo>
                    <a:pt x="88" y="92"/>
                    <a:pt x="93" y="88"/>
                    <a:pt x="96" y="83"/>
                  </a:cubicBezTo>
                  <a:cubicBezTo>
                    <a:pt x="102" y="85"/>
                    <a:pt x="102" y="85"/>
                    <a:pt x="102" y="85"/>
                  </a:cubicBezTo>
                  <a:cubicBezTo>
                    <a:pt x="105" y="86"/>
                    <a:pt x="107" y="85"/>
                    <a:pt x="108" y="83"/>
                  </a:cubicBezTo>
                  <a:cubicBezTo>
                    <a:pt x="109" y="80"/>
                    <a:pt x="111" y="77"/>
                    <a:pt x="112" y="74"/>
                  </a:cubicBezTo>
                  <a:cubicBezTo>
                    <a:pt x="112" y="72"/>
                    <a:pt x="111" y="69"/>
                    <a:pt x="109" y="68"/>
                  </a:cubicBezTo>
                  <a:cubicBezTo>
                    <a:pt x="103" y="65"/>
                    <a:pt x="103" y="65"/>
                    <a:pt x="103" y="65"/>
                  </a:cubicBezTo>
                  <a:cubicBezTo>
                    <a:pt x="104" y="62"/>
                    <a:pt x="104" y="59"/>
                    <a:pt x="104" y="56"/>
                  </a:cubicBezTo>
                  <a:cubicBezTo>
                    <a:pt x="104" y="53"/>
                    <a:pt x="104" y="50"/>
                    <a:pt x="103" y="47"/>
                  </a:cubicBezTo>
                  <a:cubicBezTo>
                    <a:pt x="109" y="44"/>
                    <a:pt x="109" y="44"/>
                    <a:pt x="109" y="44"/>
                  </a:cubicBezTo>
                  <a:cubicBezTo>
                    <a:pt x="111" y="43"/>
                    <a:pt x="112" y="41"/>
                    <a:pt x="112" y="39"/>
                  </a:cubicBezTo>
                  <a:cubicBezTo>
                    <a:pt x="111" y="37"/>
                    <a:pt x="111" y="36"/>
                    <a:pt x="110" y="34"/>
                  </a:cubicBezTo>
                  <a:cubicBezTo>
                    <a:pt x="109" y="32"/>
                    <a:pt x="109" y="31"/>
                    <a:pt x="108" y="29"/>
                  </a:cubicBezTo>
                  <a:cubicBezTo>
                    <a:pt x="107" y="27"/>
                    <a:pt x="105" y="27"/>
                    <a:pt x="102" y="27"/>
                  </a:cubicBezTo>
                  <a:cubicBezTo>
                    <a:pt x="96" y="29"/>
                    <a:pt x="96" y="29"/>
                    <a:pt x="96" y="29"/>
                  </a:cubicBezTo>
                  <a:cubicBezTo>
                    <a:pt x="93" y="24"/>
                    <a:pt x="88" y="20"/>
                    <a:pt x="83" y="17"/>
                  </a:cubicBezTo>
                  <a:cubicBezTo>
                    <a:pt x="85" y="10"/>
                    <a:pt x="85" y="10"/>
                    <a:pt x="85" y="10"/>
                  </a:cubicBezTo>
                  <a:cubicBezTo>
                    <a:pt x="86" y="8"/>
                    <a:pt x="85" y="6"/>
                    <a:pt x="83" y="5"/>
                  </a:cubicBezTo>
                  <a:cubicBezTo>
                    <a:pt x="80" y="3"/>
                    <a:pt x="77" y="2"/>
                    <a:pt x="74" y="1"/>
                  </a:cubicBezTo>
                  <a:cubicBezTo>
                    <a:pt x="72" y="0"/>
                    <a:pt x="69" y="1"/>
                    <a:pt x="69" y="3"/>
                  </a:cubicBezTo>
                  <a:cubicBezTo>
                    <a:pt x="65" y="9"/>
                    <a:pt x="65" y="9"/>
                    <a:pt x="65" y="9"/>
                  </a:cubicBezTo>
                  <a:cubicBezTo>
                    <a:pt x="63" y="9"/>
                    <a:pt x="59" y="8"/>
                    <a:pt x="56" y="8"/>
                  </a:cubicBezTo>
                  <a:cubicBezTo>
                    <a:pt x="53" y="8"/>
                    <a:pt x="50" y="9"/>
                    <a:pt x="47" y="9"/>
                  </a:cubicBezTo>
                  <a:cubicBezTo>
                    <a:pt x="44" y="3"/>
                    <a:pt x="44" y="3"/>
                    <a:pt x="44" y="3"/>
                  </a:cubicBezTo>
                  <a:cubicBezTo>
                    <a:pt x="43" y="1"/>
                    <a:pt x="41" y="0"/>
                    <a:pt x="39" y="1"/>
                  </a:cubicBezTo>
                  <a:cubicBezTo>
                    <a:pt x="37" y="1"/>
                    <a:pt x="36" y="2"/>
                    <a:pt x="34" y="3"/>
                  </a:cubicBezTo>
                  <a:cubicBezTo>
                    <a:pt x="33" y="3"/>
                    <a:pt x="31" y="4"/>
                    <a:pt x="29" y="5"/>
                  </a:cubicBezTo>
                  <a:cubicBezTo>
                    <a:pt x="28" y="6"/>
                    <a:pt x="27" y="8"/>
                    <a:pt x="27" y="10"/>
                  </a:cubicBezTo>
                  <a:cubicBezTo>
                    <a:pt x="30" y="17"/>
                    <a:pt x="30" y="17"/>
                    <a:pt x="30" y="17"/>
                  </a:cubicBezTo>
                  <a:cubicBezTo>
                    <a:pt x="25" y="20"/>
                    <a:pt x="20" y="24"/>
                    <a:pt x="17" y="29"/>
                  </a:cubicBezTo>
                  <a:cubicBezTo>
                    <a:pt x="10" y="27"/>
                    <a:pt x="10" y="27"/>
                    <a:pt x="10" y="27"/>
                  </a:cubicBezTo>
                  <a:cubicBezTo>
                    <a:pt x="8" y="27"/>
                    <a:pt x="6" y="27"/>
                    <a:pt x="5" y="29"/>
                  </a:cubicBezTo>
                  <a:cubicBezTo>
                    <a:pt x="3" y="32"/>
                    <a:pt x="2" y="36"/>
                    <a:pt x="1" y="39"/>
                  </a:cubicBezTo>
                  <a:cubicBezTo>
                    <a:pt x="0" y="41"/>
                    <a:pt x="1" y="43"/>
                    <a:pt x="3" y="44"/>
                  </a:cubicBezTo>
                  <a:cubicBezTo>
                    <a:pt x="10" y="47"/>
                    <a:pt x="10" y="47"/>
                    <a:pt x="10" y="47"/>
                  </a:cubicBezTo>
                  <a:cubicBezTo>
                    <a:pt x="9" y="50"/>
                    <a:pt x="9" y="53"/>
                    <a:pt x="9" y="56"/>
                  </a:cubicBezTo>
                  <a:cubicBezTo>
                    <a:pt x="9" y="59"/>
                    <a:pt x="9" y="62"/>
                    <a:pt x="10" y="65"/>
                  </a:cubicBezTo>
                  <a:cubicBezTo>
                    <a:pt x="3" y="68"/>
                    <a:pt x="3" y="68"/>
                    <a:pt x="3" y="68"/>
                  </a:cubicBezTo>
                  <a:cubicBezTo>
                    <a:pt x="1" y="69"/>
                    <a:pt x="0" y="71"/>
                    <a:pt x="1" y="73"/>
                  </a:cubicBezTo>
                  <a:cubicBezTo>
                    <a:pt x="2" y="75"/>
                    <a:pt x="2" y="77"/>
                    <a:pt x="3" y="78"/>
                  </a:cubicBezTo>
                  <a:cubicBezTo>
                    <a:pt x="3" y="80"/>
                    <a:pt x="4" y="82"/>
                    <a:pt x="5" y="83"/>
                  </a:cubicBezTo>
                  <a:cubicBezTo>
                    <a:pt x="6" y="85"/>
                    <a:pt x="8" y="86"/>
                    <a:pt x="10" y="85"/>
                  </a:cubicBezTo>
                  <a:cubicBezTo>
                    <a:pt x="17" y="83"/>
                    <a:pt x="17" y="83"/>
                    <a:pt x="17" y="83"/>
                  </a:cubicBezTo>
                  <a:cubicBezTo>
                    <a:pt x="20" y="88"/>
                    <a:pt x="25" y="92"/>
                    <a:pt x="30" y="96"/>
                  </a:cubicBezTo>
                  <a:cubicBezTo>
                    <a:pt x="27" y="102"/>
                    <a:pt x="27" y="102"/>
                    <a:pt x="27" y="102"/>
                  </a:cubicBezTo>
                  <a:cubicBezTo>
                    <a:pt x="27" y="104"/>
                    <a:pt x="28" y="107"/>
                    <a:pt x="30" y="108"/>
                  </a:cubicBezTo>
                  <a:cubicBezTo>
                    <a:pt x="33" y="109"/>
                    <a:pt x="36" y="110"/>
                    <a:pt x="39" y="111"/>
                  </a:cubicBezTo>
                  <a:cubicBezTo>
                    <a:pt x="41" y="112"/>
                    <a:pt x="43" y="111"/>
                    <a:pt x="44" y="109"/>
                  </a:cubicBezTo>
                  <a:cubicBezTo>
                    <a:pt x="47" y="103"/>
                    <a:pt x="47" y="103"/>
                    <a:pt x="47" y="103"/>
                  </a:cubicBezTo>
                  <a:cubicBezTo>
                    <a:pt x="50" y="104"/>
                    <a:pt x="53" y="104"/>
                    <a:pt x="56" y="104"/>
                  </a:cubicBezTo>
                  <a:cubicBezTo>
                    <a:pt x="59" y="104"/>
                    <a:pt x="63" y="104"/>
                    <a:pt x="65" y="103"/>
                  </a:cubicBezTo>
                  <a:cubicBezTo>
                    <a:pt x="69" y="109"/>
                    <a:pt x="69" y="109"/>
                    <a:pt x="69" y="109"/>
                  </a:cubicBezTo>
                  <a:cubicBezTo>
                    <a:pt x="69" y="111"/>
                    <a:pt x="72" y="112"/>
                    <a:pt x="74" y="111"/>
                  </a:cubicBezTo>
                  <a:cubicBezTo>
                    <a:pt x="75" y="111"/>
                    <a:pt x="77" y="110"/>
                    <a:pt x="79" y="110"/>
                  </a:cubicBezTo>
                  <a:cubicBezTo>
                    <a:pt x="80" y="109"/>
                    <a:pt x="82" y="108"/>
                    <a:pt x="83" y="108"/>
                  </a:cubicBezTo>
                  <a:cubicBezTo>
                    <a:pt x="85" y="107"/>
                    <a:pt x="86" y="104"/>
                    <a:pt x="85" y="102"/>
                  </a:cubicBezTo>
                  <a:lnTo>
                    <a:pt x="83" y="96"/>
                  </a:lnTo>
                  <a:close/>
                  <a:moveTo>
                    <a:pt x="68" y="85"/>
                  </a:moveTo>
                  <a:cubicBezTo>
                    <a:pt x="52" y="92"/>
                    <a:pt x="34" y="84"/>
                    <a:pt x="27" y="68"/>
                  </a:cubicBezTo>
                  <a:cubicBezTo>
                    <a:pt x="21" y="52"/>
                    <a:pt x="28" y="34"/>
                    <a:pt x="44" y="27"/>
                  </a:cubicBezTo>
                  <a:cubicBezTo>
                    <a:pt x="60" y="20"/>
                    <a:pt x="79" y="28"/>
                    <a:pt x="86" y="44"/>
                  </a:cubicBezTo>
                  <a:cubicBezTo>
                    <a:pt x="92" y="60"/>
                    <a:pt x="85" y="79"/>
                    <a:pt x="68"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3958" tIns="71979" rIns="143958" bIns="71979"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22" name="object 5">
            <a:extLst>
              <a:ext uri="{FF2B5EF4-FFF2-40B4-BE49-F238E27FC236}">
                <a16:creationId xmlns:a16="http://schemas.microsoft.com/office/drawing/2014/main" id="{C13F9737-5F5E-428D-8B9B-6C68FE35F18E}"/>
              </a:ext>
            </a:extLst>
          </p:cNvPr>
          <p:cNvSpPr/>
          <p:nvPr/>
        </p:nvSpPr>
        <p:spPr>
          <a:xfrm flipH="1">
            <a:off x="672056" y="2901501"/>
            <a:ext cx="71977" cy="51883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23" name="object 5">
            <a:extLst>
              <a:ext uri="{FF2B5EF4-FFF2-40B4-BE49-F238E27FC236}">
                <a16:creationId xmlns:a16="http://schemas.microsoft.com/office/drawing/2014/main" id="{DC307546-CF2E-4239-907F-3987EC683109}"/>
              </a:ext>
            </a:extLst>
          </p:cNvPr>
          <p:cNvSpPr/>
          <p:nvPr/>
        </p:nvSpPr>
        <p:spPr>
          <a:xfrm flipH="1">
            <a:off x="672056" y="3029389"/>
            <a:ext cx="71977" cy="518832"/>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grpSp>
        <p:nvGrpSpPr>
          <p:cNvPr id="24" name="Группа 23">
            <a:extLst>
              <a:ext uri="{FF2B5EF4-FFF2-40B4-BE49-F238E27FC236}">
                <a16:creationId xmlns:a16="http://schemas.microsoft.com/office/drawing/2014/main" id="{C98D46C5-3231-485D-9DD4-CAD199096448}"/>
              </a:ext>
            </a:extLst>
          </p:cNvPr>
          <p:cNvGrpSpPr/>
          <p:nvPr/>
        </p:nvGrpSpPr>
        <p:grpSpPr>
          <a:xfrm>
            <a:off x="325844" y="3788988"/>
            <a:ext cx="257575" cy="182323"/>
            <a:chOff x="4800554" y="930116"/>
            <a:chExt cx="327660" cy="231933"/>
          </a:xfrm>
          <a:solidFill>
            <a:srgbClr val="252C69"/>
          </a:solidFill>
        </p:grpSpPr>
        <p:sp>
          <p:nvSpPr>
            <p:cNvPr id="25" name="Полилиния: фигура 24">
              <a:extLst>
                <a:ext uri="{FF2B5EF4-FFF2-40B4-BE49-F238E27FC236}">
                  <a16:creationId xmlns:a16="http://schemas.microsoft.com/office/drawing/2014/main" id="{39C3F9EA-39B6-4184-9473-B456B0714AE6}"/>
                </a:ext>
              </a:extLst>
            </p:cNvPr>
            <p:cNvSpPr/>
            <p:nvPr/>
          </p:nvSpPr>
          <p:spPr>
            <a:xfrm>
              <a:off x="4910091" y="931544"/>
              <a:ext cx="133350" cy="161925"/>
            </a:xfrm>
            <a:custGeom>
              <a:avLst/>
              <a:gdLst>
                <a:gd name="connsiteX0" fmla="*/ 9049 w 133350"/>
                <a:gd name="connsiteY0" fmla="*/ 57626 h 161925"/>
                <a:gd name="connsiteX1" fmla="*/ 7144 w 133350"/>
                <a:gd name="connsiteY1" fmla="*/ 84296 h 161925"/>
                <a:gd name="connsiteX2" fmla="*/ 9049 w 133350"/>
                <a:gd name="connsiteY2" fmla="*/ 110966 h 161925"/>
                <a:gd name="connsiteX3" fmla="*/ 127159 w 133350"/>
                <a:gd name="connsiteY3" fmla="*/ 161449 h 161925"/>
                <a:gd name="connsiteX4" fmla="*/ 127159 w 133350"/>
                <a:gd name="connsiteY4" fmla="*/ 7144 h 161925"/>
                <a:gd name="connsiteX5" fmla="*/ 9049 w 133350"/>
                <a:gd name="connsiteY5" fmla="*/ 576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350" h="161925">
                  <a:moveTo>
                    <a:pt x="9049" y="57626"/>
                  </a:moveTo>
                  <a:cubicBezTo>
                    <a:pt x="8096" y="66199"/>
                    <a:pt x="7144" y="74771"/>
                    <a:pt x="7144" y="84296"/>
                  </a:cubicBezTo>
                  <a:cubicBezTo>
                    <a:pt x="7144" y="92869"/>
                    <a:pt x="8096" y="102394"/>
                    <a:pt x="9049" y="110966"/>
                  </a:cubicBezTo>
                  <a:lnTo>
                    <a:pt x="127159" y="161449"/>
                  </a:lnTo>
                  <a:lnTo>
                    <a:pt x="127159" y="7144"/>
                  </a:lnTo>
                  <a:lnTo>
                    <a:pt x="9049" y="57626"/>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6" name="Полилиния: фигура 25">
              <a:extLst>
                <a:ext uri="{FF2B5EF4-FFF2-40B4-BE49-F238E27FC236}">
                  <a16:creationId xmlns:a16="http://schemas.microsoft.com/office/drawing/2014/main" id="{A2AEA8C9-512A-4208-8CBB-B17730DE11C6}"/>
                </a:ext>
              </a:extLst>
            </p:cNvPr>
            <p:cNvSpPr/>
            <p:nvPr/>
          </p:nvSpPr>
          <p:spPr>
            <a:xfrm>
              <a:off x="4800554" y="981074"/>
              <a:ext cx="114300" cy="180975"/>
            </a:xfrm>
            <a:custGeom>
              <a:avLst/>
              <a:gdLst>
                <a:gd name="connsiteX0" fmla="*/ 47149 w 114300"/>
                <a:gd name="connsiteY0" fmla="*/ 7144 h 180975"/>
                <a:gd name="connsiteX1" fmla="*/ 34766 w 114300"/>
                <a:gd name="connsiteY1" fmla="*/ 14764 h 180975"/>
                <a:gd name="connsiteX2" fmla="*/ 7144 w 114300"/>
                <a:gd name="connsiteY2" fmla="*/ 14764 h 180975"/>
                <a:gd name="connsiteX3" fmla="*/ 7144 w 114300"/>
                <a:gd name="connsiteY3" fmla="*/ 54769 h 180975"/>
                <a:gd name="connsiteX4" fmla="*/ 34766 w 114300"/>
                <a:gd name="connsiteY4" fmla="*/ 54769 h 180975"/>
                <a:gd name="connsiteX5" fmla="*/ 44291 w 114300"/>
                <a:gd name="connsiteY5" fmla="*/ 62389 h 180975"/>
                <a:gd name="connsiteX6" fmla="*/ 21431 w 114300"/>
                <a:gd name="connsiteY6" fmla="*/ 178594 h 180975"/>
                <a:gd name="connsiteX7" fmla="*/ 67151 w 114300"/>
                <a:gd name="connsiteY7" fmla="*/ 178594 h 180975"/>
                <a:gd name="connsiteX8" fmla="*/ 90011 w 114300"/>
                <a:gd name="connsiteY8" fmla="*/ 62389 h 180975"/>
                <a:gd name="connsiteX9" fmla="*/ 110014 w 114300"/>
                <a:gd name="connsiteY9" fmla="*/ 62389 h 180975"/>
                <a:gd name="connsiteX10" fmla="*/ 108109 w 114300"/>
                <a:gd name="connsiteY10" fmla="*/ 34766 h 180975"/>
                <a:gd name="connsiteX11" fmla="*/ 110014 w 114300"/>
                <a:gd name="connsiteY11" fmla="*/ 7144 h 180975"/>
                <a:gd name="connsiteX12" fmla="*/ 47149 w 114300"/>
                <a:gd name="connsiteY12"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300" h="180975">
                  <a:moveTo>
                    <a:pt x="47149" y="7144"/>
                  </a:moveTo>
                  <a:cubicBezTo>
                    <a:pt x="41434" y="7144"/>
                    <a:pt x="37624" y="10001"/>
                    <a:pt x="34766" y="14764"/>
                  </a:cubicBezTo>
                  <a:lnTo>
                    <a:pt x="7144" y="14764"/>
                  </a:lnTo>
                  <a:lnTo>
                    <a:pt x="7144" y="54769"/>
                  </a:lnTo>
                  <a:lnTo>
                    <a:pt x="34766" y="54769"/>
                  </a:lnTo>
                  <a:cubicBezTo>
                    <a:pt x="36671" y="58579"/>
                    <a:pt x="40481" y="61436"/>
                    <a:pt x="44291" y="62389"/>
                  </a:cubicBezTo>
                  <a:lnTo>
                    <a:pt x="21431" y="178594"/>
                  </a:lnTo>
                  <a:lnTo>
                    <a:pt x="67151" y="178594"/>
                  </a:lnTo>
                  <a:lnTo>
                    <a:pt x="90011" y="62389"/>
                  </a:lnTo>
                  <a:lnTo>
                    <a:pt x="110014" y="62389"/>
                  </a:lnTo>
                  <a:cubicBezTo>
                    <a:pt x="109061" y="53816"/>
                    <a:pt x="108109" y="44291"/>
                    <a:pt x="108109" y="34766"/>
                  </a:cubicBezTo>
                  <a:cubicBezTo>
                    <a:pt x="108109" y="25241"/>
                    <a:pt x="109061" y="15716"/>
                    <a:pt x="110014" y="7144"/>
                  </a:cubicBezTo>
                  <a:lnTo>
                    <a:pt x="47149" y="7144"/>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7" name="Полилиния: фигура 26">
              <a:extLst>
                <a:ext uri="{FF2B5EF4-FFF2-40B4-BE49-F238E27FC236}">
                  <a16:creationId xmlns:a16="http://schemas.microsoft.com/office/drawing/2014/main" id="{A1B5354F-12C0-4B02-9948-403D64C8ADBA}"/>
                </a:ext>
              </a:extLst>
            </p:cNvPr>
            <p:cNvSpPr/>
            <p:nvPr/>
          </p:nvSpPr>
          <p:spPr>
            <a:xfrm>
              <a:off x="5039631" y="988694"/>
              <a:ext cx="28575" cy="47625"/>
            </a:xfrm>
            <a:custGeom>
              <a:avLst/>
              <a:gdLst>
                <a:gd name="connsiteX0" fmla="*/ 7144 w 28575"/>
                <a:gd name="connsiteY0" fmla="*/ 7144 h 47625"/>
                <a:gd name="connsiteX1" fmla="*/ 7144 w 28575"/>
                <a:gd name="connsiteY1" fmla="*/ 47149 h 47625"/>
                <a:gd name="connsiteX2" fmla="*/ 26194 w 28575"/>
                <a:gd name="connsiteY2" fmla="*/ 27146 h 47625"/>
                <a:gd name="connsiteX3" fmla="*/ 7144 w 28575"/>
                <a:gd name="connsiteY3" fmla="*/ 71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7144" y="47149"/>
                  </a:lnTo>
                  <a:cubicBezTo>
                    <a:pt x="17621" y="46196"/>
                    <a:pt x="26194" y="37624"/>
                    <a:pt x="26194" y="27146"/>
                  </a:cubicBezTo>
                  <a:cubicBezTo>
                    <a:pt x="26194" y="16669"/>
                    <a:pt x="17621" y="8096"/>
                    <a:pt x="71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8" name="Полилиния: фигура 27">
              <a:extLst>
                <a:ext uri="{FF2B5EF4-FFF2-40B4-BE49-F238E27FC236}">
                  <a16:creationId xmlns:a16="http://schemas.microsoft.com/office/drawing/2014/main" id="{56B394E2-2091-4A8E-83E7-B8C8DD8644FF}"/>
                </a:ext>
              </a:extLst>
            </p:cNvPr>
            <p:cNvSpPr/>
            <p:nvPr/>
          </p:nvSpPr>
          <p:spPr>
            <a:xfrm>
              <a:off x="5059157" y="930116"/>
              <a:ext cx="47625" cy="38100"/>
            </a:xfrm>
            <a:custGeom>
              <a:avLst/>
              <a:gdLst>
                <a:gd name="connsiteX0" fmla="*/ 12383 w 47625"/>
                <a:gd name="connsiteY0" fmla="*/ 40005 h 38100"/>
                <a:gd name="connsiteX1" fmla="*/ 16192 w 47625"/>
                <a:gd name="connsiteY1" fmla="*/ 39053 h 38100"/>
                <a:gd name="connsiteX2" fmla="*/ 40005 w 47625"/>
                <a:gd name="connsiteY2" fmla="*/ 15240 h 38100"/>
                <a:gd name="connsiteX3" fmla="*/ 40005 w 47625"/>
                <a:gd name="connsiteY3" fmla="*/ 8572 h 38100"/>
                <a:gd name="connsiteX4" fmla="*/ 33338 w 47625"/>
                <a:gd name="connsiteY4" fmla="*/ 8572 h 38100"/>
                <a:gd name="connsiteX5" fmla="*/ 8573 w 47625"/>
                <a:gd name="connsiteY5" fmla="*/ 31433 h 38100"/>
                <a:gd name="connsiteX6" fmla="*/ 8573 w 47625"/>
                <a:gd name="connsiteY6" fmla="*/ 38100 h 38100"/>
                <a:gd name="connsiteX7" fmla="*/ 12383 w 47625"/>
                <a:gd name="connsiteY7" fmla="*/ 40005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2383" y="40005"/>
                  </a:moveTo>
                  <a:cubicBezTo>
                    <a:pt x="13335" y="40005"/>
                    <a:pt x="15240" y="40005"/>
                    <a:pt x="16192" y="39053"/>
                  </a:cubicBezTo>
                  <a:lnTo>
                    <a:pt x="40005" y="15240"/>
                  </a:lnTo>
                  <a:cubicBezTo>
                    <a:pt x="41910" y="13335"/>
                    <a:pt x="41910" y="10478"/>
                    <a:pt x="40005" y="8572"/>
                  </a:cubicBezTo>
                  <a:cubicBezTo>
                    <a:pt x="38100" y="6668"/>
                    <a:pt x="35242" y="6668"/>
                    <a:pt x="33338" y="8572"/>
                  </a:cubicBezTo>
                  <a:lnTo>
                    <a:pt x="8573" y="31433"/>
                  </a:lnTo>
                  <a:cubicBezTo>
                    <a:pt x="6667" y="33337"/>
                    <a:pt x="6667" y="36195"/>
                    <a:pt x="8573" y="38100"/>
                  </a:cubicBezTo>
                  <a:cubicBezTo>
                    <a:pt x="9525" y="39053"/>
                    <a:pt x="10478" y="40005"/>
                    <a:pt x="12383" y="40005"/>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29" name="Полилиния: фигура 28">
              <a:extLst>
                <a:ext uri="{FF2B5EF4-FFF2-40B4-BE49-F238E27FC236}">
                  <a16:creationId xmlns:a16="http://schemas.microsoft.com/office/drawing/2014/main" id="{B1C2A4B3-D43A-4295-B32C-C4B9D56D5D0F}"/>
                </a:ext>
              </a:extLst>
            </p:cNvPr>
            <p:cNvSpPr/>
            <p:nvPr/>
          </p:nvSpPr>
          <p:spPr>
            <a:xfrm>
              <a:off x="5059157" y="1054893"/>
              <a:ext cx="47625" cy="38100"/>
            </a:xfrm>
            <a:custGeom>
              <a:avLst/>
              <a:gdLst>
                <a:gd name="connsiteX0" fmla="*/ 15240 w 47625"/>
                <a:gd name="connsiteY0" fmla="*/ 8573 h 38100"/>
                <a:gd name="connsiteX1" fmla="*/ 8573 w 47625"/>
                <a:gd name="connsiteY1" fmla="*/ 8573 h 38100"/>
                <a:gd name="connsiteX2" fmla="*/ 8573 w 47625"/>
                <a:gd name="connsiteY2" fmla="*/ 15240 h 38100"/>
                <a:gd name="connsiteX3" fmla="*/ 32385 w 47625"/>
                <a:gd name="connsiteY3" fmla="*/ 39052 h 38100"/>
                <a:gd name="connsiteX4" fmla="*/ 36195 w 47625"/>
                <a:gd name="connsiteY4" fmla="*/ 40005 h 38100"/>
                <a:gd name="connsiteX5" fmla="*/ 40005 w 47625"/>
                <a:gd name="connsiteY5" fmla="*/ 39052 h 38100"/>
                <a:gd name="connsiteX6" fmla="*/ 40005 w 47625"/>
                <a:gd name="connsiteY6" fmla="*/ 32385 h 38100"/>
                <a:gd name="connsiteX7" fmla="*/ 15240 w 47625"/>
                <a:gd name="connsiteY7" fmla="*/ 8573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38100">
                  <a:moveTo>
                    <a:pt x="15240" y="8573"/>
                  </a:moveTo>
                  <a:cubicBezTo>
                    <a:pt x="13335" y="6667"/>
                    <a:pt x="10478" y="6667"/>
                    <a:pt x="8573" y="8573"/>
                  </a:cubicBezTo>
                  <a:cubicBezTo>
                    <a:pt x="6667" y="10477"/>
                    <a:pt x="6667" y="13335"/>
                    <a:pt x="8573" y="15240"/>
                  </a:cubicBezTo>
                  <a:lnTo>
                    <a:pt x="32385" y="39052"/>
                  </a:lnTo>
                  <a:cubicBezTo>
                    <a:pt x="33338" y="40005"/>
                    <a:pt x="34290" y="40005"/>
                    <a:pt x="36195" y="40005"/>
                  </a:cubicBezTo>
                  <a:cubicBezTo>
                    <a:pt x="38100" y="40005"/>
                    <a:pt x="39053" y="40005"/>
                    <a:pt x="40005" y="39052"/>
                  </a:cubicBezTo>
                  <a:cubicBezTo>
                    <a:pt x="41910" y="37148"/>
                    <a:pt x="41910" y="34290"/>
                    <a:pt x="40005" y="32385"/>
                  </a:cubicBezTo>
                  <a:lnTo>
                    <a:pt x="15240" y="8573"/>
                  </a:ln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sp>
          <p:nvSpPr>
            <p:cNvPr id="30" name="Полилиния: фигура 29">
              <a:extLst>
                <a:ext uri="{FF2B5EF4-FFF2-40B4-BE49-F238E27FC236}">
                  <a16:creationId xmlns:a16="http://schemas.microsoft.com/office/drawing/2014/main" id="{3B434E0D-175B-459B-8847-090DC6AC6448}"/>
                </a:ext>
              </a:extLst>
            </p:cNvPr>
            <p:cNvSpPr/>
            <p:nvPr/>
          </p:nvSpPr>
          <p:spPr>
            <a:xfrm>
              <a:off x="5071064" y="1003934"/>
              <a:ext cx="57150" cy="19050"/>
            </a:xfrm>
            <a:custGeom>
              <a:avLst/>
              <a:gdLst>
                <a:gd name="connsiteX0" fmla="*/ 45244 w 57150"/>
                <a:gd name="connsiteY0" fmla="*/ 7144 h 19050"/>
                <a:gd name="connsiteX1" fmla="*/ 11906 w 57150"/>
                <a:gd name="connsiteY1" fmla="*/ 7144 h 19050"/>
                <a:gd name="connsiteX2" fmla="*/ 7144 w 57150"/>
                <a:gd name="connsiteY2" fmla="*/ 11906 h 19050"/>
                <a:gd name="connsiteX3" fmla="*/ 11906 w 57150"/>
                <a:gd name="connsiteY3" fmla="*/ 16669 h 19050"/>
                <a:gd name="connsiteX4" fmla="*/ 45244 w 57150"/>
                <a:gd name="connsiteY4" fmla="*/ 16669 h 19050"/>
                <a:gd name="connsiteX5" fmla="*/ 50006 w 57150"/>
                <a:gd name="connsiteY5" fmla="*/ 11906 h 19050"/>
                <a:gd name="connsiteX6" fmla="*/ 45244 w 57150"/>
                <a:gd name="connsiteY6" fmla="*/ 714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9050">
                  <a:moveTo>
                    <a:pt x="45244" y="7144"/>
                  </a:moveTo>
                  <a:lnTo>
                    <a:pt x="11906" y="7144"/>
                  </a:lnTo>
                  <a:cubicBezTo>
                    <a:pt x="9049" y="7144"/>
                    <a:pt x="7144" y="9049"/>
                    <a:pt x="7144" y="11906"/>
                  </a:cubicBezTo>
                  <a:cubicBezTo>
                    <a:pt x="7144" y="14764"/>
                    <a:pt x="9049" y="16669"/>
                    <a:pt x="11906" y="16669"/>
                  </a:cubicBezTo>
                  <a:lnTo>
                    <a:pt x="45244" y="16669"/>
                  </a:lnTo>
                  <a:cubicBezTo>
                    <a:pt x="48101" y="16669"/>
                    <a:pt x="50006" y="14764"/>
                    <a:pt x="50006" y="11906"/>
                  </a:cubicBezTo>
                  <a:cubicBezTo>
                    <a:pt x="50006" y="9049"/>
                    <a:pt x="48101" y="7144"/>
                    <a:pt x="45244" y="7144"/>
                  </a:cubicBezTo>
                  <a:close/>
                </a:path>
              </a:pathLst>
            </a:custGeom>
            <a:grpFill/>
            <a:ln w="9525" cap="flat">
              <a:noFill/>
              <a:prstDash val="solid"/>
              <a:miter/>
            </a:ln>
          </p:spPr>
          <p:txBody>
            <a:bodyPr rot="0" spcFirstLastPara="0" vert="horz" wrap="square" lIns="143958" tIns="71979" rIns="143958" bIns="71979"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sz="2834"/>
            </a:p>
          </p:txBody>
        </p:sp>
      </p:grpSp>
      <p:sp>
        <p:nvSpPr>
          <p:cNvPr id="31" name="object 4">
            <a:extLst>
              <a:ext uri="{FF2B5EF4-FFF2-40B4-BE49-F238E27FC236}">
                <a16:creationId xmlns:a16="http://schemas.microsoft.com/office/drawing/2014/main" id="{E1434490-2021-4875-B10F-A12736C027A7}"/>
              </a:ext>
            </a:extLst>
          </p:cNvPr>
          <p:cNvSpPr txBox="1"/>
          <p:nvPr/>
        </p:nvSpPr>
        <p:spPr>
          <a:xfrm>
            <a:off x="822796" y="3719896"/>
            <a:ext cx="5443413" cy="1067459"/>
          </a:xfrm>
          <a:prstGeom prst="rect">
            <a:avLst/>
          </a:prstGeom>
        </p:spPr>
        <p:txBody>
          <a:bodyPr vert="horz" wrap="square" lIns="0" tIns="13195" rIns="0" bIns="0" rtlCol="0">
            <a:spAutoFit/>
          </a:bodyPr>
          <a:lstStyle/>
          <a:p>
            <a:pPr marL="12495" marR="5937">
              <a:lnSpc>
                <a:spcPts val="1259"/>
              </a:lnSpc>
              <a:spcBef>
                <a:spcPts val="945"/>
              </a:spcBef>
              <a:buClr>
                <a:srgbClr val="252C69"/>
              </a:buClr>
            </a:pPr>
            <a:r>
              <a:rPr lang="ru-RU" sz="980" spc="-11">
                <a:solidFill>
                  <a:srgbClr val="6D6E71"/>
                </a:solidFill>
                <a:latin typeface="Roboto"/>
                <a:cs typeface="Roboto"/>
              </a:rPr>
              <a:t>Коммуникационные </a:t>
            </a:r>
            <a:r>
              <a:rPr lang="ru-RU" sz="980" spc="-5">
                <a:solidFill>
                  <a:srgbClr val="6D6E71"/>
                </a:solidFill>
                <a:latin typeface="Roboto"/>
                <a:cs typeface="Roboto"/>
              </a:rPr>
              <a:t>материалы </a:t>
            </a:r>
            <a:r>
              <a:rPr lang="ru-RU" sz="980">
                <a:solidFill>
                  <a:srgbClr val="6D6E71"/>
                </a:solidFill>
                <a:latin typeface="Roboto"/>
                <a:cs typeface="Roboto"/>
              </a:rPr>
              <a:t>— </a:t>
            </a:r>
            <a:r>
              <a:rPr lang="ru-RU" sz="980" spc="-5">
                <a:solidFill>
                  <a:srgbClr val="6D6E71"/>
                </a:solidFill>
                <a:latin typeface="Roboto"/>
                <a:cs typeface="Roboto"/>
              </a:rPr>
              <a:t>карьерные навигаторы, карьерные карты, </a:t>
            </a:r>
            <a:r>
              <a:rPr lang="ru-RU" sz="980" spc="-11">
                <a:solidFill>
                  <a:srgbClr val="6D6E71"/>
                </a:solidFill>
                <a:latin typeface="Roboto"/>
                <a:cs typeface="Roboto"/>
              </a:rPr>
              <a:t>руковод</a:t>
            </a:r>
            <a:r>
              <a:rPr lang="ru-RU" sz="980" spc="-5">
                <a:solidFill>
                  <a:srgbClr val="6D6E71"/>
                </a:solidFill>
                <a:latin typeface="Roboto"/>
                <a:cs typeface="Roboto"/>
              </a:rPr>
              <a:t>ства </a:t>
            </a:r>
            <a:r>
              <a:rPr lang="ru-RU" sz="980">
                <a:solidFill>
                  <a:srgbClr val="6D6E71"/>
                </a:solidFill>
                <a:latin typeface="Roboto"/>
                <a:cs typeface="Roboto"/>
              </a:rPr>
              <a:t>для </a:t>
            </a:r>
            <a:r>
              <a:rPr lang="ru-RU" sz="980" spc="-5">
                <a:solidFill>
                  <a:srgbClr val="6D6E71"/>
                </a:solidFill>
                <a:latin typeface="Roboto"/>
                <a:cs typeface="Roboto"/>
              </a:rPr>
              <a:t>лидера </a:t>
            </a:r>
            <a:r>
              <a:rPr lang="ru-RU" sz="980">
                <a:solidFill>
                  <a:srgbClr val="6D6E71"/>
                </a:solidFill>
                <a:latin typeface="Roboto"/>
                <a:cs typeface="Roboto"/>
              </a:rPr>
              <a:t>и </a:t>
            </a:r>
            <a:r>
              <a:rPr lang="ru-RU" sz="980" spc="-5">
                <a:solidFill>
                  <a:srgbClr val="6D6E71"/>
                </a:solidFill>
                <a:latin typeface="Roboto"/>
                <a:cs typeface="Roboto"/>
              </a:rPr>
              <a:t>другие </a:t>
            </a:r>
            <a:r>
              <a:rPr lang="ru-RU" sz="980">
                <a:solidFill>
                  <a:srgbClr val="6D6E71"/>
                </a:solidFill>
                <a:latin typeface="Roboto"/>
                <a:cs typeface="Roboto"/>
              </a:rPr>
              <a:t>— </a:t>
            </a:r>
            <a:r>
              <a:rPr lang="ru-RU" sz="980" spc="-5">
                <a:solidFill>
                  <a:srgbClr val="6D6E71"/>
                </a:solidFill>
                <a:latin typeface="Roboto"/>
                <a:cs typeface="Roboto"/>
              </a:rPr>
              <a:t>способствуют вовлечению </a:t>
            </a:r>
            <a:r>
              <a:rPr lang="ru-RU" sz="980" spc="-11">
                <a:solidFill>
                  <a:srgbClr val="6D6E71"/>
                </a:solidFill>
                <a:latin typeface="Roboto"/>
                <a:cs typeface="Roboto"/>
              </a:rPr>
              <a:t>сотрудников </a:t>
            </a:r>
            <a:r>
              <a:rPr lang="ru-RU" sz="980">
                <a:solidFill>
                  <a:srgbClr val="6D6E71"/>
                </a:solidFill>
                <a:latin typeface="Roboto"/>
                <a:cs typeface="Roboto"/>
              </a:rPr>
              <a:t>в </a:t>
            </a:r>
            <a:r>
              <a:rPr lang="ru-RU" sz="980" spc="-5">
                <a:solidFill>
                  <a:srgbClr val="6D6E71"/>
                </a:solidFill>
                <a:latin typeface="Roboto"/>
                <a:cs typeface="Roboto"/>
              </a:rPr>
              <a:t>процессы </a:t>
            </a:r>
            <a:r>
              <a:rPr lang="ru-RU" sz="980">
                <a:solidFill>
                  <a:srgbClr val="6D6E71"/>
                </a:solidFill>
                <a:latin typeface="Roboto"/>
                <a:cs typeface="Roboto"/>
              </a:rPr>
              <a:t>разви</a:t>
            </a:r>
            <a:r>
              <a:rPr lang="ru-RU" sz="980" spc="-5">
                <a:solidFill>
                  <a:srgbClr val="6D6E71"/>
                </a:solidFill>
                <a:latin typeface="Roboto"/>
                <a:cs typeface="Roboto"/>
              </a:rPr>
              <a:t>тия.</a:t>
            </a:r>
            <a:endParaRPr lang="ru-RU" sz="980">
              <a:latin typeface="Roboto"/>
              <a:cs typeface="Roboto"/>
            </a:endParaRPr>
          </a:p>
          <a:p>
            <a:pPr marL="12495" marR="5937">
              <a:lnSpc>
                <a:spcPts val="1259"/>
              </a:lnSpc>
              <a:spcBef>
                <a:spcPts val="945"/>
              </a:spcBef>
              <a:buClr>
                <a:srgbClr val="252C69"/>
              </a:buClr>
            </a:pPr>
            <a:r>
              <a:rPr lang="ru-RU" sz="980">
                <a:solidFill>
                  <a:srgbClr val="6D6E71"/>
                </a:solidFill>
                <a:latin typeface="Roboto"/>
                <a:cs typeface="Roboto"/>
              </a:rPr>
              <a:t>Информирование </a:t>
            </a:r>
            <a:r>
              <a:rPr lang="ru-RU" sz="980" spc="-5">
                <a:solidFill>
                  <a:srgbClr val="6D6E71"/>
                </a:solidFill>
                <a:latin typeface="Roboto"/>
                <a:cs typeface="Roboto"/>
              </a:rPr>
              <a:t>через обучение делает </a:t>
            </a:r>
            <a:r>
              <a:rPr lang="ru-RU" sz="980">
                <a:solidFill>
                  <a:srgbClr val="6D6E71"/>
                </a:solidFill>
                <a:latin typeface="Roboto"/>
                <a:cs typeface="Roboto"/>
              </a:rPr>
              <a:t>новые </a:t>
            </a:r>
            <a:r>
              <a:rPr lang="ru-RU" sz="980" spc="-5">
                <a:solidFill>
                  <a:srgbClr val="6D6E71"/>
                </a:solidFill>
                <a:latin typeface="Roboto"/>
                <a:cs typeface="Roboto"/>
              </a:rPr>
              <a:t>инструменты профессионального </a:t>
            </a:r>
            <a:br>
              <a:rPr lang="ru-RU" sz="980" spc="-5">
                <a:solidFill>
                  <a:srgbClr val="6D6E71"/>
                </a:solidFill>
                <a:latin typeface="Roboto"/>
                <a:cs typeface="Roboto"/>
              </a:rPr>
            </a:br>
            <a:r>
              <a:rPr lang="ru-RU" sz="980">
                <a:solidFill>
                  <a:srgbClr val="6D6E71"/>
                </a:solidFill>
                <a:latin typeface="Roboto"/>
                <a:cs typeface="Roboto"/>
              </a:rPr>
              <a:t>и ка</a:t>
            </a:r>
            <a:r>
              <a:rPr lang="ru-RU" sz="980" spc="-5">
                <a:solidFill>
                  <a:srgbClr val="6D6E71"/>
                </a:solidFill>
                <a:latin typeface="Roboto"/>
                <a:cs typeface="Roboto"/>
              </a:rPr>
              <a:t>рьерного развития понятными </a:t>
            </a:r>
            <a:r>
              <a:rPr lang="ru-RU" sz="980">
                <a:solidFill>
                  <a:srgbClr val="6D6E71"/>
                </a:solidFill>
                <a:latin typeface="Roboto"/>
                <a:cs typeface="Roboto"/>
              </a:rPr>
              <a:t>и</a:t>
            </a:r>
            <a:r>
              <a:rPr lang="ru-RU" sz="980" spc="5">
                <a:solidFill>
                  <a:srgbClr val="6D6E71"/>
                </a:solidFill>
                <a:latin typeface="Roboto"/>
                <a:cs typeface="Roboto"/>
              </a:rPr>
              <a:t> </a:t>
            </a:r>
            <a:r>
              <a:rPr lang="ru-RU" sz="980" spc="-5">
                <a:solidFill>
                  <a:srgbClr val="6D6E71"/>
                </a:solidFill>
                <a:latin typeface="Roboto"/>
                <a:cs typeface="Roboto"/>
              </a:rPr>
              <a:t>востребованными.</a:t>
            </a:r>
            <a:endParaRPr lang="ru-RU" sz="980">
              <a:latin typeface="Roboto"/>
              <a:cs typeface="Roboto"/>
            </a:endParaRPr>
          </a:p>
          <a:p>
            <a:pPr marL="12495" marR="5937">
              <a:lnSpc>
                <a:spcPts val="1259"/>
              </a:lnSpc>
              <a:spcBef>
                <a:spcPts val="945"/>
              </a:spcBef>
              <a:buClr>
                <a:srgbClr val="252C69"/>
              </a:buClr>
            </a:pPr>
            <a:endParaRPr lang="ru-RU" sz="980">
              <a:latin typeface="Roboto"/>
              <a:cs typeface="Roboto"/>
            </a:endParaRPr>
          </a:p>
        </p:txBody>
      </p:sp>
      <p:sp>
        <p:nvSpPr>
          <p:cNvPr id="32" name="object 5">
            <a:extLst>
              <a:ext uri="{FF2B5EF4-FFF2-40B4-BE49-F238E27FC236}">
                <a16:creationId xmlns:a16="http://schemas.microsoft.com/office/drawing/2014/main" id="{AC75A66C-6F32-43C4-8C0F-67952FEE7B93}"/>
              </a:ext>
            </a:extLst>
          </p:cNvPr>
          <p:cNvSpPr/>
          <p:nvPr/>
        </p:nvSpPr>
        <p:spPr>
          <a:xfrm flipH="1">
            <a:off x="670635" y="3717862"/>
            <a:ext cx="73878" cy="370986"/>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34" name="object 5">
            <a:extLst>
              <a:ext uri="{FF2B5EF4-FFF2-40B4-BE49-F238E27FC236}">
                <a16:creationId xmlns:a16="http://schemas.microsoft.com/office/drawing/2014/main" id="{48987F32-1947-4251-9A03-7B85A25A1D86}"/>
              </a:ext>
            </a:extLst>
          </p:cNvPr>
          <p:cNvSpPr/>
          <p:nvPr/>
        </p:nvSpPr>
        <p:spPr>
          <a:xfrm flipH="1">
            <a:off x="670635" y="4019425"/>
            <a:ext cx="73398" cy="538149"/>
          </a:xfrm>
          <a:custGeom>
            <a:avLst/>
            <a:gdLst/>
            <a:ahLst/>
            <a:cxnLst/>
            <a:rect l="l" t="t" r="r" b="b"/>
            <a:pathLst>
              <a:path w="97790" h="482600">
                <a:moveTo>
                  <a:pt x="0" y="482396"/>
                </a:moveTo>
                <a:lnTo>
                  <a:pt x="97205" y="482396"/>
                </a:lnTo>
                <a:lnTo>
                  <a:pt x="97205" y="0"/>
                </a:lnTo>
                <a:lnTo>
                  <a:pt x="0" y="0"/>
                </a:lnTo>
                <a:lnTo>
                  <a:pt x="0" y="482396"/>
                </a:lnTo>
                <a:close/>
              </a:path>
            </a:pathLst>
          </a:custGeom>
          <a:solidFill>
            <a:srgbClr val="CED0D5"/>
          </a:solidFill>
        </p:spPr>
        <p:txBody>
          <a:bodyPr wrap="square" lIns="0" tIns="0" rIns="0" bIns="0" rtlCol="0"/>
          <a:lstStyle/>
          <a:p>
            <a:endParaRPr sz="1870"/>
          </a:p>
        </p:txBody>
      </p:sp>
      <p:sp>
        <p:nvSpPr>
          <p:cNvPr id="35" name="object 44">
            <a:extLst>
              <a:ext uri="{FF2B5EF4-FFF2-40B4-BE49-F238E27FC236}">
                <a16:creationId xmlns:a16="http://schemas.microsoft.com/office/drawing/2014/main" id="{18F420C4-3B6C-48EC-A252-C2C6055A01AA}"/>
              </a:ext>
            </a:extLst>
          </p:cNvPr>
          <p:cNvSpPr/>
          <p:nvPr/>
        </p:nvSpPr>
        <p:spPr>
          <a:xfrm rot="5400000">
            <a:off x="5674597" y="141702"/>
            <a:ext cx="1078700" cy="12453867"/>
          </a:xfrm>
          <a:custGeom>
            <a:avLst/>
            <a:gdLst/>
            <a:ahLst/>
            <a:cxnLst/>
            <a:rect l="l" t="t" r="r" b="b"/>
            <a:pathLst>
              <a:path w="1690370" h="4356100">
                <a:moveTo>
                  <a:pt x="0" y="4355998"/>
                </a:moveTo>
                <a:lnTo>
                  <a:pt x="1690141" y="4355998"/>
                </a:lnTo>
                <a:lnTo>
                  <a:pt x="1690141" y="0"/>
                </a:lnTo>
                <a:lnTo>
                  <a:pt x="0" y="0"/>
                </a:lnTo>
                <a:lnTo>
                  <a:pt x="0" y="4355998"/>
                </a:lnTo>
                <a:close/>
              </a:path>
            </a:pathLst>
          </a:custGeom>
          <a:solidFill>
            <a:srgbClr val="CBCDD3"/>
          </a:solidFill>
        </p:spPr>
        <p:txBody>
          <a:bodyPr wrap="square" lIns="0" tIns="0" rIns="0" bIns="0" rtlCol="0"/>
          <a:lstStyle/>
          <a:p>
            <a:endParaRPr sz="1870"/>
          </a:p>
        </p:txBody>
      </p:sp>
      <p:sp>
        <p:nvSpPr>
          <p:cNvPr id="36" name="object 30">
            <a:extLst>
              <a:ext uri="{FF2B5EF4-FFF2-40B4-BE49-F238E27FC236}">
                <a16:creationId xmlns:a16="http://schemas.microsoft.com/office/drawing/2014/main" id="{CDC6B56A-CD9A-4E7E-A002-0FE101BB63DC}"/>
              </a:ext>
            </a:extLst>
          </p:cNvPr>
          <p:cNvSpPr txBox="1"/>
          <p:nvPr/>
        </p:nvSpPr>
        <p:spPr>
          <a:xfrm>
            <a:off x="687666" y="5979168"/>
            <a:ext cx="4736683" cy="497815"/>
          </a:xfrm>
          <a:prstGeom prst="rect">
            <a:avLst/>
          </a:prstGeom>
        </p:spPr>
        <p:txBody>
          <a:bodyPr vert="horz" wrap="square" lIns="0" tIns="13195" rIns="0" bIns="0" rtlCol="0">
            <a:spAutoFit/>
          </a:bodyPr>
          <a:lstStyle/>
          <a:p>
            <a:pPr marL="15172" marR="5277">
              <a:spcBef>
                <a:spcPts val="104"/>
              </a:spcBef>
            </a:pP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К</a:t>
            </a:r>
            <a:r>
              <a:rPr sz="1574" spc="-52">
                <a:solidFill>
                  <a:srgbClr val="252C69"/>
                </a:solidFill>
                <a:latin typeface="Roboto Medium" panose="02000000000000000000" pitchFamily="2" charset="0"/>
                <a:ea typeface="Roboto Medium" panose="02000000000000000000" pitchFamily="2" charset="0"/>
                <a:cs typeface="Roboto Medium" panose="02000000000000000000" pitchFamily="2" charset="0"/>
              </a:rPr>
              <a:t>О</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20">
                <a:solidFill>
                  <a:srgbClr val="252C69"/>
                </a:solidFill>
                <a:latin typeface="Roboto Medium" panose="02000000000000000000" pitchFamily="2" charset="0"/>
                <a:ea typeface="Roboto Medium" panose="02000000000000000000" pitchFamily="2" charset="0"/>
                <a:cs typeface="Roboto Medium" panose="02000000000000000000" pitchFamily="2" charset="0"/>
              </a:rPr>
              <a:t>П</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ЛЕ</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М</a:t>
            </a:r>
            <a:r>
              <a:rPr sz="1574" spc="-68">
                <a:solidFill>
                  <a:srgbClr val="252C69"/>
                </a:solidFill>
                <a:latin typeface="Roboto Medium" panose="02000000000000000000" pitchFamily="2" charset="0"/>
                <a:ea typeface="Roboto Medium" panose="02000000000000000000" pitchFamily="2" charset="0"/>
                <a:cs typeface="Roboto Medium" panose="02000000000000000000" pitchFamily="2" charset="0"/>
              </a:rPr>
              <a:t>Е</a:t>
            </a:r>
            <a:r>
              <a:rPr sz="1574" spc="5">
                <a:solidFill>
                  <a:srgbClr val="252C69"/>
                </a:solidFill>
                <a:latin typeface="Roboto Medium" panose="02000000000000000000" pitchFamily="2" charset="0"/>
                <a:ea typeface="Roboto Medium" panose="02000000000000000000" pitchFamily="2" charset="0"/>
                <a:cs typeface="Roboto Medium" panose="02000000000000000000" pitchFamily="2" charset="0"/>
              </a:rPr>
              <a:t>Н</a:t>
            </a:r>
            <a:r>
              <a:rPr sz="1574" spc="-31">
                <a:solidFill>
                  <a:srgbClr val="252C69"/>
                </a:solidFill>
                <a:latin typeface="Roboto Medium" panose="02000000000000000000" pitchFamily="2" charset="0"/>
                <a:ea typeface="Roboto Medium" panose="02000000000000000000" pitchFamily="2" charset="0"/>
                <a:cs typeface="Roboto Medium" panose="02000000000000000000" pitchFamily="2" charset="0"/>
              </a:rPr>
              <a:t>Т</a:t>
            </a: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АРН</a:t>
            </a:r>
            <a:r>
              <a:rPr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t>ЫЕ  </a:t>
            </a:r>
            <a:br>
              <a:rPr lang="ru-RU" sz="1574" spc="-11">
                <a:solidFill>
                  <a:srgbClr val="252C69"/>
                </a:solidFill>
                <a:latin typeface="Roboto Medium" panose="02000000000000000000" pitchFamily="2" charset="0"/>
                <a:ea typeface="Roboto Medium" panose="02000000000000000000" pitchFamily="2" charset="0"/>
                <a:cs typeface="Roboto Medium" panose="02000000000000000000" pitchFamily="2" charset="0"/>
              </a:rPr>
            </a:br>
            <a:r>
              <a:rPr sz="1574" spc="-16">
                <a:solidFill>
                  <a:srgbClr val="252C69"/>
                </a:solidFill>
                <a:latin typeface="Roboto Medium" panose="02000000000000000000" pitchFamily="2" charset="0"/>
                <a:ea typeface="Roboto Medium" panose="02000000000000000000" pitchFamily="2" charset="0"/>
                <a:cs typeface="Roboto Medium" panose="02000000000000000000" pitchFamily="2" charset="0"/>
              </a:rPr>
              <a:t>РЕШЕНИЯ:</a:t>
            </a:r>
            <a:endParaRPr sz="1417">
              <a:solidFill>
                <a:srgbClr val="252C69"/>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37" name="object 30">
            <a:extLst>
              <a:ext uri="{FF2B5EF4-FFF2-40B4-BE49-F238E27FC236}">
                <a16:creationId xmlns:a16="http://schemas.microsoft.com/office/drawing/2014/main" id="{0B6284AC-694A-4694-BA2D-6601537B0470}"/>
              </a:ext>
            </a:extLst>
          </p:cNvPr>
          <p:cNvSpPr txBox="1"/>
          <p:nvPr/>
        </p:nvSpPr>
        <p:spPr>
          <a:xfrm>
            <a:off x="6410228" y="5988397"/>
            <a:ext cx="3323062" cy="905876"/>
          </a:xfrm>
          <a:prstGeom prst="rect">
            <a:avLst/>
          </a:prstGeom>
        </p:spPr>
        <p:txBody>
          <a:bodyPr vert="horz" wrap="square" lIns="0" tIns="13195" rIns="0" bIns="0" rtlCol="0">
            <a:spAutoFit/>
          </a:bodyPr>
          <a:lstStyle/>
          <a:p>
            <a:pPr marL="87739" marR="225613"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инструментов оценки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рофессиональных и лидерских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компетенций</a:t>
            </a:r>
          </a:p>
          <a:p>
            <a:pPr marL="87739" marR="225613"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программ развития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err="1">
                <a:solidFill>
                  <a:srgbClr val="252C69"/>
                </a:solidFill>
                <a:latin typeface="Roboto" panose="02000000000000000000" pitchFamily="2" charset="0"/>
                <a:ea typeface="Roboto" panose="02000000000000000000" pitchFamily="2" charset="0"/>
                <a:cs typeface="Roboto" panose="02000000000000000000" pitchFamily="2" charset="0"/>
              </a:rPr>
              <a:t>метакомпетенций</a:t>
            </a: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a:p>
            <a:pPr marL="87739" marR="225613"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38" name="object 30">
            <a:extLst>
              <a:ext uri="{FF2B5EF4-FFF2-40B4-BE49-F238E27FC236}">
                <a16:creationId xmlns:a16="http://schemas.microsoft.com/office/drawing/2014/main" id="{C96676DE-C8DF-4A54-B424-F36000B57F45}"/>
              </a:ext>
            </a:extLst>
          </p:cNvPr>
          <p:cNvSpPr txBox="1"/>
          <p:nvPr/>
        </p:nvSpPr>
        <p:spPr>
          <a:xfrm>
            <a:off x="3456770" y="5988397"/>
            <a:ext cx="2604403" cy="882023"/>
          </a:xfrm>
          <a:prstGeom prst="rect">
            <a:avLst/>
          </a:prstGeom>
        </p:spPr>
        <p:txBody>
          <a:bodyPr vert="horz" wrap="square" lIns="0" tIns="13195" rIns="0" bIns="0" rtlCol="0">
            <a:spAutoFit/>
          </a:bodyPr>
          <a:lstStyle/>
          <a:p>
            <a:pPr marL="87739" marR="166901" indent="-74545">
              <a:spcBef>
                <a:spcPts val="529"/>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архитектуры должностей</a:t>
            </a:r>
          </a:p>
          <a:p>
            <a:pPr marL="87739" marR="165582" indent="-74545">
              <a:spcBef>
                <a:spcPts val="587"/>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Создание системы карьерных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и профессиональных маршрутов</a:t>
            </a:r>
          </a:p>
          <a:p>
            <a:pPr marL="87739" marR="165582" indent="-74545">
              <a:spcBef>
                <a:spcPts val="587"/>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модели компетенций</a:t>
            </a:r>
          </a:p>
          <a:p>
            <a:pPr marL="87739" marR="165582" indent="-74545">
              <a:spcBef>
                <a:spcPts val="587"/>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39" name="object 30">
            <a:extLst>
              <a:ext uri="{FF2B5EF4-FFF2-40B4-BE49-F238E27FC236}">
                <a16:creationId xmlns:a16="http://schemas.microsoft.com/office/drawing/2014/main" id="{9F7BEC43-4CE9-4ACE-8F42-AAAB35F9AE08}"/>
              </a:ext>
            </a:extLst>
          </p:cNvPr>
          <p:cNvSpPr txBox="1"/>
          <p:nvPr/>
        </p:nvSpPr>
        <p:spPr>
          <a:xfrm>
            <a:off x="9240614" y="5988398"/>
            <a:ext cx="3323062" cy="905876"/>
          </a:xfrm>
          <a:prstGeom prst="rect">
            <a:avLst/>
          </a:prstGeom>
        </p:spPr>
        <p:txBody>
          <a:bodyPr vert="horz" wrap="square" lIns="0" tIns="13195" rIns="0" bIns="0" rtlCol="0">
            <a:spAutoFit/>
          </a:bodyPr>
          <a:lstStyle/>
          <a:p>
            <a:pPr marL="87739" marR="393175" indent="-74545">
              <a:spcBef>
                <a:spcPts val="592"/>
              </a:spcBef>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Формирование карьерных атласов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и навигаторов</a:t>
            </a:r>
          </a:p>
          <a:p>
            <a:pPr marL="87739" marR="393175" indent="-74545">
              <a:spcBef>
                <a:spcPts val="592"/>
              </a:spcBef>
              <a:buFontTx/>
              <a:buChar char="·"/>
              <a:tabLst>
                <a:tab pos="81141" algn="l"/>
              </a:tabLst>
            </a:pP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работка единого пространства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развития человека для инновационных </a:t>
            </a:r>
            <a:br>
              <a:rPr lang="ru-RU" sz="800">
                <a:solidFill>
                  <a:srgbClr val="252C69"/>
                </a:solidFill>
                <a:latin typeface="Roboto" panose="02000000000000000000" pitchFamily="2" charset="0"/>
                <a:ea typeface="Roboto" panose="02000000000000000000" pitchFamily="2" charset="0"/>
                <a:cs typeface="Roboto" panose="02000000000000000000" pitchFamily="2" charset="0"/>
              </a:rPr>
            </a:br>
            <a:r>
              <a:rPr lang="ru-RU" sz="800">
                <a:solidFill>
                  <a:srgbClr val="252C69"/>
                </a:solidFill>
                <a:latin typeface="Roboto" panose="02000000000000000000" pitchFamily="2" charset="0"/>
                <a:ea typeface="Roboto" panose="02000000000000000000" pitchFamily="2" charset="0"/>
                <a:cs typeface="Roboto" panose="02000000000000000000" pitchFamily="2" charset="0"/>
              </a:rPr>
              <a:t>подразделений</a:t>
            </a:r>
          </a:p>
          <a:p>
            <a:pPr marL="87739" marR="393175" indent="-74545">
              <a:spcBef>
                <a:spcPts val="592"/>
              </a:spcBef>
              <a:buChar char="·"/>
              <a:tabLst>
                <a:tab pos="81141" algn="l"/>
              </a:tabLst>
            </a:pPr>
            <a:endParaRPr lang="ru-RU" sz="800">
              <a:solidFill>
                <a:srgbClr val="252C69"/>
              </a:solidFill>
              <a:latin typeface="Roboto" panose="02000000000000000000" pitchFamily="2" charset="0"/>
              <a:ea typeface="Roboto" panose="02000000000000000000" pitchFamily="2" charset="0"/>
              <a:cs typeface="Roboto" panose="02000000000000000000" pitchFamily="2" charset="0"/>
            </a:endParaRPr>
          </a:p>
        </p:txBody>
      </p:sp>
      <p:sp>
        <p:nvSpPr>
          <p:cNvPr id="46" name="object 29">
            <a:extLst>
              <a:ext uri="{FF2B5EF4-FFF2-40B4-BE49-F238E27FC236}">
                <a16:creationId xmlns:a16="http://schemas.microsoft.com/office/drawing/2014/main" id="{6B79CCCC-EB6F-4F02-9624-CC9AF52FD174}"/>
              </a:ext>
            </a:extLst>
          </p:cNvPr>
          <p:cNvSpPr txBox="1"/>
          <p:nvPr/>
        </p:nvSpPr>
        <p:spPr>
          <a:xfrm>
            <a:off x="6691136" y="5230276"/>
            <a:ext cx="4331334" cy="134447"/>
          </a:xfrm>
          <a:prstGeom prst="rect">
            <a:avLst/>
          </a:prstGeom>
        </p:spPr>
        <p:txBody>
          <a:bodyPr vert="horz" wrap="square" lIns="0" tIns="13195" rIns="0" bIns="0" rtlCol="0">
            <a:spAutoFit/>
          </a:bodyPr>
          <a:lstStyle/>
          <a:p>
            <a:pPr marL="13194" marR="5277">
              <a:spcBef>
                <a:spcPts val="104"/>
              </a:spcBef>
            </a:pPr>
            <a:r>
              <a:rPr sz="787">
                <a:solidFill>
                  <a:srgbClr val="747578"/>
                </a:solidFill>
                <a:latin typeface="Roboto"/>
                <a:cs typeface="Roboto"/>
              </a:rPr>
              <a:t>(*) </a:t>
            </a:r>
            <a:r>
              <a:rPr sz="787" spc="-5" err="1">
                <a:solidFill>
                  <a:srgbClr val="747578"/>
                </a:solidFill>
                <a:latin typeface="Roboto"/>
                <a:cs typeface="Roboto"/>
              </a:rPr>
              <a:t>Модель</a:t>
            </a:r>
            <a:r>
              <a:rPr sz="787" spc="-5">
                <a:solidFill>
                  <a:srgbClr val="747578"/>
                </a:solidFill>
                <a:latin typeface="Roboto"/>
                <a:cs typeface="Roboto"/>
              </a:rPr>
              <a:t> </a:t>
            </a:r>
            <a:r>
              <a:rPr lang="en-US" sz="787" spc="-5">
                <a:solidFill>
                  <a:srgbClr val="747578"/>
                </a:solidFill>
                <a:latin typeface="Roboto"/>
                <a:cs typeface="Roboto"/>
              </a:rPr>
              <a:t>BITOBE</a:t>
            </a:r>
            <a:endParaRPr sz="787">
              <a:solidFill>
                <a:srgbClr val="747578"/>
              </a:solidFill>
              <a:latin typeface="Roboto"/>
              <a:cs typeface="Roboto"/>
            </a:endParaRPr>
          </a:p>
        </p:txBody>
      </p:sp>
      <p:sp>
        <p:nvSpPr>
          <p:cNvPr id="16" name="Прямоугольник 15">
            <a:extLst>
              <a:ext uri="{FF2B5EF4-FFF2-40B4-BE49-F238E27FC236}">
                <a16:creationId xmlns:a16="http://schemas.microsoft.com/office/drawing/2014/main" id="{C6337E7A-A813-479F-B7E0-2967844A4C92}"/>
              </a:ext>
            </a:extLst>
          </p:cNvPr>
          <p:cNvSpPr/>
          <p:nvPr/>
        </p:nvSpPr>
        <p:spPr>
          <a:xfrm>
            <a:off x="6646762" y="5227181"/>
            <a:ext cx="179408" cy="233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2" name="Рисунок 41">
            <a:extLst>
              <a:ext uri="{FF2B5EF4-FFF2-40B4-BE49-F238E27FC236}">
                <a16:creationId xmlns:a16="http://schemas.microsoft.com/office/drawing/2014/main" id="{28F01096-0326-40D8-8B9A-6F42792C83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02857" y="5254963"/>
            <a:ext cx="100013" cy="100013"/>
          </a:xfrm>
          <a:prstGeom prst="rect">
            <a:avLst/>
          </a:prstGeom>
        </p:spPr>
      </p:pic>
    </p:spTree>
    <p:extLst>
      <p:ext uri="{BB962C8B-B14F-4D97-AF65-F5344CB8AC3E}">
        <p14:creationId xmlns:p14="http://schemas.microsoft.com/office/powerpoint/2010/main" val="13720833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DDFC211-6E4B-41A4-85CE-BD2BF622CD8E}"/>
              </a:ext>
            </a:extLst>
          </p:cNvPr>
          <p:cNvSpPr>
            <a:spLocks noGrp="1"/>
          </p:cNvSpPr>
          <p:nvPr>
            <p:ph type="title"/>
          </p:nvPr>
        </p:nvSpPr>
        <p:spPr>
          <a:xfrm>
            <a:off x="415003" y="302411"/>
            <a:ext cx="11166196" cy="458926"/>
          </a:xfrm>
        </p:spPr>
        <p:txBody>
          <a:bodyPr/>
          <a:lstStyle/>
          <a:p>
            <a:r>
              <a:rPr lang="ru-RU" sz="2800"/>
              <a:t>Что такое трансформация</a:t>
            </a:r>
          </a:p>
        </p:txBody>
      </p:sp>
      <p:grpSp>
        <p:nvGrpSpPr>
          <p:cNvPr id="13" name="Группа 12">
            <a:extLst>
              <a:ext uri="{FF2B5EF4-FFF2-40B4-BE49-F238E27FC236}">
                <a16:creationId xmlns:a16="http://schemas.microsoft.com/office/drawing/2014/main" id="{702D8750-B2EA-412D-BA32-704A47DBB7B5}"/>
              </a:ext>
            </a:extLst>
          </p:cNvPr>
          <p:cNvGrpSpPr/>
          <p:nvPr/>
        </p:nvGrpSpPr>
        <p:grpSpPr>
          <a:xfrm>
            <a:off x="4089400" y="1263940"/>
            <a:ext cx="7905750" cy="4524781"/>
            <a:chOff x="3990975" y="1715767"/>
            <a:chExt cx="8134350" cy="4655618"/>
          </a:xfrm>
        </p:grpSpPr>
        <p:pic>
          <p:nvPicPr>
            <p:cNvPr id="9" name="Рисунок 8">
              <a:extLst>
                <a:ext uri="{FF2B5EF4-FFF2-40B4-BE49-F238E27FC236}">
                  <a16:creationId xmlns:a16="http://schemas.microsoft.com/office/drawing/2014/main" id="{973FCC58-F8AD-4748-92DF-120D7006ED6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0975" y="1715767"/>
              <a:ext cx="8134350" cy="4655618"/>
            </a:xfrm>
            <a:custGeom>
              <a:avLst/>
              <a:gdLst>
                <a:gd name="connsiteX0" fmla="*/ 0 w 8705850"/>
                <a:gd name="connsiteY0" fmla="*/ 0 h 4982711"/>
                <a:gd name="connsiteX1" fmla="*/ 8705850 w 8705850"/>
                <a:gd name="connsiteY1" fmla="*/ 0 h 4982711"/>
                <a:gd name="connsiteX2" fmla="*/ 8705850 w 8705850"/>
                <a:gd name="connsiteY2" fmla="*/ 4496097 h 4982711"/>
                <a:gd name="connsiteX3" fmla="*/ 6705600 w 8705850"/>
                <a:gd name="connsiteY3" fmla="*/ 4496097 h 4982711"/>
                <a:gd name="connsiteX4" fmla="*/ 6705600 w 8705850"/>
                <a:gd name="connsiteY4" fmla="*/ 4982711 h 4982711"/>
                <a:gd name="connsiteX5" fmla="*/ 0 w 8705850"/>
                <a:gd name="connsiteY5" fmla="*/ 4982711 h 498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05850" h="4982711">
                  <a:moveTo>
                    <a:pt x="0" y="0"/>
                  </a:moveTo>
                  <a:lnTo>
                    <a:pt x="8705850" y="0"/>
                  </a:lnTo>
                  <a:lnTo>
                    <a:pt x="8705850" y="4496097"/>
                  </a:lnTo>
                  <a:lnTo>
                    <a:pt x="6705600" y="4496097"/>
                  </a:lnTo>
                  <a:lnTo>
                    <a:pt x="6705600" y="4982711"/>
                  </a:lnTo>
                  <a:lnTo>
                    <a:pt x="0" y="4982711"/>
                  </a:lnTo>
                  <a:close/>
                </a:path>
              </a:pathLst>
            </a:custGeom>
            <a:noFill/>
            <a:extLst>
              <a:ext uri="{909E8E84-426E-40DD-AFC4-6F175D3DCCD1}">
                <a14:hiddenFill xmlns:a14="http://schemas.microsoft.com/office/drawing/2010/main">
                  <a:solidFill>
                    <a:srgbClr val="FFFFFF"/>
                  </a:solidFill>
                </a14:hiddenFill>
              </a:ext>
            </a:extLst>
          </p:spPr>
        </p:pic>
        <p:sp>
          <p:nvSpPr>
            <p:cNvPr id="12" name="Прямоугольник 11">
              <a:extLst>
                <a:ext uri="{FF2B5EF4-FFF2-40B4-BE49-F238E27FC236}">
                  <a16:creationId xmlns:a16="http://schemas.microsoft.com/office/drawing/2014/main" id="{3D9A1D8B-0515-4636-8000-B36FCBAD6D7C}"/>
                </a:ext>
              </a:extLst>
            </p:cNvPr>
            <p:cNvSpPr/>
            <p:nvPr/>
          </p:nvSpPr>
          <p:spPr>
            <a:xfrm>
              <a:off x="4290079" y="5219700"/>
              <a:ext cx="1577321" cy="11138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11" name="TextBox 10">
            <a:extLst>
              <a:ext uri="{FF2B5EF4-FFF2-40B4-BE49-F238E27FC236}">
                <a16:creationId xmlns:a16="http://schemas.microsoft.com/office/drawing/2014/main" id="{77F2A394-6290-40E2-9CF3-2D4095205A53}"/>
              </a:ext>
            </a:extLst>
          </p:cNvPr>
          <p:cNvSpPr txBox="1"/>
          <p:nvPr/>
        </p:nvSpPr>
        <p:spPr>
          <a:xfrm>
            <a:off x="415003" y="4497039"/>
            <a:ext cx="9025872" cy="1658724"/>
          </a:xfrm>
          <a:prstGeom prst="rect">
            <a:avLst/>
          </a:prstGeom>
          <a:noFill/>
        </p:spPr>
        <p:txBody>
          <a:bodyPr wrap="square">
            <a:spAutoFit/>
          </a:bodyPr>
          <a:lstStyle/>
          <a:p>
            <a:pPr>
              <a:lnSpc>
                <a:spcPct val="70000"/>
              </a:lnSpc>
            </a:pPr>
            <a:r>
              <a:rPr lang="ru-RU" sz="7200" b="0" i="0">
                <a:solidFill>
                  <a:schemeClr val="accent3"/>
                </a:solidFill>
                <a:effectLst/>
                <a:latin typeface="+mj-lt"/>
              </a:rPr>
              <a:t>ТРАНС-</a:t>
            </a:r>
            <a:br>
              <a:rPr lang="en-US" sz="7200" b="0" i="0">
                <a:solidFill>
                  <a:schemeClr val="accent3"/>
                </a:solidFill>
                <a:effectLst/>
                <a:latin typeface="+mj-lt"/>
              </a:rPr>
            </a:br>
            <a:r>
              <a:rPr lang="ru-RU" sz="7200" b="0" i="0">
                <a:solidFill>
                  <a:schemeClr val="accent3"/>
                </a:solidFill>
                <a:effectLst/>
                <a:latin typeface="+mj-lt"/>
              </a:rPr>
              <a:t>ФОРМАЦИЯ</a:t>
            </a:r>
            <a:endParaRPr lang="ru-RU" sz="7200">
              <a:solidFill>
                <a:schemeClr val="accent3"/>
              </a:solidFill>
              <a:latin typeface="+mj-lt"/>
            </a:endParaRPr>
          </a:p>
        </p:txBody>
      </p:sp>
      <p:sp>
        <p:nvSpPr>
          <p:cNvPr id="4" name="TextBox 3">
            <a:extLst>
              <a:ext uri="{FF2B5EF4-FFF2-40B4-BE49-F238E27FC236}">
                <a16:creationId xmlns:a16="http://schemas.microsoft.com/office/drawing/2014/main" id="{D72BD9EE-78A4-4EE2-B4AB-1288B843820B}"/>
              </a:ext>
            </a:extLst>
          </p:cNvPr>
          <p:cNvSpPr txBox="1"/>
          <p:nvPr/>
        </p:nvSpPr>
        <p:spPr>
          <a:xfrm>
            <a:off x="415003" y="1263940"/>
            <a:ext cx="7536142" cy="1200329"/>
          </a:xfrm>
          <a:prstGeom prst="rect">
            <a:avLst/>
          </a:prstGeom>
          <a:noFill/>
        </p:spPr>
        <p:txBody>
          <a:bodyPr wrap="square">
            <a:spAutoFit/>
          </a:bodyPr>
          <a:lstStyle/>
          <a:p>
            <a:r>
              <a:rPr lang="ru-RU" sz="2400" b="0" i="0">
                <a:solidFill>
                  <a:schemeClr val="accent3"/>
                </a:solidFill>
                <a:effectLst/>
                <a:latin typeface="+mj-lt"/>
              </a:rPr>
              <a:t>Преобразование или изменение вида, формы, существенных свойств чего-либо.</a:t>
            </a:r>
          </a:p>
          <a:p>
            <a:endParaRPr lang="ru-RU" sz="2400">
              <a:solidFill>
                <a:schemeClr val="accent3"/>
              </a:solidFill>
              <a:latin typeface="+mj-lt"/>
            </a:endParaRPr>
          </a:p>
        </p:txBody>
      </p:sp>
      <p:sp>
        <p:nvSpPr>
          <p:cNvPr id="6" name="TextBox 5">
            <a:extLst>
              <a:ext uri="{FF2B5EF4-FFF2-40B4-BE49-F238E27FC236}">
                <a16:creationId xmlns:a16="http://schemas.microsoft.com/office/drawing/2014/main" id="{F1F39C1B-4313-423D-A8E7-6DE335110469}"/>
              </a:ext>
            </a:extLst>
          </p:cNvPr>
          <p:cNvSpPr txBox="1"/>
          <p:nvPr/>
        </p:nvSpPr>
        <p:spPr>
          <a:xfrm>
            <a:off x="415003" y="2415063"/>
            <a:ext cx="4144242" cy="1477328"/>
          </a:xfrm>
          <a:prstGeom prst="rect">
            <a:avLst/>
          </a:prstGeom>
          <a:noFill/>
        </p:spPr>
        <p:txBody>
          <a:bodyPr wrap="square">
            <a:spAutoFit/>
          </a:bodyPr>
          <a:lstStyle/>
          <a:p>
            <a:r>
              <a:rPr lang="ru-RU" b="0" i="0">
                <a:solidFill>
                  <a:srgbClr val="435065"/>
                </a:solidFill>
                <a:effectLst/>
              </a:rPr>
              <a:t>Трансформация – это изменения качества, переход из одной формы проявления / существования в другую. Понять</a:t>
            </a:r>
            <a:r>
              <a:rPr lang="en-US" b="0" i="0">
                <a:solidFill>
                  <a:srgbClr val="435065"/>
                </a:solidFill>
                <a:effectLst/>
              </a:rPr>
              <a:t> </a:t>
            </a:r>
            <a:r>
              <a:rPr lang="ru-RU" b="0" i="0">
                <a:solidFill>
                  <a:srgbClr val="435065"/>
                </a:solidFill>
                <a:effectLst/>
              </a:rPr>
              <a:t>ее суть</a:t>
            </a:r>
            <a:r>
              <a:rPr lang="en-US" b="0" i="0">
                <a:solidFill>
                  <a:srgbClr val="435065"/>
                </a:solidFill>
                <a:effectLst/>
              </a:rPr>
              <a:t> </a:t>
            </a:r>
            <a:r>
              <a:rPr lang="ru-RU" b="0" i="0">
                <a:solidFill>
                  <a:srgbClr val="435065"/>
                </a:solidFill>
                <a:effectLst/>
              </a:rPr>
              <a:t>лучше всего помогают примеры в природе.</a:t>
            </a:r>
            <a:endParaRPr lang="ru-RU"/>
          </a:p>
        </p:txBody>
      </p:sp>
    </p:spTree>
    <p:extLst>
      <p:ext uri="{BB962C8B-B14F-4D97-AF65-F5344CB8AC3E}">
        <p14:creationId xmlns:p14="http://schemas.microsoft.com/office/powerpoint/2010/main" val="25661378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994F3D7D-CD87-4E67-9F88-E321AF00F355}"/>
              </a:ext>
            </a:extLst>
          </p:cNvPr>
          <p:cNvGraphicFramePr>
            <a:graphicFrameLocks noChangeAspect="1"/>
          </p:cNvGraphicFramePr>
          <p:nvPr>
            <p:custDataLst>
              <p:tags r:id="rId2"/>
            </p:custDataLst>
            <p:extLst>
              <p:ext uri="{D42A27DB-BD31-4B8C-83A1-F6EECF244321}">
                <p14:modId xmlns:p14="http://schemas.microsoft.com/office/powerpoint/2010/main" val="6869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Слайд think-cell" r:id="rId5" imgW="370" imgH="371" progId="TCLayout.ActiveDocument.1">
                  <p:embed/>
                </p:oleObj>
              </mc:Choice>
              <mc:Fallback>
                <p:oleObj name="Слайд think-cell" r:id="rId5" imgW="370" imgH="371" progId="TCLayout.ActiveDocument.1">
                  <p:embed/>
                  <p:pic>
                    <p:nvPicPr>
                      <p:cNvPr id="4" name="Объект 3" hidden="1">
                        <a:extLst>
                          <a:ext uri="{FF2B5EF4-FFF2-40B4-BE49-F238E27FC236}">
                            <a16:creationId xmlns:a16="http://schemas.microsoft.com/office/drawing/2014/main" id="{994F3D7D-CD87-4E67-9F88-E321AF00F3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6" name="Прямая со стрелкой 45">
            <a:extLst>
              <a:ext uri="{FF2B5EF4-FFF2-40B4-BE49-F238E27FC236}">
                <a16:creationId xmlns:a16="http://schemas.microsoft.com/office/drawing/2014/main" id="{A4FE254D-50F5-40D3-8593-0AB85F34F6B4}"/>
              </a:ext>
            </a:extLst>
          </p:cNvPr>
          <p:cNvCxnSpPr>
            <a:cxnSpLocks/>
          </p:cNvCxnSpPr>
          <p:nvPr/>
        </p:nvCxnSpPr>
        <p:spPr>
          <a:xfrm>
            <a:off x="5502387" y="1209600"/>
            <a:ext cx="0" cy="5099125"/>
          </a:xfrm>
          <a:prstGeom prst="straightConnector1">
            <a:avLst/>
          </a:prstGeom>
          <a:ln w="22225">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9" name="Прямая со стрелкой 48">
            <a:extLst>
              <a:ext uri="{FF2B5EF4-FFF2-40B4-BE49-F238E27FC236}">
                <a16:creationId xmlns:a16="http://schemas.microsoft.com/office/drawing/2014/main" id="{56F6E372-DDE7-4275-A254-50B41EE4711A}"/>
              </a:ext>
            </a:extLst>
          </p:cNvPr>
          <p:cNvCxnSpPr>
            <a:cxnSpLocks/>
          </p:cNvCxnSpPr>
          <p:nvPr/>
        </p:nvCxnSpPr>
        <p:spPr>
          <a:xfrm>
            <a:off x="8256588" y="1209600"/>
            <a:ext cx="0" cy="5099125"/>
          </a:xfrm>
          <a:prstGeom prst="straightConnector1">
            <a:avLst/>
          </a:prstGeom>
          <a:ln w="22225">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Прямая со стрелкой 5">
            <a:extLst>
              <a:ext uri="{FF2B5EF4-FFF2-40B4-BE49-F238E27FC236}">
                <a16:creationId xmlns:a16="http://schemas.microsoft.com/office/drawing/2014/main" id="{9A3A9618-5785-4D3D-875D-165CC1258CE6}"/>
              </a:ext>
            </a:extLst>
          </p:cNvPr>
          <p:cNvCxnSpPr>
            <a:cxnSpLocks/>
          </p:cNvCxnSpPr>
          <p:nvPr/>
        </p:nvCxnSpPr>
        <p:spPr>
          <a:xfrm>
            <a:off x="2732635" y="1209600"/>
            <a:ext cx="0" cy="5099125"/>
          </a:xfrm>
          <a:prstGeom prst="straightConnector1">
            <a:avLst/>
          </a:prstGeom>
          <a:ln w="22225">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6" name="Прямоугольник 25">
            <a:extLst>
              <a:ext uri="{FF2B5EF4-FFF2-40B4-BE49-F238E27FC236}">
                <a16:creationId xmlns:a16="http://schemas.microsoft.com/office/drawing/2014/main" id="{32D7DA43-2CC6-40A9-8DC6-E0173AFD6E29}"/>
              </a:ext>
            </a:extLst>
          </p:cNvPr>
          <p:cNvSpPr/>
          <p:nvPr/>
        </p:nvSpPr>
        <p:spPr>
          <a:xfrm>
            <a:off x="515938" y="5300663"/>
            <a:ext cx="11143298" cy="828000"/>
          </a:xfrm>
          <a:prstGeom prst="rect">
            <a:avLst/>
          </a:prstGeom>
          <a:gradFill flip="none" rotWithShape="1">
            <a:gsLst>
              <a:gs pos="0">
                <a:schemeClr val="bg1">
                  <a:alpha val="10000"/>
                </a:schemeClr>
              </a:gs>
              <a:gs pos="80000">
                <a:schemeClr val="bg1"/>
              </a:gs>
              <a:gs pos="20000">
                <a:schemeClr val="bg1">
                  <a:alpha val="90000"/>
                </a:schemeClr>
              </a:gs>
              <a:gs pos="100000">
                <a:schemeClr val="bg1">
                  <a:alpha val="10000"/>
                </a:schemeClr>
              </a:gs>
            </a:gsLst>
            <a:lin ang="0" scaled="1"/>
            <a:tileRect/>
          </a:gradFill>
          <a:ln w="6350">
            <a:solidFill>
              <a:schemeClr val="accent4">
                <a:alpha val="99000"/>
              </a:schemeClr>
            </a:solidFill>
          </a:ln>
          <a:effectLst>
            <a:outerShdw blurRad="127000" dist="127000" dir="2700000" algn="tl" rotWithShape="0">
              <a:prstClr val="black">
                <a:alpha val="5000"/>
              </a:prstClr>
            </a:outerShdw>
          </a:effectLst>
        </p:spPr>
        <p:txBody>
          <a:bodyPr wrap="none" lIns="1296000" anchor="ctr"/>
          <a:lstStyle/>
          <a:p>
            <a:r>
              <a:rPr lang="ru-RU" sz="1800">
                <a:latin typeface="+mj-lt"/>
              </a:rPr>
              <a:t>Культура и люди</a:t>
            </a:r>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27" name="Прямоугольник 26">
            <a:extLst>
              <a:ext uri="{FF2B5EF4-FFF2-40B4-BE49-F238E27FC236}">
                <a16:creationId xmlns:a16="http://schemas.microsoft.com/office/drawing/2014/main" id="{62286297-2AA8-4D12-80B1-3E11F680477B}"/>
              </a:ext>
            </a:extLst>
          </p:cNvPr>
          <p:cNvSpPr/>
          <p:nvPr/>
        </p:nvSpPr>
        <p:spPr>
          <a:xfrm>
            <a:off x="518795" y="3389727"/>
            <a:ext cx="11143298" cy="828000"/>
          </a:xfrm>
          <a:prstGeom prst="rect">
            <a:avLst/>
          </a:prstGeom>
          <a:gradFill flip="none" rotWithShape="1">
            <a:gsLst>
              <a:gs pos="0">
                <a:schemeClr val="bg1">
                  <a:alpha val="10000"/>
                </a:schemeClr>
              </a:gs>
              <a:gs pos="80000">
                <a:schemeClr val="bg1"/>
              </a:gs>
              <a:gs pos="20000">
                <a:schemeClr val="bg1">
                  <a:alpha val="90000"/>
                </a:schemeClr>
              </a:gs>
              <a:gs pos="100000">
                <a:schemeClr val="bg1">
                  <a:alpha val="10000"/>
                </a:schemeClr>
              </a:gs>
            </a:gsLst>
            <a:lin ang="0" scaled="1"/>
            <a:tileRect/>
          </a:gradFill>
          <a:ln w="6350">
            <a:solidFill>
              <a:schemeClr val="accent1">
                <a:lumMod val="60000"/>
                <a:lumOff val="40000"/>
                <a:alpha val="99000"/>
              </a:schemeClr>
            </a:solidFill>
          </a:ln>
          <a:effectLst>
            <a:outerShdw blurRad="127000" dist="127000" dir="2700000" algn="tl" rotWithShape="0">
              <a:prstClr val="black">
                <a:alpha val="5000"/>
              </a:prstClr>
            </a:outerShdw>
          </a:effectLst>
        </p:spPr>
        <p:txBody>
          <a:bodyPr wrap="none" lIns="1296000" anchor="ctr"/>
          <a:lstStyle/>
          <a:p>
            <a:r>
              <a:rPr lang="ru-RU" sz="1800">
                <a:latin typeface="+mj-lt"/>
              </a:rPr>
              <a:t>Бизнес-процессы</a:t>
            </a:r>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28" name="Прямоугольник 27">
            <a:extLst>
              <a:ext uri="{FF2B5EF4-FFF2-40B4-BE49-F238E27FC236}">
                <a16:creationId xmlns:a16="http://schemas.microsoft.com/office/drawing/2014/main" id="{24DD2452-BA2C-420B-AE19-F2B2A2ADB2E7}"/>
              </a:ext>
            </a:extLst>
          </p:cNvPr>
          <p:cNvSpPr/>
          <p:nvPr/>
        </p:nvSpPr>
        <p:spPr>
          <a:xfrm>
            <a:off x="518795" y="2434259"/>
            <a:ext cx="11143298" cy="828000"/>
          </a:xfrm>
          <a:prstGeom prst="rect">
            <a:avLst/>
          </a:prstGeom>
          <a:gradFill flip="none" rotWithShape="1">
            <a:gsLst>
              <a:gs pos="0">
                <a:schemeClr val="bg1">
                  <a:alpha val="10000"/>
                </a:schemeClr>
              </a:gs>
              <a:gs pos="80000">
                <a:schemeClr val="bg1"/>
              </a:gs>
              <a:gs pos="20000">
                <a:schemeClr val="bg1">
                  <a:alpha val="90000"/>
                </a:schemeClr>
              </a:gs>
              <a:gs pos="100000">
                <a:schemeClr val="bg1">
                  <a:alpha val="10000"/>
                </a:schemeClr>
              </a:gs>
            </a:gsLst>
            <a:lin ang="0" scaled="1"/>
            <a:tileRect/>
          </a:gradFill>
          <a:ln w="6350">
            <a:solidFill>
              <a:schemeClr val="accent1"/>
            </a:solidFill>
          </a:ln>
          <a:effectLst>
            <a:outerShdw blurRad="127000" dist="127000" dir="2700000" algn="tl" rotWithShape="0">
              <a:prstClr val="black">
                <a:alpha val="5000"/>
              </a:prstClr>
            </a:outerShdw>
          </a:effectLst>
        </p:spPr>
        <p:txBody>
          <a:bodyPr wrap="none" lIns="1296000" anchor="ctr"/>
          <a:lstStyle/>
          <a:p>
            <a:r>
              <a:rPr lang="ru-RU" sz="1800">
                <a:latin typeface="+mj-lt"/>
              </a:rPr>
              <a:t>Система стратегических целей и показателей</a:t>
            </a:r>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29" name="Прямоугольник 28">
            <a:extLst>
              <a:ext uri="{FF2B5EF4-FFF2-40B4-BE49-F238E27FC236}">
                <a16:creationId xmlns:a16="http://schemas.microsoft.com/office/drawing/2014/main" id="{30389E29-F061-4BD7-8930-BF81F7B645E2}"/>
              </a:ext>
            </a:extLst>
          </p:cNvPr>
          <p:cNvSpPr/>
          <p:nvPr/>
        </p:nvSpPr>
        <p:spPr>
          <a:xfrm>
            <a:off x="518795" y="1478791"/>
            <a:ext cx="11143298" cy="828000"/>
          </a:xfrm>
          <a:prstGeom prst="rect">
            <a:avLst/>
          </a:prstGeom>
          <a:gradFill flip="none" rotWithShape="1">
            <a:gsLst>
              <a:gs pos="0">
                <a:schemeClr val="bg1">
                  <a:alpha val="10000"/>
                </a:schemeClr>
              </a:gs>
              <a:gs pos="80000">
                <a:schemeClr val="bg1"/>
              </a:gs>
              <a:gs pos="20000">
                <a:schemeClr val="bg1">
                  <a:alpha val="90000"/>
                </a:schemeClr>
              </a:gs>
              <a:gs pos="100000">
                <a:schemeClr val="bg1">
                  <a:alpha val="10000"/>
                </a:schemeClr>
              </a:gs>
            </a:gsLst>
            <a:lin ang="0" scaled="1"/>
            <a:tileRect/>
          </a:gradFill>
          <a:ln w="6350">
            <a:solidFill>
              <a:schemeClr val="tx2">
                <a:alpha val="99000"/>
              </a:schemeClr>
            </a:solidFill>
          </a:ln>
          <a:effectLst>
            <a:outerShdw blurRad="127000" dist="127000" dir="2700000" algn="tl" rotWithShape="0">
              <a:prstClr val="black">
                <a:alpha val="5000"/>
              </a:prstClr>
            </a:outerShdw>
          </a:effectLst>
        </p:spPr>
        <p:txBody>
          <a:bodyPr wrap="none" lIns="1296000" anchor="ctr"/>
          <a:lstStyle/>
          <a:p>
            <a:r>
              <a:rPr lang="ru-RU" sz="1800">
                <a:latin typeface="+mj-lt"/>
              </a:rPr>
              <a:t>Видение и ценности</a:t>
            </a:r>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30" name="Прямоугольник 29">
            <a:extLst>
              <a:ext uri="{FF2B5EF4-FFF2-40B4-BE49-F238E27FC236}">
                <a16:creationId xmlns:a16="http://schemas.microsoft.com/office/drawing/2014/main" id="{2D49D0F2-E892-4AEA-9FA5-2B1F279BBDD5}"/>
              </a:ext>
            </a:extLst>
          </p:cNvPr>
          <p:cNvSpPr/>
          <p:nvPr/>
        </p:nvSpPr>
        <p:spPr>
          <a:xfrm>
            <a:off x="518795" y="4345195"/>
            <a:ext cx="11143298" cy="828000"/>
          </a:xfrm>
          <a:prstGeom prst="rect">
            <a:avLst/>
          </a:prstGeom>
          <a:gradFill flip="none" rotWithShape="1">
            <a:gsLst>
              <a:gs pos="0">
                <a:schemeClr val="bg1">
                  <a:alpha val="10000"/>
                </a:schemeClr>
              </a:gs>
              <a:gs pos="80000">
                <a:schemeClr val="bg1"/>
              </a:gs>
              <a:gs pos="20000">
                <a:schemeClr val="bg1">
                  <a:alpha val="90000"/>
                </a:schemeClr>
              </a:gs>
              <a:gs pos="100000">
                <a:schemeClr val="bg1">
                  <a:alpha val="10000"/>
                </a:schemeClr>
              </a:gs>
            </a:gsLst>
            <a:lin ang="0" scaled="1"/>
            <a:tileRect/>
          </a:gradFill>
          <a:ln w="6350">
            <a:solidFill>
              <a:schemeClr val="accent3">
                <a:alpha val="99000"/>
              </a:schemeClr>
            </a:solidFill>
          </a:ln>
          <a:effectLst>
            <a:outerShdw blurRad="127000" dist="127000" dir="2700000" algn="tl" rotWithShape="0">
              <a:prstClr val="black">
                <a:alpha val="5000"/>
              </a:prstClr>
            </a:outerShdw>
          </a:effectLst>
        </p:spPr>
        <p:txBody>
          <a:bodyPr wrap="none" lIns="1296000" anchor="ctr"/>
          <a:lstStyle/>
          <a:p>
            <a:r>
              <a:rPr lang="ru-RU" sz="1800">
                <a:latin typeface="+mj-lt"/>
              </a:rPr>
              <a:t>Информационные технологии и информационная безопасность</a:t>
            </a:r>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39" name="Прямоугольник 38">
            <a:extLst>
              <a:ext uri="{FF2B5EF4-FFF2-40B4-BE49-F238E27FC236}">
                <a16:creationId xmlns:a16="http://schemas.microsoft.com/office/drawing/2014/main" id="{6FB8D377-BFCF-4AD6-866B-61F9B042E13E}"/>
              </a:ext>
            </a:extLst>
          </p:cNvPr>
          <p:cNvSpPr/>
          <p:nvPr/>
        </p:nvSpPr>
        <p:spPr>
          <a:xfrm>
            <a:off x="595138" y="5300663"/>
            <a:ext cx="967262" cy="828000"/>
          </a:xfrm>
          <a:prstGeom prst="rect">
            <a:avLst/>
          </a:prstGeom>
          <a:solidFill>
            <a:schemeClr val="accent4">
              <a:alpha val="20000"/>
            </a:schemeClr>
          </a:soli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40" name="Прямоугольник 39">
            <a:extLst>
              <a:ext uri="{FF2B5EF4-FFF2-40B4-BE49-F238E27FC236}">
                <a16:creationId xmlns:a16="http://schemas.microsoft.com/office/drawing/2014/main" id="{5F18E602-18B5-40D3-8094-42DA4C533F20}"/>
              </a:ext>
            </a:extLst>
          </p:cNvPr>
          <p:cNvSpPr/>
          <p:nvPr/>
        </p:nvSpPr>
        <p:spPr>
          <a:xfrm>
            <a:off x="595138" y="4345195"/>
            <a:ext cx="967262" cy="828000"/>
          </a:xfrm>
          <a:prstGeom prst="rect">
            <a:avLst/>
          </a:prstGeom>
          <a:solidFill>
            <a:schemeClr val="accent3">
              <a:alpha val="20000"/>
            </a:schemeClr>
          </a:soli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41" name="Прямоугольник 40">
            <a:extLst>
              <a:ext uri="{FF2B5EF4-FFF2-40B4-BE49-F238E27FC236}">
                <a16:creationId xmlns:a16="http://schemas.microsoft.com/office/drawing/2014/main" id="{F7E14BEC-04D7-480A-A830-56CBB73EE5DF}"/>
              </a:ext>
            </a:extLst>
          </p:cNvPr>
          <p:cNvSpPr/>
          <p:nvPr/>
        </p:nvSpPr>
        <p:spPr>
          <a:xfrm>
            <a:off x="595138" y="3389727"/>
            <a:ext cx="967262" cy="828000"/>
          </a:xfrm>
          <a:prstGeom prst="rect">
            <a:avLst/>
          </a:prstGeom>
          <a:solidFill>
            <a:schemeClr val="accent2">
              <a:alpha val="20000"/>
            </a:schemeClr>
          </a:soli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42" name="Прямоугольник 41">
            <a:extLst>
              <a:ext uri="{FF2B5EF4-FFF2-40B4-BE49-F238E27FC236}">
                <a16:creationId xmlns:a16="http://schemas.microsoft.com/office/drawing/2014/main" id="{BFFCF89E-7D92-46C5-B27C-E4027584E985}"/>
              </a:ext>
            </a:extLst>
          </p:cNvPr>
          <p:cNvSpPr/>
          <p:nvPr/>
        </p:nvSpPr>
        <p:spPr>
          <a:xfrm>
            <a:off x="595138" y="2434259"/>
            <a:ext cx="967262" cy="828000"/>
          </a:xfrm>
          <a:prstGeom prst="rect">
            <a:avLst/>
          </a:prstGeom>
          <a:solidFill>
            <a:schemeClr val="accent1">
              <a:alpha val="20000"/>
            </a:schemeClr>
          </a:soli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43" name="Прямоугольник 42">
            <a:extLst>
              <a:ext uri="{FF2B5EF4-FFF2-40B4-BE49-F238E27FC236}">
                <a16:creationId xmlns:a16="http://schemas.microsoft.com/office/drawing/2014/main" id="{2B9FA595-E7D9-497D-BD61-01E66B24F170}"/>
              </a:ext>
            </a:extLst>
          </p:cNvPr>
          <p:cNvSpPr/>
          <p:nvPr/>
        </p:nvSpPr>
        <p:spPr>
          <a:xfrm>
            <a:off x="595138" y="1478791"/>
            <a:ext cx="967262" cy="828000"/>
          </a:xfrm>
          <a:prstGeom prst="rect">
            <a:avLst/>
          </a:prstGeom>
          <a:solidFill>
            <a:schemeClr val="tx2">
              <a:alpha val="20000"/>
            </a:schemeClr>
          </a:soli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9" name="Заголовок 8">
            <a:extLst>
              <a:ext uri="{FF2B5EF4-FFF2-40B4-BE49-F238E27FC236}">
                <a16:creationId xmlns:a16="http://schemas.microsoft.com/office/drawing/2014/main" id="{A937C3BE-EA33-411B-852A-89AEF031237A}"/>
              </a:ext>
            </a:extLst>
          </p:cNvPr>
          <p:cNvSpPr>
            <a:spLocks noGrp="1"/>
          </p:cNvSpPr>
          <p:nvPr>
            <p:ph type="title"/>
          </p:nvPr>
        </p:nvSpPr>
        <p:spPr>
          <a:xfrm>
            <a:off x="511847" y="302681"/>
            <a:ext cx="11164215" cy="536128"/>
          </a:xfrm>
        </p:spPr>
        <p:txBody>
          <a:bodyPr vert="horz">
            <a:normAutofit/>
          </a:bodyPr>
          <a:lstStyle/>
          <a:p>
            <a:r>
              <a:rPr lang="ru-RU" sz="2800"/>
              <a:t>Глубина трансформации бизнеса – классический подход</a:t>
            </a:r>
          </a:p>
        </p:txBody>
      </p:sp>
      <p:sp>
        <p:nvSpPr>
          <p:cNvPr id="31" name="Прямоугольник 30">
            <a:extLst>
              <a:ext uri="{FF2B5EF4-FFF2-40B4-BE49-F238E27FC236}">
                <a16:creationId xmlns:a16="http://schemas.microsoft.com/office/drawing/2014/main" id="{873917A0-AF5B-4ECC-A6C1-08F6E07CFBBA}"/>
              </a:ext>
            </a:extLst>
          </p:cNvPr>
          <p:cNvSpPr/>
          <p:nvPr/>
        </p:nvSpPr>
        <p:spPr>
          <a:xfrm>
            <a:off x="515938" y="5300663"/>
            <a:ext cx="967262" cy="828000"/>
          </a:xfrm>
          <a:prstGeom prst="rect">
            <a:avLst/>
          </a:prstGeom>
          <a:gradFill>
            <a:gsLst>
              <a:gs pos="100000">
                <a:schemeClr val="accent4"/>
              </a:gs>
              <a:gs pos="0">
                <a:schemeClr val="accent4">
                  <a:lumMod val="75000"/>
                </a:schemeClr>
              </a:gs>
            </a:gsLst>
            <a:lin ang="3360000" scaled="0"/>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20" name="TextBox 19">
            <a:extLst>
              <a:ext uri="{FF2B5EF4-FFF2-40B4-BE49-F238E27FC236}">
                <a16:creationId xmlns:a16="http://schemas.microsoft.com/office/drawing/2014/main" id="{EAFA9093-5541-4518-8E62-E6F0F2EF4CF0}"/>
              </a:ext>
            </a:extLst>
          </p:cNvPr>
          <p:cNvSpPr txBox="1"/>
          <p:nvPr/>
        </p:nvSpPr>
        <p:spPr>
          <a:xfrm>
            <a:off x="633862" y="5357076"/>
            <a:ext cx="731414" cy="715174"/>
          </a:xfrm>
          <a:prstGeom prst="rect">
            <a:avLst/>
          </a:prstGeom>
          <a:noFill/>
        </p:spPr>
        <p:txBody>
          <a:bodyPr wrap="square" lIns="36000" tIns="180000" rtlCol="0">
            <a:spAutoFit/>
          </a:bodyPr>
          <a:lstStyle/>
          <a:p>
            <a:pPr algn="ctr">
              <a:lnSpc>
                <a:spcPct val="60000"/>
              </a:lnSpc>
            </a:pPr>
            <a:r>
              <a:rPr lang="ru-RU" sz="4000">
                <a:solidFill>
                  <a:schemeClr val="bg1"/>
                </a:solidFill>
                <a:effectLst>
                  <a:outerShdw blurRad="38100" dist="38100" dir="2700000" algn="tl">
                    <a:srgbClr val="000000">
                      <a:alpha val="43137"/>
                    </a:srgbClr>
                  </a:outerShdw>
                </a:effectLst>
                <a:latin typeface="+mj-lt"/>
              </a:rPr>
              <a:t>05</a:t>
            </a:r>
            <a:br>
              <a:rPr lang="ru-RU" sz="4000">
                <a:solidFill>
                  <a:schemeClr val="bg1"/>
                </a:solidFill>
                <a:effectLst>
                  <a:outerShdw blurRad="38100" dist="38100" dir="2700000" algn="tl">
                    <a:srgbClr val="000000">
                      <a:alpha val="43137"/>
                    </a:srgbClr>
                  </a:outerShdw>
                </a:effectLst>
                <a:latin typeface="+mj-lt"/>
              </a:rPr>
            </a:br>
            <a:r>
              <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ea typeface="+mn-ea"/>
                <a:cs typeface="+mn-cs"/>
              </a:rPr>
              <a:t>уровень</a:t>
            </a:r>
          </a:p>
        </p:txBody>
      </p:sp>
      <p:cxnSp>
        <p:nvCxnSpPr>
          <p:cNvPr id="15" name="Прямая соединительная линия 14">
            <a:extLst>
              <a:ext uri="{FF2B5EF4-FFF2-40B4-BE49-F238E27FC236}">
                <a16:creationId xmlns:a16="http://schemas.microsoft.com/office/drawing/2014/main" id="{780C8342-5B5F-444E-9E36-73344BAE98D8}"/>
              </a:ext>
            </a:extLst>
          </p:cNvPr>
          <p:cNvCxnSpPr>
            <a:cxnSpLocks/>
          </p:cNvCxnSpPr>
          <p:nvPr/>
        </p:nvCxnSpPr>
        <p:spPr>
          <a:xfrm>
            <a:off x="2196235" y="1267781"/>
            <a:ext cx="1072800" cy="0"/>
          </a:xfrm>
          <a:prstGeom prst="line">
            <a:avLst/>
          </a:prstGeom>
          <a:ln w="31750">
            <a:gradFill flip="none" rotWithShape="1">
              <a:gsLst>
                <a:gs pos="0">
                  <a:schemeClr val="accent6">
                    <a:alpha val="0"/>
                  </a:schemeClr>
                </a:gs>
                <a:gs pos="50000">
                  <a:schemeClr val="accent6"/>
                </a:gs>
                <a:gs pos="100000">
                  <a:schemeClr val="accent6">
                    <a:alpha val="0"/>
                  </a:schemeClr>
                </a:gs>
              </a:gsLst>
              <a:lin ang="0" scaled="1"/>
              <a:tileRect/>
            </a:gradFill>
          </a:ln>
          <a:effectLst>
            <a:outerShdw blurRad="635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FEAE09F-9115-4690-A81B-84CD85CB4FFD}"/>
              </a:ext>
            </a:extLst>
          </p:cNvPr>
          <p:cNvSpPr txBox="1"/>
          <p:nvPr/>
        </p:nvSpPr>
        <p:spPr>
          <a:xfrm>
            <a:off x="2086595" y="967082"/>
            <a:ext cx="1292080" cy="307777"/>
          </a:xfrm>
          <a:prstGeom prst="rect">
            <a:avLst/>
          </a:prstGeom>
          <a:solidFill>
            <a:schemeClr val="bg1"/>
          </a:solidFill>
        </p:spPr>
        <p:txBody>
          <a:bodyPr wrap="none" lIns="36000" rtlCol="0">
            <a:spAutoFit/>
          </a:bodyPr>
          <a:lstStyle/>
          <a:p>
            <a:pPr algn="ctr"/>
            <a:r>
              <a:rPr lang="ru-RU" sz="1400"/>
              <a:t>Направление 1</a:t>
            </a:r>
          </a:p>
        </p:txBody>
      </p:sp>
      <p:sp>
        <p:nvSpPr>
          <p:cNvPr id="35" name="Прямоугольник 34">
            <a:extLst>
              <a:ext uri="{FF2B5EF4-FFF2-40B4-BE49-F238E27FC236}">
                <a16:creationId xmlns:a16="http://schemas.microsoft.com/office/drawing/2014/main" id="{4E104353-74AA-4F7B-B3FC-727514DC442B}"/>
              </a:ext>
            </a:extLst>
          </p:cNvPr>
          <p:cNvSpPr/>
          <p:nvPr/>
        </p:nvSpPr>
        <p:spPr>
          <a:xfrm>
            <a:off x="515938" y="4345195"/>
            <a:ext cx="967262" cy="828000"/>
          </a:xfrm>
          <a:prstGeom prst="rect">
            <a:avLst/>
          </a:prstGeom>
          <a:gradFill>
            <a:gsLst>
              <a:gs pos="100000">
                <a:schemeClr val="accent3"/>
              </a:gs>
              <a:gs pos="0">
                <a:schemeClr val="accent3">
                  <a:lumMod val="75000"/>
                </a:schemeClr>
              </a:gs>
            </a:gsLst>
            <a:lin ang="3360000" scaled="0"/>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36" name="Прямоугольник 35">
            <a:extLst>
              <a:ext uri="{FF2B5EF4-FFF2-40B4-BE49-F238E27FC236}">
                <a16:creationId xmlns:a16="http://schemas.microsoft.com/office/drawing/2014/main" id="{12CA39C1-5445-42D8-A386-6182F581CDB8}"/>
              </a:ext>
            </a:extLst>
          </p:cNvPr>
          <p:cNvSpPr/>
          <p:nvPr/>
        </p:nvSpPr>
        <p:spPr>
          <a:xfrm>
            <a:off x="515938" y="3389727"/>
            <a:ext cx="967262" cy="828000"/>
          </a:xfrm>
          <a:prstGeom prst="rect">
            <a:avLst/>
          </a:prstGeom>
          <a:gradFill>
            <a:gsLst>
              <a:gs pos="100000">
                <a:schemeClr val="accent2"/>
              </a:gs>
              <a:gs pos="0">
                <a:schemeClr val="accent2">
                  <a:lumMod val="75000"/>
                </a:schemeClr>
              </a:gs>
            </a:gsLst>
            <a:lin ang="3360000" scaled="0"/>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37" name="Прямоугольник 36">
            <a:extLst>
              <a:ext uri="{FF2B5EF4-FFF2-40B4-BE49-F238E27FC236}">
                <a16:creationId xmlns:a16="http://schemas.microsoft.com/office/drawing/2014/main" id="{69170735-8872-4896-ACB4-D76E0B10BF42}"/>
              </a:ext>
            </a:extLst>
          </p:cNvPr>
          <p:cNvSpPr/>
          <p:nvPr/>
        </p:nvSpPr>
        <p:spPr>
          <a:xfrm>
            <a:off x="515938" y="2434259"/>
            <a:ext cx="967262" cy="828000"/>
          </a:xfrm>
          <a:prstGeom prst="rect">
            <a:avLst/>
          </a:prstGeom>
          <a:gradFill>
            <a:gsLst>
              <a:gs pos="100000">
                <a:schemeClr val="accent1"/>
              </a:gs>
              <a:gs pos="0">
                <a:schemeClr val="accent1">
                  <a:lumMod val="75000"/>
                </a:schemeClr>
              </a:gs>
            </a:gsLst>
            <a:lin ang="3360000" scaled="0"/>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38" name="Прямоугольник 37">
            <a:extLst>
              <a:ext uri="{FF2B5EF4-FFF2-40B4-BE49-F238E27FC236}">
                <a16:creationId xmlns:a16="http://schemas.microsoft.com/office/drawing/2014/main" id="{05C5E9F3-AA3A-4E71-993A-5E2830343AF1}"/>
              </a:ext>
            </a:extLst>
          </p:cNvPr>
          <p:cNvSpPr/>
          <p:nvPr/>
        </p:nvSpPr>
        <p:spPr>
          <a:xfrm>
            <a:off x="515938" y="1478791"/>
            <a:ext cx="967262" cy="828000"/>
          </a:xfrm>
          <a:prstGeom prst="rect">
            <a:avLst/>
          </a:prstGeom>
          <a:gradFill>
            <a:gsLst>
              <a:gs pos="100000">
                <a:schemeClr val="tx2"/>
              </a:gs>
              <a:gs pos="0">
                <a:schemeClr val="tx2">
                  <a:lumMod val="75000"/>
                </a:schemeClr>
              </a:gs>
            </a:gsLst>
            <a:lin ang="3360000" scaled="0"/>
          </a:gradFill>
          <a:ln w="9525">
            <a:no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14" name="TextBox 13">
            <a:extLst>
              <a:ext uri="{FF2B5EF4-FFF2-40B4-BE49-F238E27FC236}">
                <a16:creationId xmlns:a16="http://schemas.microsoft.com/office/drawing/2014/main" id="{D75E0CEB-5D1F-4F42-929E-E86A9CD72DBB}"/>
              </a:ext>
            </a:extLst>
          </p:cNvPr>
          <p:cNvSpPr txBox="1"/>
          <p:nvPr/>
        </p:nvSpPr>
        <p:spPr>
          <a:xfrm>
            <a:off x="661113" y="1535204"/>
            <a:ext cx="676912" cy="715174"/>
          </a:xfrm>
          <a:prstGeom prst="rect">
            <a:avLst/>
          </a:prstGeom>
          <a:noFill/>
        </p:spPr>
        <p:txBody>
          <a:bodyPr wrap="none" lIns="36000" tIns="180000" rtlCol="0">
            <a:spAutoFit/>
          </a:bodyPr>
          <a:lstStyle/>
          <a:p>
            <a:pPr algn="ctr">
              <a:lnSpc>
                <a:spcPct val="60000"/>
              </a:lnSpc>
            </a:pPr>
            <a:r>
              <a:rPr lang="ru-RU" sz="4000">
                <a:solidFill>
                  <a:schemeClr val="bg1"/>
                </a:solidFill>
                <a:effectLst>
                  <a:outerShdw blurRad="38100" dist="38100" dir="2700000" algn="tl">
                    <a:srgbClr val="000000">
                      <a:alpha val="43137"/>
                    </a:srgbClr>
                  </a:outerShdw>
                </a:effectLst>
                <a:latin typeface="+mj-lt"/>
              </a:rPr>
              <a:t>01</a:t>
            </a:r>
            <a:br>
              <a:rPr lang="ru-RU" sz="4000">
                <a:solidFill>
                  <a:schemeClr val="bg1"/>
                </a:solidFill>
                <a:effectLst>
                  <a:outerShdw blurRad="38100" dist="38100" dir="2700000" algn="tl">
                    <a:srgbClr val="000000">
                      <a:alpha val="43137"/>
                    </a:srgbClr>
                  </a:outerShdw>
                </a:effectLst>
                <a:latin typeface="+mj-lt"/>
              </a:rPr>
            </a:br>
            <a:r>
              <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ea typeface="+mn-ea"/>
                <a:cs typeface="+mn-cs"/>
              </a:rPr>
              <a:t>уровень</a:t>
            </a:r>
            <a:endPar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Segoe UI Semibold"/>
              <a:ea typeface="+mn-ea"/>
              <a:cs typeface="+mn-cs"/>
            </a:endParaRPr>
          </a:p>
        </p:txBody>
      </p:sp>
      <p:sp>
        <p:nvSpPr>
          <p:cNvPr id="16" name="TextBox 15">
            <a:extLst>
              <a:ext uri="{FF2B5EF4-FFF2-40B4-BE49-F238E27FC236}">
                <a16:creationId xmlns:a16="http://schemas.microsoft.com/office/drawing/2014/main" id="{C5909C4D-31FD-4E6C-9A04-B6EFE4CFCFA3}"/>
              </a:ext>
            </a:extLst>
          </p:cNvPr>
          <p:cNvSpPr txBox="1"/>
          <p:nvPr/>
        </p:nvSpPr>
        <p:spPr>
          <a:xfrm>
            <a:off x="649892" y="2490672"/>
            <a:ext cx="699354" cy="715174"/>
          </a:xfrm>
          <a:prstGeom prst="rect">
            <a:avLst/>
          </a:prstGeom>
          <a:noFill/>
        </p:spPr>
        <p:txBody>
          <a:bodyPr wrap="none" lIns="36000" tIns="180000" rtlCol="0">
            <a:spAutoFit/>
          </a:bodyPr>
          <a:lstStyle/>
          <a:p>
            <a:pPr algn="ctr">
              <a:lnSpc>
                <a:spcPct val="60000"/>
              </a:lnSpc>
            </a:pPr>
            <a:r>
              <a:rPr lang="ru-RU" sz="4000">
                <a:solidFill>
                  <a:schemeClr val="bg1"/>
                </a:solidFill>
                <a:effectLst>
                  <a:outerShdw blurRad="38100" dist="38100" dir="2700000" algn="tl">
                    <a:srgbClr val="000000">
                      <a:alpha val="43137"/>
                    </a:srgbClr>
                  </a:outerShdw>
                </a:effectLst>
                <a:latin typeface="+mj-lt"/>
              </a:rPr>
              <a:t>02</a:t>
            </a:r>
            <a:br>
              <a:rPr lang="ru-RU" sz="4000">
                <a:solidFill>
                  <a:schemeClr val="bg1"/>
                </a:solidFill>
                <a:effectLst>
                  <a:outerShdw blurRad="38100" dist="38100" dir="2700000" algn="tl">
                    <a:srgbClr val="000000">
                      <a:alpha val="43137"/>
                    </a:srgbClr>
                  </a:outerShdw>
                </a:effectLst>
                <a:latin typeface="+mj-lt"/>
              </a:rPr>
            </a:br>
            <a:r>
              <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ea typeface="+mn-ea"/>
                <a:cs typeface="+mn-cs"/>
              </a:rPr>
              <a:t>уровень</a:t>
            </a:r>
            <a:endPar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Segoe UI Semibold"/>
              <a:ea typeface="+mn-ea"/>
              <a:cs typeface="+mn-cs"/>
            </a:endParaRPr>
          </a:p>
        </p:txBody>
      </p:sp>
      <p:sp>
        <p:nvSpPr>
          <p:cNvPr id="18" name="TextBox 17">
            <a:extLst>
              <a:ext uri="{FF2B5EF4-FFF2-40B4-BE49-F238E27FC236}">
                <a16:creationId xmlns:a16="http://schemas.microsoft.com/office/drawing/2014/main" id="{57F2E883-FC6E-4C25-8F83-55E61990026F}"/>
              </a:ext>
            </a:extLst>
          </p:cNvPr>
          <p:cNvSpPr txBox="1"/>
          <p:nvPr/>
        </p:nvSpPr>
        <p:spPr>
          <a:xfrm>
            <a:off x="649892" y="3446140"/>
            <a:ext cx="699354" cy="715174"/>
          </a:xfrm>
          <a:prstGeom prst="rect">
            <a:avLst/>
          </a:prstGeom>
          <a:noFill/>
        </p:spPr>
        <p:txBody>
          <a:bodyPr wrap="none" lIns="36000" tIns="180000" rtlCol="0">
            <a:spAutoFit/>
          </a:bodyPr>
          <a:lstStyle/>
          <a:p>
            <a:pPr algn="ctr">
              <a:lnSpc>
                <a:spcPct val="60000"/>
              </a:lnSpc>
            </a:pPr>
            <a:r>
              <a:rPr lang="ru-RU" sz="4000">
                <a:solidFill>
                  <a:schemeClr val="bg1"/>
                </a:solidFill>
                <a:effectLst>
                  <a:outerShdw blurRad="38100" dist="38100" dir="2700000" algn="tl">
                    <a:srgbClr val="000000">
                      <a:alpha val="43137"/>
                    </a:srgbClr>
                  </a:outerShdw>
                </a:effectLst>
                <a:latin typeface="+mj-lt"/>
              </a:rPr>
              <a:t>03</a:t>
            </a:r>
            <a:br>
              <a:rPr lang="ru-RU" sz="4000">
                <a:solidFill>
                  <a:schemeClr val="bg1"/>
                </a:solidFill>
                <a:effectLst>
                  <a:outerShdw blurRad="38100" dist="38100" dir="2700000" algn="tl">
                    <a:srgbClr val="000000">
                      <a:alpha val="43137"/>
                    </a:srgbClr>
                  </a:outerShdw>
                </a:effectLst>
                <a:latin typeface="+mj-lt"/>
              </a:rPr>
            </a:br>
            <a:r>
              <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ea typeface="+mn-ea"/>
                <a:cs typeface="+mn-cs"/>
              </a:rPr>
              <a:t>уровень</a:t>
            </a:r>
            <a:endPar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Segoe UI Semibold"/>
              <a:ea typeface="+mn-ea"/>
              <a:cs typeface="+mn-cs"/>
            </a:endParaRPr>
          </a:p>
        </p:txBody>
      </p:sp>
      <p:sp>
        <p:nvSpPr>
          <p:cNvPr id="19" name="TextBox 18">
            <a:extLst>
              <a:ext uri="{FF2B5EF4-FFF2-40B4-BE49-F238E27FC236}">
                <a16:creationId xmlns:a16="http://schemas.microsoft.com/office/drawing/2014/main" id="{7DCD90D4-2AEA-4023-B99F-578FA905A07A}"/>
              </a:ext>
            </a:extLst>
          </p:cNvPr>
          <p:cNvSpPr txBox="1"/>
          <p:nvPr/>
        </p:nvSpPr>
        <p:spPr>
          <a:xfrm>
            <a:off x="633862" y="4401608"/>
            <a:ext cx="731414" cy="715174"/>
          </a:xfrm>
          <a:prstGeom prst="rect">
            <a:avLst/>
          </a:prstGeom>
          <a:noFill/>
        </p:spPr>
        <p:txBody>
          <a:bodyPr wrap="none" lIns="36000" tIns="180000" rtlCol="0">
            <a:spAutoFit/>
          </a:bodyPr>
          <a:lstStyle/>
          <a:p>
            <a:pPr algn="ctr">
              <a:lnSpc>
                <a:spcPct val="60000"/>
              </a:lnSpc>
            </a:pPr>
            <a:r>
              <a:rPr lang="ru-RU" sz="4000">
                <a:solidFill>
                  <a:schemeClr val="bg1"/>
                </a:solidFill>
                <a:effectLst>
                  <a:outerShdw blurRad="38100" dist="38100" dir="2700000" algn="tl">
                    <a:srgbClr val="000000">
                      <a:alpha val="43137"/>
                    </a:srgbClr>
                  </a:outerShdw>
                </a:effectLst>
                <a:latin typeface="+mj-lt"/>
              </a:rPr>
              <a:t>04</a:t>
            </a:r>
            <a:br>
              <a:rPr lang="ru-RU" sz="4000">
                <a:solidFill>
                  <a:schemeClr val="bg1"/>
                </a:solidFill>
                <a:effectLst>
                  <a:outerShdw blurRad="38100" dist="38100" dir="2700000" algn="tl">
                    <a:srgbClr val="000000">
                      <a:alpha val="43137"/>
                    </a:srgbClr>
                  </a:outerShdw>
                </a:effectLst>
                <a:latin typeface="+mj-lt"/>
              </a:rPr>
            </a:br>
            <a:r>
              <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ea typeface="+mn-ea"/>
                <a:cs typeface="+mn-cs"/>
              </a:rPr>
              <a:t>уровень</a:t>
            </a:r>
            <a:endParaRPr kumimoji="0" lang="ru-RU" sz="1200" b="0" i="0" u="none" strike="noStrike" kern="1200" cap="none" spc="0" normalizeH="0" baseline="0" noProof="0">
              <a:ln>
                <a:noFill/>
              </a:ln>
              <a:solidFill>
                <a:schemeClr val="bg1"/>
              </a:solidFill>
              <a:effectLst>
                <a:outerShdw blurRad="38100" dist="38100" dir="2700000" algn="tl">
                  <a:srgbClr val="000000">
                    <a:alpha val="43137"/>
                  </a:srgbClr>
                </a:outerShdw>
              </a:effectLst>
              <a:uLnTx/>
              <a:uFillTx/>
              <a:latin typeface="Segoe UI Semibold"/>
              <a:ea typeface="+mn-ea"/>
              <a:cs typeface="+mn-cs"/>
            </a:endParaRPr>
          </a:p>
        </p:txBody>
      </p:sp>
      <p:cxnSp>
        <p:nvCxnSpPr>
          <p:cNvPr id="47" name="Прямая соединительная линия 46">
            <a:extLst>
              <a:ext uri="{FF2B5EF4-FFF2-40B4-BE49-F238E27FC236}">
                <a16:creationId xmlns:a16="http://schemas.microsoft.com/office/drawing/2014/main" id="{C4A5F8E4-20EA-4955-A312-08D4D361709B}"/>
              </a:ext>
            </a:extLst>
          </p:cNvPr>
          <p:cNvCxnSpPr>
            <a:cxnSpLocks/>
          </p:cNvCxnSpPr>
          <p:nvPr/>
        </p:nvCxnSpPr>
        <p:spPr>
          <a:xfrm>
            <a:off x="4965987" y="1267781"/>
            <a:ext cx="1072800" cy="0"/>
          </a:xfrm>
          <a:prstGeom prst="line">
            <a:avLst/>
          </a:prstGeom>
          <a:ln w="31750">
            <a:gradFill flip="none" rotWithShape="1">
              <a:gsLst>
                <a:gs pos="0">
                  <a:schemeClr val="accent6">
                    <a:alpha val="0"/>
                  </a:schemeClr>
                </a:gs>
                <a:gs pos="50000">
                  <a:schemeClr val="accent6"/>
                </a:gs>
                <a:gs pos="100000">
                  <a:schemeClr val="accent6">
                    <a:alpha val="0"/>
                  </a:schemeClr>
                </a:gs>
              </a:gsLst>
              <a:lin ang="0" scaled="1"/>
              <a:tileRect/>
            </a:gradFill>
          </a:ln>
          <a:effectLst>
            <a:outerShdw blurRad="635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a:extLst>
              <a:ext uri="{FF2B5EF4-FFF2-40B4-BE49-F238E27FC236}">
                <a16:creationId xmlns:a16="http://schemas.microsoft.com/office/drawing/2014/main" id="{75BE71A4-28A6-47E4-818A-BA25A4D5A6B8}"/>
              </a:ext>
            </a:extLst>
          </p:cNvPr>
          <p:cNvCxnSpPr>
            <a:cxnSpLocks/>
          </p:cNvCxnSpPr>
          <p:nvPr/>
        </p:nvCxnSpPr>
        <p:spPr>
          <a:xfrm>
            <a:off x="7690592" y="1267781"/>
            <a:ext cx="1072800" cy="0"/>
          </a:xfrm>
          <a:prstGeom prst="line">
            <a:avLst/>
          </a:prstGeom>
          <a:ln w="31750">
            <a:gradFill flip="none" rotWithShape="1">
              <a:gsLst>
                <a:gs pos="0">
                  <a:schemeClr val="accent6">
                    <a:alpha val="0"/>
                  </a:schemeClr>
                </a:gs>
                <a:gs pos="50000">
                  <a:schemeClr val="accent6"/>
                </a:gs>
                <a:gs pos="100000">
                  <a:schemeClr val="accent6">
                    <a:alpha val="0"/>
                  </a:schemeClr>
                </a:gs>
              </a:gsLst>
              <a:lin ang="0" scaled="1"/>
              <a:tileRect/>
            </a:gradFill>
          </a:ln>
          <a:effectLst>
            <a:outerShdw blurRad="635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78" name="Группа 77">
            <a:extLst>
              <a:ext uri="{FF2B5EF4-FFF2-40B4-BE49-F238E27FC236}">
                <a16:creationId xmlns:a16="http://schemas.microsoft.com/office/drawing/2014/main" id="{07040EC3-3113-45E9-BB38-B8CA31DE787D}"/>
              </a:ext>
            </a:extLst>
          </p:cNvPr>
          <p:cNvGrpSpPr/>
          <p:nvPr/>
        </p:nvGrpSpPr>
        <p:grpSpPr>
          <a:xfrm>
            <a:off x="10939519" y="1596359"/>
            <a:ext cx="472231" cy="592882"/>
            <a:chOff x="10936913" y="1596359"/>
            <a:chExt cx="472231" cy="592882"/>
          </a:xfrm>
          <a:effectLst>
            <a:outerShdw blurRad="50800" dist="12700" algn="ctr" rotWithShape="0">
              <a:schemeClr val="accent1">
                <a:alpha val="30000"/>
              </a:schemeClr>
            </a:outerShdw>
          </a:effectLst>
        </p:grpSpPr>
        <p:grpSp>
          <p:nvGrpSpPr>
            <p:cNvPr id="53" name="Рисунок 61">
              <a:extLst>
                <a:ext uri="{FF2B5EF4-FFF2-40B4-BE49-F238E27FC236}">
                  <a16:creationId xmlns:a16="http://schemas.microsoft.com/office/drawing/2014/main" id="{6A58B049-E2E2-41AD-9BD8-4DCBA8691B58}"/>
                </a:ext>
              </a:extLst>
            </p:cNvPr>
            <p:cNvGrpSpPr/>
            <p:nvPr/>
          </p:nvGrpSpPr>
          <p:grpSpPr>
            <a:xfrm>
              <a:off x="10936913" y="1973704"/>
              <a:ext cx="472231" cy="215537"/>
              <a:chOff x="3579461" y="4239640"/>
              <a:chExt cx="368773" cy="168317"/>
            </a:xfrm>
            <a:solidFill>
              <a:schemeClr val="tx2"/>
            </a:solidFill>
          </p:grpSpPr>
          <p:sp>
            <p:nvSpPr>
              <p:cNvPr id="65" name="Полилиния: фигура 64">
                <a:extLst>
                  <a:ext uri="{FF2B5EF4-FFF2-40B4-BE49-F238E27FC236}">
                    <a16:creationId xmlns:a16="http://schemas.microsoft.com/office/drawing/2014/main" id="{08BBE4D8-2B56-4257-9F09-429A40E1964F}"/>
                  </a:ext>
                </a:extLst>
              </p:cNvPr>
              <p:cNvSpPr/>
              <p:nvPr/>
            </p:nvSpPr>
            <p:spPr>
              <a:xfrm>
                <a:off x="3579461" y="4239640"/>
                <a:ext cx="69258" cy="168317"/>
              </a:xfrm>
              <a:custGeom>
                <a:avLst/>
                <a:gdLst>
                  <a:gd name="connsiteX0" fmla="*/ 47598 w 69258"/>
                  <a:gd name="connsiteY0" fmla="*/ 168318 h 168317"/>
                  <a:gd name="connsiteX1" fmla="*/ 21660 w 69258"/>
                  <a:gd name="connsiteY1" fmla="*/ 168318 h 168317"/>
                  <a:gd name="connsiteX2" fmla="*/ 0 w 69258"/>
                  <a:gd name="connsiteY2" fmla="*/ 146657 h 168317"/>
                  <a:gd name="connsiteX3" fmla="*/ 0 w 69258"/>
                  <a:gd name="connsiteY3" fmla="*/ 21660 h 168317"/>
                  <a:gd name="connsiteX4" fmla="*/ 21660 w 69258"/>
                  <a:gd name="connsiteY4" fmla="*/ 0 h 168317"/>
                  <a:gd name="connsiteX5" fmla="*/ 47598 w 69258"/>
                  <a:gd name="connsiteY5" fmla="*/ 0 h 168317"/>
                  <a:gd name="connsiteX6" fmla="*/ 69258 w 69258"/>
                  <a:gd name="connsiteY6" fmla="*/ 21660 h 168317"/>
                  <a:gd name="connsiteX7" fmla="*/ 69258 w 69258"/>
                  <a:gd name="connsiteY7" fmla="*/ 146657 h 168317"/>
                  <a:gd name="connsiteX8" fmla="*/ 47598 w 69258"/>
                  <a:gd name="connsiteY8" fmla="*/ 168318 h 168317"/>
                  <a:gd name="connsiteX9" fmla="*/ 21660 w 69258"/>
                  <a:gd name="connsiteY9" fmla="*/ 14210 h 168317"/>
                  <a:gd name="connsiteX10" fmla="*/ 14210 w 69258"/>
                  <a:gd name="connsiteY10" fmla="*/ 21660 h 168317"/>
                  <a:gd name="connsiteX11" fmla="*/ 14210 w 69258"/>
                  <a:gd name="connsiteY11" fmla="*/ 146657 h 168317"/>
                  <a:gd name="connsiteX12" fmla="*/ 21660 w 69258"/>
                  <a:gd name="connsiteY12" fmla="*/ 154107 h 168317"/>
                  <a:gd name="connsiteX13" fmla="*/ 47598 w 69258"/>
                  <a:gd name="connsiteY13" fmla="*/ 154107 h 168317"/>
                  <a:gd name="connsiteX14" fmla="*/ 55048 w 69258"/>
                  <a:gd name="connsiteY14" fmla="*/ 146657 h 168317"/>
                  <a:gd name="connsiteX15" fmla="*/ 55048 w 69258"/>
                  <a:gd name="connsiteY15" fmla="*/ 21660 h 168317"/>
                  <a:gd name="connsiteX16" fmla="*/ 47598 w 69258"/>
                  <a:gd name="connsiteY16" fmla="*/ 14210 h 168317"/>
                  <a:gd name="connsiteX17" fmla="*/ 21660 w 69258"/>
                  <a:gd name="connsiteY17" fmla="*/ 14210 h 16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258" h="168317">
                    <a:moveTo>
                      <a:pt x="47598" y="168318"/>
                    </a:moveTo>
                    <a:lnTo>
                      <a:pt x="21660" y="168318"/>
                    </a:lnTo>
                    <a:cubicBezTo>
                      <a:pt x="9795" y="168318"/>
                      <a:pt x="0" y="158660"/>
                      <a:pt x="0" y="146657"/>
                    </a:cubicBezTo>
                    <a:lnTo>
                      <a:pt x="0" y="21660"/>
                    </a:lnTo>
                    <a:cubicBezTo>
                      <a:pt x="0" y="9795"/>
                      <a:pt x="9658" y="0"/>
                      <a:pt x="21660" y="0"/>
                    </a:cubicBezTo>
                    <a:lnTo>
                      <a:pt x="47598" y="0"/>
                    </a:lnTo>
                    <a:cubicBezTo>
                      <a:pt x="59463" y="0"/>
                      <a:pt x="69258" y="9658"/>
                      <a:pt x="69258" y="21660"/>
                    </a:cubicBezTo>
                    <a:lnTo>
                      <a:pt x="69258" y="146657"/>
                    </a:lnTo>
                    <a:cubicBezTo>
                      <a:pt x="69258" y="158522"/>
                      <a:pt x="59601" y="168318"/>
                      <a:pt x="47598" y="168318"/>
                    </a:cubicBezTo>
                    <a:close/>
                    <a:moveTo>
                      <a:pt x="21660" y="14210"/>
                    </a:moveTo>
                    <a:cubicBezTo>
                      <a:pt x="17521" y="14210"/>
                      <a:pt x="14210" y="17521"/>
                      <a:pt x="14210" y="21660"/>
                    </a:cubicBezTo>
                    <a:lnTo>
                      <a:pt x="14210" y="146657"/>
                    </a:lnTo>
                    <a:cubicBezTo>
                      <a:pt x="14210" y="150796"/>
                      <a:pt x="17521" y="154107"/>
                      <a:pt x="21660" y="154107"/>
                    </a:cubicBezTo>
                    <a:lnTo>
                      <a:pt x="47598" y="154107"/>
                    </a:lnTo>
                    <a:cubicBezTo>
                      <a:pt x="51737" y="154107"/>
                      <a:pt x="55048" y="150796"/>
                      <a:pt x="55048" y="146657"/>
                    </a:cubicBezTo>
                    <a:lnTo>
                      <a:pt x="55048" y="21660"/>
                    </a:lnTo>
                    <a:cubicBezTo>
                      <a:pt x="55048" y="17521"/>
                      <a:pt x="51737" y="14210"/>
                      <a:pt x="47598" y="14210"/>
                    </a:cubicBezTo>
                    <a:lnTo>
                      <a:pt x="21660" y="14210"/>
                    </a:lnTo>
                    <a:close/>
                  </a:path>
                </a:pathLst>
              </a:custGeom>
              <a:grpFill/>
              <a:ln w="13786" cap="flat">
                <a:noFill/>
                <a:prstDash val="solid"/>
                <a:miter/>
              </a:ln>
            </p:spPr>
            <p:txBody>
              <a:bodyPr rtlCol="0" anchor="ctr"/>
              <a:lstStyle/>
              <a:p>
                <a:endParaRPr lang="ru-RU"/>
              </a:p>
            </p:txBody>
          </p:sp>
          <p:sp>
            <p:nvSpPr>
              <p:cNvPr id="66" name="Полилиния: фигура 65">
                <a:extLst>
                  <a:ext uri="{FF2B5EF4-FFF2-40B4-BE49-F238E27FC236}">
                    <a16:creationId xmlns:a16="http://schemas.microsoft.com/office/drawing/2014/main" id="{AE651D4F-28B2-4557-81D8-354B08C83557}"/>
                  </a:ext>
                </a:extLst>
              </p:cNvPr>
              <p:cNvSpPr/>
              <p:nvPr/>
            </p:nvSpPr>
            <p:spPr>
              <a:xfrm>
                <a:off x="3634391" y="4252372"/>
                <a:ext cx="234367" cy="67292"/>
              </a:xfrm>
              <a:custGeom>
                <a:avLst/>
                <a:gdLst>
                  <a:gd name="connsiteX0" fmla="*/ 96967 w 234367"/>
                  <a:gd name="connsiteY0" fmla="*/ 67292 h 67292"/>
                  <a:gd name="connsiteX1" fmla="*/ 90206 w 234367"/>
                  <a:gd name="connsiteY1" fmla="*/ 62326 h 67292"/>
                  <a:gd name="connsiteX2" fmla="*/ 94897 w 234367"/>
                  <a:gd name="connsiteY2" fmla="*/ 53496 h 67292"/>
                  <a:gd name="connsiteX3" fmla="*/ 134355 w 234367"/>
                  <a:gd name="connsiteY3" fmla="*/ 41217 h 67292"/>
                  <a:gd name="connsiteX4" fmla="*/ 137390 w 234367"/>
                  <a:gd name="connsiteY4" fmla="*/ 40941 h 67292"/>
                  <a:gd name="connsiteX5" fmla="*/ 211202 w 234367"/>
                  <a:gd name="connsiteY5" fmla="*/ 51289 h 67292"/>
                  <a:gd name="connsiteX6" fmla="*/ 219480 w 234367"/>
                  <a:gd name="connsiteY6" fmla="*/ 45494 h 67292"/>
                  <a:gd name="connsiteX7" fmla="*/ 220169 w 234367"/>
                  <a:gd name="connsiteY7" fmla="*/ 42735 h 67292"/>
                  <a:gd name="connsiteX8" fmla="*/ 214651 w 234367"/>
                  <a:gd name="connsiteY8" fmla="*/ 33767 h 67292"/>
                  <a:gd name="connsiteX9" fmla="*/ 132148 w 234367"/>
                  <a:gd name="connsiteY9" fmla="*/ 14314 h 67292"/>
                  <a:gd name="connsiteX10" fmla="*/ 8393 w 234367"/>
                  <a:gd name="connsiteY10" fmla="*/ 37216 h 67292"/>
                  <a:gd name="connsiteX11" fmla="*/ 115 w 234367"/>
                  <a:gd name="connsiteY11" fmla="*/ 31559 h 67292"/>
                  <a:gd name="connsiteX12" fmla="*/ 5772 w 234367"/>
                  <a:gd name="connsiteY12" fmla="*/ 23282 h 67292"/>
                  <a:gd name="connsiteX13" fmla="*/ 130906 w 234367"/>
                  <a:gd name="connsiteY13" fmla="*/ 103 h 67292"/>
                  <a:gd name="connsiteX14" fmla="*/ 133803 w 234367"/>
                  <a:gd name="connsiteY14" fmla="*/ 103 h 67292"/>
                  <a:gd name="connsiteX15" fmla="*/ 217686 w 234367"/>
                  <a:gd name="connsiteY15" fmla="*/ 19970 h 67292"/>
                  <a:gd name="connsiteX16" fmla="*/ 233828 w 234367"/>
                  <a:gd name="connsiteY16" fmla="*/ 45908 h 67292"/>
                  <a:gd name="connsiteX17" fmla="*/ 233138 w 234367"/>
                  <a:gd name="connsiteY17" fmla="*/ 48667 h 67292"/>
                  <a:gd name="connsiteX18" fmla="*/ 208994 w 234367"/>
                  <a:gd name="connsiteY18" fmla="*/ 65361 h 67292"/>
                  <a:gd name="connsiteX19" fmla="*/ 136701 w 234367"/>
                  <a:gd name="connsiteY19" fmla="*/ 55152 h 67292"/>
                  <a:gd name="connsiteX20" fmla="*/ 98760 w 234367"/>
                  <a:gd name="connsiteY20" fmla="*/ 66879 h 67292"/>
                  <a:gd name="connsiteX21" fmla="*/ 96967 w 234367"/>
                  <a:gd name="connsiteY21" fmla="*/ 67292 h 6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367" h="67292">
                    <a:moveTo>
                      <a:pt x="96967" y="67292"/>
                    </a:moveTo>
                    <a:cubicBezTo>
                      <a:pt x="93931" y="67292"/>
                      <a:pt x="91172" y="65361"/>
                      <a:pt x="90206" y="62326"/>
                    </a:cubicBezTo>
                    <a:cubicBezTo>
                      <a:pt x="89102" y="58601"/>
                      <a:pt x="91172" y="54600"/>
                      <a:pt x="94897" y="53496"/>
                    </a:cubicBezTo>
                    <a:lnTo>
                      <a:pt x="134355" y="41217"/>
                    </a:lnTo>
                    <a:cubicBezTo>
                      <a:pt x="135321" y="40941"/>
                      <a:pt x="136425" y="40803"/>
                      <a:pt x="137390" y="40941"/>
                    </a:cubicBezTo>
                    <a:lnTo>
                      <a:pt x="211202" y="51289"/>
                    </a:lnTo>
                    <a:cubicBezTo>
                      <a:pt x="215065" y="51840"/>
                      <a:pt x="218652" y="49357"/>
                      <a:pt x="219480" y="45494"/>
                    </a:cubicBezTo>
                    <a:lnTo>
                      <a:pt x="220169" y="42735"/>
                    </a:lnTo>
                    <a:cubicBezTo>
                      <a:pt x="221135" y="38734"/>
                      <a:pt x="218514" y="34733"/>
                      <a:pt x="214651" y="33767"/>
                    </a:cubicBezTo>
                    <a:lnTo>
                      <a:pt x="132148" y="14314"/>
                    </a:lnTo>
                    <a:lnTo>
                      <a:pt x="8393" y="37216"/>
                    </a:lnTo>
                    <a:cubicBezTo>
                      <a:pt x="4530" y="37906"/>
                      <a:pt x="805" y="35422"/>
                      <a:pt x="115" y="31559"/>
                    </a:cubicBezTo>
                    <a:cubicBezTo>
                      <a:pt x="-575" y="27696"/>
                      <a:pt x="1909" y="23971"/>
                      <a:pt x="5772" y="23282"/>
                    </a:cubicBezTo>
                    <a:lnTo>
                      <a:pt x="130906" y="103"/>
                    </a:lnTo>
                    <a:cubicBezTo>
                      <a:pt x="131872" y="-34"/>
                      <a:pt x="132837" y="-34"/>
                      <a:pt x="133803" y="103"/>
                    </a:cubicBezTo>
                    <a:lnTo>
                      <a:pt x="217686" y="19970"/>
                    </a:lnTo>
                    <a:cubicBezTo>
                      <a:pt x="229275" y="22730"/>
                      <a:pt x="236450" y="34319"/>
                      <a:pt x="233828" y="45908"/>
                    </a:cubicBezTo>
                    <a:lnTo>
                      <a:pt x="233138" y="48667"/>
                    </a:lnTo>
                    <a:cubicBezTo>
                      <a:pt x="230655" y="59566"/>
                      <a:pt x="220032" y="66879"/>
                      <a:pt x="208994" y="65361"/>
                    </a:cubicBezTo>
                    <a:lnTo>
                      <a:pt x="136701" y="55152"/>
                    </a:lnTo>
                    <a:lnTo>
                      <a:pt x="98760" y="66879"/>
                    </a:lnTo>
                    <a:cubicBezTo>
                      <a:pt x="98484" y="67155"/>
                      <a:pt x="97656" y="67292"/>
                      <a:pt x="96967" y="67292"/>
                    </a:cubicBezTo>
                    <a:close/>
                  </a:path>
                </a:pathLst>
              </a:custGeom>
              <a:grpFill/>
              <a:ln w="13786" cap="flat">
                <a:noFill/>
                <a:prstDash val="solid"/>
                <a:miter/>
              </a:ln>
            </p:spPr>
            <p:txBody>
              <a:bodyPr rtlCol="0" anchor="ctr"/>
              <a:lstStyle/>
              <a:p>
                <a:endParaRPr lang="ru-RU"/>
              </a:p>
            </p:txBody>
          </p:sp>
          <p:sp>
            <p:nvSpPr>
              <p:cNvPr id="67" name="Полилиния: фигура 66">
                <a:extLst>
                  <a:ext uri="{FF2B5EF4-FFF2-40B4-BE49-F238E27FC236}">
                    <a16:creationId xmlns:a16="http://schemas.microsoft.com/office/drawing/2014/main" id="{067CCA5C-7204-4276-AE84-97440689F465}"/>
                  </a:ext>
                </a:extLst>
              </p:cNvPr>
              <p:cNvSpPr/>
              <p:nvPr/>
            </p:nvSpPr>
            <p:spPr>
              <a:xfrm>
                <a:off x="3634467" y="4303370"/>
                <a:ext cx="313767" cy="74379"/>
              </a:xfrm>
              <a:custGeom>
                <a:avLst/>
                <a:gdLst>
                  <a:gd name="connsiteX0" fmla="*/ 91788 w 313767"/>
                  <a:gd name="connsiteY0" fmla="*/ 74379 h 74379"/>
                  <a:gd name="connsiteX1" fmla="*/ 6249 w 313767"/>
                  <a:gd name="connsiteY1" fmla="*/ 69275 h 74379"/>
                  <a:gd name="connsiteX2" fmla="*/ 41 w 313767"/>
                  <a:gd name="connsiteY2" fmla="*/ 61411 h 74379"/>
                  <a:gd name="connsiteX3" fmla="*/ 7905 w 313767"/>
                  <a:gd name="connsiteY3" fmla="*/ 55202 h 74379"/>
                  <a:gd name="connsiteX4" fmla="*/ 278869 w 313767"/>
                  <a:gd name="connsiteY4" fmla="*/ 35059 h 74379"/>
                  <a:gd name="connsiteX5" fmla="*/ 293907 w 313767"/>
                  <a:gd name="connsiteY5" fmla="*/ 30920 h 74379"/>
                  <a:gd name="connsiteX6" fmla="*/ 299426 w 313767"/>
                  <a:gd name="connsiteY6" fmla="*/ 24574 h 74379"/>
                  <a:gd name="connsiteX7" fmla="*/ 295563 w 313767"/>
                  <a:gd name="connsiteY7" fmla="*/ 17124 h 74379"/>
                  <a:gd name="connsiteX8" fmla="*/ 291976 w 313767"/>
                  <a:gd name="connsiteY8" fmla="*/ 16158 h 74379"/>
                  <a:gd name="connsiteX9" fmla="*/ 210162 w 313767"/>
                  <a:gd name="connsiteY9" fmla="*/ 14227 h 74379"/>
                  <a:gd name="connsiteX10" fmla="*/ 203264 w 313767"/>
                  <a:gd name="connsiteY10" fmla="*/ 6914 h 74379"/>
                  <a:gd name="connsiteX11" fmla="*/ 210576 w 313767"/>
                  <a:gd name="connsiteY11" fmla="*/ 16 h 74379"/>
                  <a:gd name="connsiteX12" fmla="*/ 292252 w 313767"/>
                  <a:gd name="connsiteY12" fmla="*/ 1948 h 74379"/>
                  <a:gd name="connsiteX13" fmla="*/ 292252 w 313767"/>
                  <a:gd name="connsiteY13" fmla="*/ 1948 h 74379"/>
                  <a:gd name="connsiteX14" fmla="*/ 302323 w 313767"/>
                  <a:gd name="connsiteY14" fmla="*/ 4569 h 74379"/>
                  <a:gd name="connsiteX15" fmla="*/ 313636 w 313767"/>
                  <a:gd name="connsiteY15" fmla="*/ 26092 h 74379"/>
                  <a:gd name="connsiteX16" fmla="*/ 297770 w 313767"/>
                  <a:gd name="connsiteY16" fmla="*/ 44579 h 74379"/>
                  <a:gd name="connsiteX17" fmla="*/ 282732 w 313767"/>
                  <a:gd name="connsiteY17" fmla="*/ 48718 h 74379"/>
                  <a:gd name="connsiteX18" fmla="*/ 91788 w 313767"/>
                  <a:gd name="connsiteY18" fmla="*/ 74379 h 7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767" h="74379">
                    <a:moveTo>
                      <a:pt x="91788" y="74379"/>
                    </a:moveTo>
                    <a:cubicBezTo>
                      <a:pt x="63367" y="74379"/>
                      <a:pt x="34808" y="72724"/>
                      <a:pt x="6249" y="69275"/>
                    </a:cubicBezTo>
                    <a:cubicBezTo>
                      <a:pt x="2386" y="68861"/>
                      <a:pt x="-373" y="65274"/>
                      <a:pt x="41" y="61411"/>
                    </a:cubicBezTo>
                    <a:cubicBezTo>
                      <a:pt x="455" y="57548"/>
                      <a:pt x="4042" y="54650"/>
                      <a:pt x="7905" y="55202"/>
                    </a:cubicBezTo>
                    <a:cubicBezTo>
                      <a:pt x="99100" y="65963"/>
                      <a:pt x="190157" y="59203"/>
                      <a:pt x="278869" y="35059"/>
                    </a:cubicBezTo>
                    <a:lnTo>
                      <a:pt x="293907" y="30920"/>
                    </a:lnTo>
                    <a:cubicBezTo>
                      <a:pt x="298460" y="29679"/>
                      <a:pt x="299288" y="25678"/>
                      <a:pt x="299426" y="24574"/>
                    </a:cubicBezTo>
                    <a:cubicBezTo>
                      <a:pt x="299564" y="23332"/>
                      <a:pt x="299702" y="19331"/>
                      <a:pt x="295563" y="17124"/>
                    </a:cubicBezTo>
                    <a:cubicBezTo>
                      <a:pt x="294459" y="16572"/>
                      <a:pt x="293217" y="16158"/>
                      <a:pt x="291976" y="16158"/>
                    </a:cubicBezTo>
                    <a:lnTo>
                      <a:pt x="210162" y="14227"/>
                    </a:lnTo>
                    <a:cubicBezTo>
                      <a:pt x="206299" y="14089"/>
                      <a:pt x="203126" y="10915"/>
                      <a:pt x="203264" y="6914"/>
                    </a:cubicBezTo>
                    <a:cubicBezTo>
                      <a:pt x="203402" y="3051"/>
                      <a:pt x="206437" y="-260"/>
                      <a:pt x="210576" y="16"/>
                    </a:cubicBezTo>
                    <a:lnTo>
                      <a:pt x="292252" y="1948"/>
                    </a:lnTo>
                    <a:cubicBezTo>
                      <a:pt x="292252" y="1948"/>
                      <a:pt x="292252" y="1948"/>
                      <a:pt x="292252" y="1948"/>
                    </a:cubicBezTo>
                    <a:cubicBezTo>
                      <a:pt x="295701" y="1948"/>
                      <a:pt x="299150" y="2913"/>
                      <a:pt x="302323" y="4569"/>
                    </a:cubicBezTo>
                    <a:cubicBezTo>
                      <a:pt x="310187" y="8846"/>
                      <a:pt x="314602" y="17262"/>
                      <a:pt x="313636" y="26092"/>
                    </a:cubicBezTo>
                    <a:cubicBezTo>
                      <a:pt x="312670" y="34921"/>
                      <a:pt x="306462" y="42233"/>
                      <a:pt x="297770" y="44579"/>
                    </a:cubicBezTo>
                    <a:lnTo>
                      <a:pt x="282732" y="48718"/>
                    </a:lnTo>
                    <a:cubicBezTo>
                      <a:pt x="219958" y="65826"/>
                      <a:pt x="156080" y="74379"/>
                      <a:pt x="91788" y="74379"/>
                    </a:cubicBezTo>
                    <a:close/>
                  </a:path>
                </a:pathLst>
              </a:custGeom>
              <a:grpFill/>
              <a:ln w="13786" cap="flat">
                <a:noFill/>
                <a:prstDash val="solid"/>
                <a:miter/>
              </a:ln>
            </p:spPr>
            <p:txBody>
              <a:bodyPr rtlCol="0" anchor="ctr"/>
              <a:lstStyle/>
              <a:p>
                <a:endParaRPr lang="ru-RU"/>
              </a:p>
            </p:txBody>
          </p:sp>
        </p:grpSp>
        <p:grpSp>
          <p:nvGrpSpPr>
            <p:cNvPr id="54" name="Рисунок 61">
              <a:extLst>
                <a:ext uri="{FF2B5EF4-FFF2-40B4-BE49-F238E27FC236}">
                  <a16:creationId xmlns:a16="http://schemas.microsoft.com/office/drawing/2014/main" id="{04175127-1D54-4B0D-B0AF-FDDB20AA7FA6}"/>
                </a:ext>
              </a:extLst>
            </p:cNvPr>
            <p:cNvGrpSpPr/>
            <p:nvPr/>
          </p:nvGrpSpPr>
          <p:grpSpPr>
            <a:xfrm>
              <a:off x="11021359" y="1596359"/>
              <a:ext cx="303091" cy="329315"/>
              <a:chOff x="3645449" y="3944968"/>
              <a:chExt cx="236677" cy="257169"/>
            </a:xfrm>
            <a:solidFill>
              <a:schemeClr val="tx2"/>
            </a:solidFill>
          </p:grpSpPr>
          <p:grpSp>
            <p:nvGrpSpPr>
              <p:cNvPr id="55" name="Рисунок 61">
                <a:extLst>
                  <a:ext uri="{FF2B5EF4-FFF2-40B4-BE49-F238E27FC236}">
                    <a16:creationId xmlns:a16="http://schemas.microsoft.com/office/drawing/2014/main" id="{75C2C095-525F-4142-B136-D721001B1727}"/>
                  </a:ext>
                </a:extLst>
              </p:cNvPr>
              <p:cNvGrpSpPr/>
              <p:nvPr/>
            </p:nvGrpSpPr>
            <p:grpSpPr>
              <a:xfrm>
                <a:off x="3699658" y="4001123"/>
                <a:ext cx="128149" cy="201014"/>
                <a:chOff x="3699648" y="4001106"/>
                <a:chExt cx="128149" cy="201013"/>
              </a:xfrm>
              <a:grpFill/>
            </p:grpSpPr>
            <p:sp>
              <p:nvSpPr>
                <p:cNvPr id="63" name="Полилиния: фигура 62">
                  <a:extLst>
                    <a:ext uri="{FF2B5EF4-FFF2-40B4-BE49-F238E27FC236}">
                      <a16:creationId xmlns:a16="http://schemas.microsoft.com/office/drawing/2014/main" id="{C85DDBE7-0E3D-467D-8956-1EECA3CFA570}"/>
                    </a:ext>
                  </a:extLst>
                </p:cNvPr>
                <p:cNvSpPr/>
                <p:nvPr/>
              </p:nvSpPr>
              <p:spPr>
                <a:xfrm>
                  <a:off x="3699648" y="4001106"/>
                  <a:ext cx="128149" cy="201013"/>
                </a:xfrm>
                <a:custGeom>
                  <a:avLst/>
                  <a:gdLst>
                    <a:gd name="connsiteX0" fmla="*/ 63168 w 128149"/>
                    <a:gd name="connsiteY0" fmla="*/ 201014 h 201013"/>
                    <a:gd name="connsiteX1" fmla="*/ 33919 w 128149"/>
                    <a:gd name="connsiteY1" fmla="*/ 172869 h 201013"/>
                    <a:gd name="connsiteX2" fmla="*/ 33781 w 128149"/>
                    <a:gd name="connsiteY2" fmla="*/ 169833 h 201013"/>
                    <a:gd name="connsiteX3" fmla="*/ 10741 w 128149"/>
                    <a:gd name="connsiteY3" fmla="*/ 99471 h 201013"/>
                    <a:gd name="connsiteX4" fmla="*/ 394 w 128149"/>
                    <a:gd name="connsiteY4" fmla="*/ 56702 h 201013"/>
                    <a:gd name="connsiteX5" fmla="*/ 56821 w 128149"/>
                    <a:gd name="connsiteY5" fmla="*/ 412 h 201013"/>
                    <a:gd name="connsiteX6" fmla="*/ 106765 w 128149"/>
                    <a:gd name="connsiteY6" fmla="*/ 16278 h 201013"/>
                    <a:gd name="connsiteX7" fmla="*/ 128150 w 128149"/>
                    <a:gd name="connsiteY7" fmla="*/ 64014 h 201013"/>
                    <a:gd name="connsiteX8" fmla="*/ 116699 w 128149"/>
                    <a:gd name="connsiteY8" fmla="*/ 100575 h 201013"/>
                    <a:gd name="connsiteX9" fmla="*/ 92279 w 128149"/>
                    <a:gd name="connsiteY9" fmla="*/ 172869 h 201013"/>
                    <a:gd name="connsiteX10" fmla="*/ 63168 w 128149"/>
                    <a:gd name="connsiteY10" fmla="*/ 201014 h 201013"/>
                    <a:gd name="connsiteX11" fmla="*/ 64134 w 128149"/>
                    <a:gd name="connsiteY11" fmla="*/ 14071 h 201013"/>
                    <a:gd name="connsiteX12" fmla="*/ 58339 w 128149"/>
                    <a:gd name="connsiteY12" fmla="*/ 14347 h 201013"/>
                    <a:gd name="connsiteX13" fmla="*/ 14466 w 128149"/>
                    <a:gd name="connsiteY13" fmla="*/ 58219 h 201013"/>
                    <a:gd name="connsiteX14" fmla="*/ 22468 w 128149"/>
                    <a:gd name="connsiteY14" fmla="*/ 91469 h 201013"/>
                    <a:gd name="connsiteX15" fmla="*/ 47854 w 128149"/>
                    <a:gd name="connsiteY15" fmla="*/ 169144 h 201013"/>
                    <a:gd name="connsiteX16" fmla="*/ 47992 w 128149"/>
                    <a:gd name="connsiteY16" fmla="*/ 172179 h 201013"/>
                    <a:gd name="connsiteX17" fmla="*/ 63030 w 128149"/>
                    <a:gd name="connsiteY17" fmla="*/ 186665 h 201013"/>
                    <a:gd name="connsiteX18" fmla="*/ 78068 w 128149"/>
                    <a:gd name="connsiteY18" fmla="*/ 172179 h 201013"/>
                    <a:gd name="connsiteX19" fmla="*/ 104971 w 128149"/>
                    <a:gd name="connsiteY19" fmla="*/ 92297 h 201013"/>
                    <a:gd name="connsiteX20" fmla="*/ 113939 w 128149"/>
                    <a:gd name="connsiteY20" fmla="*/ 63876 h 201013"/>
                    <a:gd name="connsiteX21" fmla="*/ 97383 w 128149"/>
                    <a:gd name="connsiteY21" fmla="*/ 26763 h 201013"/>
                    <a:gd name="connsiteX22" fmla="*/ 64134 w 128149"/>
                    <a:gd name="connsiteY22" fmla="*/ 14071 h 20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149" h="201013">
                      <a:moveTo>
                        <a:pt x="63168" y="201014"/>
                      </a:moveTo>
                      <a:cubicBezTo>
                        <a:pt x="47302" y="201014"/>
                        <a:pt x="34471" y="188597"/>
                        <a:pt x="33919" y="172869"/>
                      </a:cubicBezTo>
                      <a:lnTo>
                        <a:pt x="33781" y="169833"/>
                      </a:lnTo>
                      <a:cubicBezTo>
                        <a:pt x="32954" y="145000"/>
                        <a:pt x="24952" y="120718"/>
                        <a:pt x="10741" y="99471"/>
                      </a:cubicBezTo>
                      <a:cubicBezTo>
                        <a:pt x="2325" y="86778"/>
                        <a:pt x="-1262" y="72016"/>
                        <a:pt x="394" y="56702"/>
                      </a:cubicBezTo>
                      <a:cubicBezTo>
                        <a:pt x="3705" y="27315"/>
                        <a:pt x="27297" y="3585"/>
                        <a:pt x="56821" y="412"/>
                      </a:cubicBezTo>
                      <a:cubicBezTo>
                        <a:pt x="75033" y="-1657"/>
                        <a:pt x="93244" y="4137"/>
                        <a:pt x="106765" y="16278"/>
                      </a:cubicBezTo>
                      <a:cubicBezTo>
                        <a:pt x="120286" y="28419"/>
                        <a:pt x="128150" y="45803"/>
                        <a:pt x="128150" y="64014"/>
                      </a:cubicBezTo>
                      <a:cubicBezTo>
                        <a:pt x="128150" y="77121"/>
                        <a:pt x="124149" y="89814"/>
                        <a:pt x="116699" y="100575"/>
                      </a:cubicBezTo>
                      <a:cubicBezTo>
                        <a:pt x="101660" y="122097"/>
                        <a:pt x="93244" y="147069"/>
                        <a:pt x="92279" y="172869"/>
                      </a:cubicBezTo>
                      <a:cubicBezTo>
                        <a:pt x="91727" y="188597"/>
                        <a:pt x="78896" y="201014"/>
                        <a:pt x="63168" y="201014"/>
                      </a:cubicBezTo>
                      <a:close/>
                      <a:moveTo>
                        <a:pt x="64134" y="14071"/>
                      </a:moveTo>
                      <a:cubicBezTo>
                        <a:pt x="62202" y="14071"/>
                        <a:pt x="60271" y="14208"/>
                        <a:pt x="58339" y="14347"/>
                      </a:cubicBezTo>
                      <a:cubicBezTo>
                        <a:pt x="35437" y="16830"/>
                        <a:pt x="17088" y="35317"/>
                        <a:pt x="14466" y="58219"/>
                      </a:cubicBezTo>
                      <a:cubicBezTo>
                        <a:pt x="13087" y="70222"/>
                        <a:pt x="15846" y="81673"/>
                        <a:pt x="22468" y="91469"/>
                      </a:cubicBezTo>
                      <a:cubicBezTo>
                        <a:pt x="38058" y="114923"/>
                        <a:pt x="46888" y="141688"/>
                        <a:pt x="47854" y="169144"/>
                      </a:cubicBezTo>
                      <a:lnTo>
                        <a:pt x="47992" y="172179"/>
                      </a:lnTo>
                      <a:cubicBezTo>
                        <a:pt x="48268" y="180319"/>
                        <a:pt x="54890" y="186665"/>
                        <a:pt x="63030" y="186665"/>
                      </a:cubicBezTo>
                      <a:cubicBezTo>
                        <a:pt x="71170" y="186665"/>
                        <a:pt x="77792" y="180319"/>
                        <a:pt x="78068" y="172179"/>
                      </a:cubicBezTo>
                      <a:cubicBezTo>
                        <a:pt x="79034" y="143758"/>
                        <a:pt x="88416" y="116027"/>
                        <a:pt x="104971" y="92297"/>
                      </a:cubicBezTo>
                      <a:cubicBezTo>
                        <a:pt x="110766" y="83881"/>
                        <a:pt x="113939" y="74086"/>
                        <a:pt x="113939" y="63876"/>
                      </a:cubicBezTo>
                      <a:cubicBezTo>
                        <a:pt x="113939" y="49666"/>
                        <a:pt x="107869" y="36145"/>
                        <a:pt x="97383" y="26763"/>
                      </a:cubicBezTo>
                      <a:cubicBezTo>
                        <a:pt x="88140" y="18485"/>
                        <a:pt x="76413" y="14071"/>
                        <a:pt x="64134" y="14071"/>
                      </a:cubicBezTo>
                      <a:close/>
                    </a:path>
                  </a:pathLst>
                </a:custGeom>
                <a:grpFill/>
                <a:ln w="13786" cap="flat">
                  <a:noFill/>
                  <a:prstDash val="solid"/>
                  <a:miter/>
                </a:ln>
              </p:spPr>
              <p:txBody>
                <a:bodyPr rtlCol="0" anchor="ctr"/>
                <a:lstStyle/>
                <a:p>
                  <a:endParaRPr lang="ru-RU"/>
                </a:p>
              </p:txBody>
            </p:sp>
            <p:sp>
              <p:nvSpPr>
                <p:cNvPr id="64" name="Полилиния: фигура 63">
                  <a:extLst>
                    <a:ext uri="{FF2B5EF4-FFF2-40B4-BE49-F238E27FC236}">
                      <a16:creationId xmlns:a16="http://schemas.microsoft.com/office/drawing/2014/main" id="{F81673E3-6A70-413F-8D69-89D62E172AF4}"/>
                    </a:ext>
                  </a:extLst>
                </p:cNvPr>
                <p:cNvSpPr/>
                <p:nvPr/>
              </p:nvSpPr>
              <p:spPr>
                <a:xfrm>
                  <a:off x="3732483" y="4138124"/>
                  <a:ext cx="61629" cy="19570"/>
                </a:xfrm>
                <a:custGeom>
                  <a:avLst/>
                  <a:gdLst>
                    <a:gd name="connsiteX0" fmla="*/ 30470 w 61629"/>
                    <a:gd name="connsiteY0" fmla="*/ 19571 h 19570"/>
                    <a:gd name="connsiteX1" fmla="*/ 3567 w 61629"/>
                    <a:gd name="connsiteY1" fmla="*/ 13224 h 19570"/>
                    <a:gd name="connsiteX2" fmla="*/ 945 w 61629"/>
                    <a:gd name="connsiteY2" fmla="*/ 3567 h 19570"/>
                    <a:gd name="connsiteX3" fmla="*/ 10603 w 61629"/>
                    <a:gd name="connsiteY3" fmla="*/ 945 h 19570"/>
                    <a:gd name="connsiteX4" fmla="*/ 51579 w 61629"/>
                    <a:gd name="connsiteY4" fmla="*/ 669 h 19570"/>
                    <a:gd name="connsiteX5" fmla="*/ 60960 w 61629"/>
                    <a:gd name="connsiteY5" fmla="*/ 4119 h 19570"/>
                    <a:gd name="connsiteX6" fmla="*/ 57511 w 61629"/>
                    <a:gd name="connsiteY6" fmla="*/ 13500 h 19570"/>
                    <a:gd name="connsiteX7" fmla="*/ 30470 w 61629"/>
                    <a:gd name="connsiteY7" fmla="*/ 19571 h 1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29" h="19570">
                      <a:moveTo>
                        <a:pt x="30470" y="19571"/>
                      </a:moveTo>
                      <a:cubicBezTo>
                        <a:pt x="14880" y="19571"/>
                        <a:pt x="4119" y="13638"/>
                        <a:pt x="3567" y="13224"/>
                      </a:cubicBezTo>
                      <a:cubicBezTo>
                        <a:pt x="118" y="11293"/>
                        <a:pt x="-986" y="6878"/>
                        <a:pt x="945" y="3567"/>
                      </a:cubicBezTo>
                      <a:cubicBezTo>
                        <a:pt x="2877" y="118"/>
                        <a:pt x="7154" y="-986"/>
                        <a:pt x="10603" y="945"/>
                      </a:cubicBezTo>
                      <a:cubicBezTo>
                        <a:pt x="11431" y="1359"/>
                        <a:pt x="29228" y="11017"/>
                        <a:pt x="51579" y="669"/>
                      </a:cubicBezTo>
                      <a:cubicBezTo>
                        <a:pt x="55166" y="-986"/>
                        <a:pt x="59305" y="531"/>
                        <a:pt x="60960" y="4119"/>
                      </a:cubicBezTo>
                      <a:cubicBezTo>
                        <a:pt x="62616" y="7706"/>
                        <a:pt x="61098" y="11845"/>
                        <a:pt x="57511" y="13500"/>
                      </a:cubicBezTo>
                      <a:cubicBezTo>
                        <a:pt x="47578" y="18053"/>
                        <a:pt x="38334" y="19571"/>
                        <a:pt x="30470" y="19571"/>
                      </a:cubicBezTo>
                      <a:close/>
                    </a:path>
                  </a:pathLst>
                </a:custGeom>
                <a:grpFill/>
                <a:ln w="13786" cap="flat">
                  <a:noFill/>
                  <a:prstDash val="solid"/>
                  <a:miter/>
                </a:ln>
              </p:spPr>
              <p:txBody>
                <a:bodyPr rtlCol="0" anchor="ctr"/>
                <a:lstStyle/>
                <a:p>
                  <a:endParaRPr lang="ru-RU"/>
                </a:p>
              </p:txBody>
            </p:sp>
          </p:grpSp>
          <p:sp>
            <p:nvSpPr>
              <p:cNvPr id="56" name="Полилиния: фигура 55">
                <a:extLst>
                  <a:ext uri="{FF2B5EF4-FFF2-40B4-BE49-F238E27FC236}">
                    <a16:creationId xmlns:a16="http://schemas.microsoft.com/office/drawing/2014/main" id="{211E5300-A226-4C2F-B3D3-5C39049A0DE3}"/>
                  </a:ext>
                </a:extLst>
              </p:cNvPr>
              <p:cNvSpPr/>
              <p:nvPr/>
            </p:nvSpPr>
            <p:spPr>
              <a:xfrm>
                <a:off x="3756755" y="3944968"/>
                <a:ext cx="14072" cy="33801"/>
              </a:xfrm>
              <a:custGeom>
                <a:avLst/>
                <a:gdLst>
                  <a:gd name="connsiteX0" fmla="*/ 7036 w 14072"/>
                  <a:gd name="connsiteY0" fmla="*/ 33801 h 33801"/>
                  <a:gd name="connsiteX1" fmla="*/ 0 w 14072"/>
                  <a:gd name="connsiteY1" fmla="*/ 26765 h 33801"/>
                  <a:gd name="connsiteX2" fmla="*/ 0 w 14072"/>
                  <a:gd name="connsiteY2" fmla="*/ 7036 h 33801"/>
                  <a:gd name="connsiteX3" fmla="*/ 7036 w 14072"/>
                  <a:gd name="connsiteY3" fmla="*/ 0 h 33801"/>
                  <a:gd name="connsiteX4" fmla="*/ 14073 w 14072"/>
                  <a:gd name="connsiteY4" fmla="*/ 7036 h 33801"/>
                  <a:gd name="connsiteX5" fmla="*/ 14073 w 14072"/>
                  <a:gd name="connsiteY5" fmla="*/ 26765 h 33801"/>
                  <a:gd name="connsiteX6" fmla="*/ 7036 w 14072"/>
                  <a:gd name="connsiteY6" fmla="*/ 33801 h 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2" h="33801">
                    <a:moveTo>
                      <a:pt x="7036" y="33801"/>
                    </a:moveTo>
                    <a:cubicBezTo>
                      <a:pt x="3173" y="33801"/>
                      <a:pt x="0" y="30628"/>
                      <a:pt x="0" y="26765"/>
                    </a:cubicBezTo>
                    <a:lnTo>
                      <a:pt x="0" y="7036"/>
                    </a:lnTo>
                    <a:cubicBezTo>
                      <a:pt x="0" y="3173"/>
                      <a:pt x="3173" y="0"/>
                      <a:pt x="7036" y="0"/>
                    </a:cubicBezTo>
                    <a:cubicBezTo>
                      <a:pt x="10899" y="0"/>
                      <a:pt x="14073" y="3173"/>
                      <a:pt x="14073" y="7036"/>
                    </a:cubicBezTo>
                    <a:lnTo>
                      <a:pt x="14073" y="26765"/>
                    </a:lnTo>
                    <a:cubicBezTo>
                      <a:pt x="14073" y="30628"/>
                      <a:pt x="10899" y="33801"/>
                      <a:pt x="7036" y="33801"/>
                    </a:cubicBezTo>
                    <a:close/>
                  </a:path>
                </a:pathLst>
              </a:custGeom>
              <a:grpFill/>
              <a:ln w="13786" cap="flat">
                <a:noFill/>
                <a:prstDash val="solid"/>
                <a:miter/>
              </a:ln>
            </p:spPr>
            <p:txBody>
              <a:bodyPr rtlCol="0" anchor="ctr"/>
              <a:lstStyle/>
              <a:p>
                <a:endParaRPr lang="ru-RU"/>
              </a:p>
            </p:txBody>
          </p:sp>
          <p:sp>
            <p:nvSpPr>
              <p:cNvPr id="57" name="Полилиния: фигура 56">
                <a:extLst>
                  <a:ext uri="{FF2B5EF4-FFF2-40B4-BE49-F238E27FC236}">
                    <a16:creationId xmlns:a16="http://schemas.microsoft.com/office/drawing/2014/main" id="{B27178F6-7164-4AB5-92F4-305D5255CDF3}"/>
                  </a:ext>
                </a:extLst>
              </p:cNvPr>
              <p:cNvSpPr/>
              <p:nvPr/>
            </p:nvSpPr>
            <p:spPr>
              <a:xfrm>
                <a:off x="3684210" y="3971482"/>
                <a:ext cx="26715" cy="29085"/>
              </a:xfrm>
              <a:custGeom>
                <a:avLst/>
                <a:gdLst>
                  <a:gd name="connsiteX0" fmla="*/ 19704 w 26715"/>
                  <a:gd name="connsiteY0" fmla="*/ 29086 h 29085"/>
                  <a:gd name="connsiteX1" fmla="*/ 14323 w 26715"/>
                  <a:gd name="connsiteY1" fmla="*/ 26602 h 29085"/>
                  <a:gd name="connsiteX2" fmla="*/ 1631 w 26715"/>
                  <a:gd name="connsiteY2" fmla="*/ 11564 h 29085"/>
                  <a:gd name="connsiteX3" fmla="*/ 2458 w 26715"/>
                  <a:gd name="connsiteY3" fmla="*/ 1631 h 29085"/>
                  <a:gd name="connsiteX4" fmla="*/ 12392 w 26715"/>
                  <a:gd name="connsiteY4" fmla="*/ 2458 h 29085"/>
                  <a:gd name="connsiteX5" fmla="*/ 25085 w 26715"/>
                  <a:gd name="connsiteY5" fmla="*/ 17497 h 29085"/>
                  <a:gd name="connsiteX6" fmla="*/ 24257 w 26715"/>
                  <a:gd name="connsiteY6" fmla="*/ 27430 h 29085"/>
                  <a:gd name="connsiteX7" fmla="*/ 19704 w 26715"/>
                  <a:gd name="connsiteY7" fmla="*/ 29086 h 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15" h="29085">
                    <a:moveTo>
                      <a:pt x="19704" y="29086"/>
                    </a:moveTo>
                    <a:cubicBezTo>
                      <a:pt x="17635" y="29086"/>
                      <a:pt x="15703" y="28258"/>
                      <a:pt x="14323" y="26602"/>
                    </a:cubicBezTo>
                    <a:lnTo>
                      <a:pt x="1631" y="11564"/>
                    </a:lnTo>
                    <a:cubicBezTo>
                      <a:pt x="-853" y="8529"/>
                      <a:pt x="-439" y="4114"/>
                      <a:pt x="2458" y="1631"/>
                    </a:cubicBezTo>
                    <a:cubicBezTo>
                      <a:pt x="5494" y="-853"/>
                      <a:pt x="9909" y="-439"/>
                      <a:pt x="12392" y="2458"/>
                    </a:cubicBezTo>
                    <a:lnTo>
                      <a:pt x="25085" y="17497"/>
                    </a:lnTo>
                    <a:cubicBezTo>
                      <a:pt x="27568" y="20532"/>
                      <a:pt x="27154" y="24947"/>
                      <a:pt x="24257" y="27430"/>
                    </a:cubicBezTo>
                    <a:cubicBezTo>
                      <a:pt x="22877" y="28534"/>
                      <a:pt x="21222" y="29086"/>
                      <a:pt x="19704" y="29086"/>
                    </a:cubicBezTo>
                    <a:close/>
                  </a:path>
                </a:pathLst>
              </a:custGeom>
              <a:grpFill/>
              <a:ln w="13786" cap="flat">
                <a:noFill/>
                <a:prstDash val="solid"/>
                <a:miter/>
              </a:ln>
            </p:spPr>
            <p:txBody>
              <a:bodyPr rtlCol="0" anchor="ctr"/>
              <a:lstStyle/>
              <a:p>
                <a:endParaRPr lang="ru-RU"/>
              </a:p>
            </p:txBody>
          </p:sp>
          <p:sp>
            <p:nvSpPr>
              <p:cNvPr id="58" name="Полилиния: фигура 57">
                <a:extLst>
                  <a:ext uri="{FF2B5EF4-FFF2-40B4-BE49-F238E27FC236}">
                    <a16:creationId xmlns:a16="http://schemas.microsoft.com/office/drawing/2014/main" id="{07439EF9-BCC0-4FD4-BCC8-0CC23886193C}"/>
                  </a:ext>
                </a:extLst>
              </p:cNvPr>
              <p:cNvSpPr/>
              <p:nvPr/>
            </p:nvSpPr>
            <p:spPr>
              <a:xfrm>
                <a:off x="3645449" y="4037984"/>
                <a:ext cx="33745" cy="17769"/>
              </a:xfrm>
              <a:custGeom>
                <a:avLst/>
                <a:gdLst>
                  <a:gd name="connsiteX0" fmla="*/ 26600 w 33745"/>
                  <a:gd name="connsiteY0" fmla="*/ 17770 h 17769"/>
                  <a:gd name="connsiteX1" fmla="*/ 25358 w 33745"/>
                  <a:gd name="connsiteY1" fmla="*/ 17632 h 17769"/>
                  <a:gd name="connsiteX2" fmla="*/ 5905 w 33745"/>
                  <a:gd name="connsiteY2" fmla="*/ 14183 h 17769"/>
                  <a:gd name="connsiteX3" fmla="*/ 110 w 33745"/>
                  <a:gd name="connsiteY3" fmla="*/ 5905 h 17769"/>
                  <a:gd name="connsiteX4" fmla="*/ 8388 w 33745"/>
                  <a:gd name="connsiteY4" fmla="*/ 110 h 17769"/>
                  <a:gd name="connsiteX5" fmla="*/ 27841 w 33745"/>
                  <a:gd name="connsiteY5" fmla="*/ 3559 h 17769"/>
                  <a:gd name="connsiteX6" fmla="*/ 33636 w 33745"/>
                  <a:gd name="connsiteY6" fmla="*/ 11837 h 17769"/>
                  <a:gd name="connsiteX7" fmla="*/ 26600 w 33745"/>
                  <a:gd name="connsiteY7" fmla="*/ 17770 h 1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45" h="17769">
                    <a:moveTo>
                      <a:pt x="26600" y="17770"/>
                    </a:moveTo>
                    <a:cubicBezTo>
                      <a:pt x="26186" y="17770"/>
                      <a:pt x="25772" y="17770"/>
                      <a:pt x="25358" y="17632"/>
                    </a:cubicBezTo>
                    <a:lnTo>
                      <a:pt x="5905" y="14183"/>
                    </a:lnTo>
                    <a:cubicBezTo>
                      <a:pt x="2042" y="13493"/>
                      <a:pt x="-580" y="9768"/>
                      <a:pt x="110" y="5905"/>
                    </a:cubicBezTo>
                    <a:cubicBezTo>
                      <a:pt x="800" y="2042"/>
                      <a:pt x="4525" y="-580"/>
                      <a:pt x="8388" y="110"/>
                    </a:cubicBezTo>
                    <a:lnTo>
                      <a:pt x="27841" y="3559"/>
                    </a:lnTo>
                    <a:cubicBezTo>
                      <a:pt x="31704" y="4249"/>
                      <a:pt x="34326" y="7974"/>
                      <a:pt x="33636" y="11837"/>
                    </a:cubicBezTo>
                    <a:cubicBezTo>
                      <a:pt x="32946" y="15286"/>
                      <a:pt x="29911" y="17770"/>
                      <a:pt x="26600" y="17770"/>
                    </a:cubicBezTo>
                    <a:close/>
                  </a:path>
                </a:pathLst>
              </a:custGeom>
              <a:grpFill/>
              <a:ln w="13786" cap="flat">
                <a:noFill/>
                <a:prstDash val="solid"/>
                <a:miter/>
              </a:ln>
            </p:spPr>
            <p:txBody>
              <a:bodyPr rtlCol="0" anchor="ctr"/>
              <a:lstStyle/>
              <a:p>
                <a:endParaRPr lang="ru-RU"/>
              </a:p>
            </p:txBody>
          </p:sp>
          <p:sp>
            <p:nvSpPr>
              <p:cNvPr id="59" name="Полилиния: фигура 58">
                <a:extLst>
                  <a:ext uri="{FF2B5EF4-FFF2-40B4-BE49-F238E27FC236}">
                    <a16:creationId xmlns:a16="http://schemas.microsoft.com/office/drawing/2014/main" id="{AF2286FB-2781-4FE2-A54F-6F53E9295902}"/>
                  </a:ext>
                </a:extLst>
              </p:cNvPr>
              <p:cNvSpPr/>
              <p:nvPr/>
            </p:nvSpPr>
            <p:spPr>
              <a:xfrm>
                <a:off x="3658818" y="4104332"/>
                <a:ext cx="31277" cy="23985"/>
              </a:xfrm>
              <a:custGeom>
                <a:avLst/>
                <a:gdLst>
                  <a:gd name="connsiteX0" fmla="*/ 7154 w 31277"/>
                  <a:gd name="connsiteY0" fmla="*/ 23986 h 23985"/>
                  <a:gd name="connsiteX1" fmla="*/ 945 w 31277"/>
                  <a:gd name="connsiteY1" fmla="*/ 20399 h 23985"/>
                  <a:gd name="connsiteX2" fmla="*/ 3567 w 31277"/>
                  <a:gd name="connsiteY2" fmla="*/ 10741 h 23985"/>
                  <a:gd name="connsiteX3" fmla="*/ 20675 w 31277"/>
                  <a:gd name="connsiteY3" fmla="*/ 945 h 23985"/>
                  <a:gd name="connsiteX4" fmla="*/ 30332 w 31277"/>
                  <a:gd name="connsiteY4" fmla="*/ 3567 h 23985"/>
                  <a:gd name="connsiteX5" fmla="*/ 27711 w 31277"/>
                  <a:gd name="connsiteY5" fmla="*/ 13224 h 23985"/>
                  <a:gd name="connsiteX6" fmla="*/ 10603 w 31277"/>
                  <a:gd name="connsiteY6" fmla="*/ 23020 h 23985"/>
                  <a:gd name="connsiteX7" fmla="*/ 7154 w 31277"/>
                  <a:gd name="connsiteY7" fmla="*/ 23986 h 2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77" h="23985">
                    <a:moveTo>
                      <a:pt x="7154" y="23986"/>
                    </a:moveTo>
                    <a:cubicBezTo>
                      <a:pt x="4670" y="23986"/>
                      <a:pt x="2325" y="22744"/>
                      <a:pt x="945" y="20399"/>
                    </a:cubicBezTo>
                    <a:cubicBezTo>
                      <a:pt x="-986" y="16949"/>
                      <a:pt x="118" y="12673"/>
                      <a:pt x="3567" y="10741"/>
                    </a:cubicBezTo>
                    <a:lnTo>
                      <a:pt x="20675" y="945"/>
                    </a:lnTo>
                    <a:cubicBezTo>
                      <a:pt x="24124" y="-986"/>
                      <a:pt x="28401" y="118"/>
                      <a:pt x="30332" y="3567"/>
                    </a:cubicBezTo>
                    <a:cubicBezTo>
                      <a:pt x="32264" y="7016"/>
                      <a:pt x="31160" y="11293"/>
                      <a:pt x="27711" y="13224"/>
                    </a:cubicBezTo>
                    <a:lnTo>
                      <a:pt x="10603" y="23020"/>
                    </a:lnTo>
                    <a:cubicBezTo>
                      <a:pt x="9637" y="23710"/>
                      <a:pt x="8395" y="23986"/>
                      <a:pt x="7154" y="23986"/>
                    </a:cubicBezTo>
                    <a:close/>
                  </a:path>
                </a:pathLst>
              </a:custGeom>
              <a:grpFill/>
              <a:ln w="13786" cap="flat">
                <a:noFill/>
                <a:prstDash val="solid"/>
                <a:miter/>
              </a:ln>
            </p:spPr>
            <p:txBody>
              <a:bodyPr rtlCol="0" anchor="ctr"/>
              <a:lstStyle/>
              <a:p>
                <a:endParaRPr lang="ru-RU"/>
              </a:p>
            </p:txBody>
          </p:sp>
          <p:sp>
            <p:nvSpPr>
              <p:cNvPr id="60" name="Полилиния: фигура 59">
                <a:extLst>
                  <a:ext uri="{FF2B5EF4-FFF2-40B4-BE49-F238E27FC236}">
                    <a16:creationId xmlns:a16="http://schemas.microsoft.com/office/drawing/2014/main" id="{84A38F43-3772-4576-A2C2-1E85B004BFDF}"/>
                  </a:ext>
                </a:extLst>
              </p:cNvPr>
              <p:cNvSpPr/>
              <p:nvPr/>
            </p:nvSpPr>
            <p:spPr>
              <a:xfrm>
                <a:off x="3837346" y="4104331"/>
                <a:ext cx="31277" cy="23985"/>
              </a:xfrm>
              <a:custGeom>
                <a:avLst/>
                <a:gdLst>
                  <a:gd name="connsiteX0" fmla="*/ 24262 w 31277"/>
                  <a:gd name="connsiteY0" fmla="*/ 23986 h 23985"/>
                  <a:gd name="connsiteX1" fmla="*/ 20674 w 31277"/>
                  <a:gd name="connsiteY1" fmla="*/ 23020 h 23985"/>
                  <a:gd name="connsiteX2" fmla="*/ 3567 w 31277"/>
                  <a:gd name="connsiteY2" fmla="*/ 13224 h 23985"/>
                  <a:gd name="connsiteX3" fmla="*/ 945 w 31277"/>
                  <a:gd name="connsiteY3" fmla="*/ 3567 h 23985"/>
                  <a:gd name="connsiteX4" fmla="*/ 10603 w 31277"/>
                  <a:gd name="connsiteY4" fmla="*/ 945 h 23985"/>
                  <a:gd name="connsiteX5" fmla="*/ 27711 w 31277"/>
                  <a:gd name="connsiteY5" fmla="*/ 10741 h 23985"/>
                  <a:gd name="connsiteX6" fmla="*/ 30332 w 31277"/>
                  <a:gd name="connsiteY6" fmla="*/ 20399 h 23985"/>
                  <a:gd name="connsiteX7" fmla="*/ 24262 w 31277"/>
                  <a:gd name="connsiteY7" fmla="*/ 23986 h 2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77" h="23985">
                    <a:moveTo>
                      <a:pt x="24262" y="23986"/>
                    </a:moveTo>
                    <a:cubicBezTo>
                      <a:pt x="23020" y="23986"/>
                      <a:pt x="21778" y="23710"/>
                      <a:pt x="20674" y="23020"/>
                    </a:cubicBezTo>
                    <a:lnTo>
                      <a:pt x="3567" y="13224"/>
                    </a:lnTo>
                    <a:cubicBezTo>
                      <a:pt x="118" y="11293"/>
                      <a:pt x="-986" y="6878"/>
                      <a:pt x="945" y="3567"/>
                    </a:cubicBezTo>
                    <a:cubicBezTo>
                      <a:pt x="2877" y="118"/>
                      <a:pt x="7292" y="-986"/>
                      <a:pt x="10603" y="945"/>
                    </a:cubicBezTo>
                    <a:lnTo>
                      <a:pt x="27711" y="10741"/>
                    </a:lnTo>
                    <a:cubicBezTo>
                      <a:pt x="31160" y="12673"/>
                      <a:pt x="32264" y="17087"/>
                      <a:pt x="30332" y="20399"/>
                    </a:cubicBezTo>
                    <a:cubicBezTo>
                      <a:pt x="29090" y="22744"/>
                      <a:pt x="26607" y="23986"/>
                      <a:pt x="24262" y="23986"/>
                    </a:cubicBezTo>
                    <a:close/>
                  </a:path>
                </a:pathLst>
              </a:custGeom>
              <a:grpFill/>
              <a:ln w="13786" cap="flat">
                <a:noFill/>
                <a:prstDash val="solid"/>
                <a:miter/>
              </a:ln>
            </p:spPr>
            <p:txBody>
              <a:bodyPr rtlCol="0" anchor="ctr"/>
              <a:lstStyle/>
              <a:p>
                <a:endParaRPr lang="ru-RU"/>
              </a:p>
            </p:txBody>
          </p:sp>
          <p:sp>
            <p:nvSpPr>
              <p:cNvPr id="61" name="Полилиния: фигура 60">
                <a:extLst>
                  <a:ext uri="{FF2B5EF4-FFF2-40B4-BE49-F238E27FC236}">
                    <a16:creationId xmlns:a16="http://schemas.microsoft.com/office/drawing/2014/main" id="{9E4E3072-63CC-4CCA-9185-6F3930E5F07D}"/>
                  </a:ext>
                </a:extLst>
              </p:cNvPr>
              <p:cNvSpPr/>
              <p:nvPr/>
            </p:nvSpPr>
            <p:spPr>
              <a:xfrm>
                <a:off x="3848381" y="4038109"/>
                <a:ext cx="33745" cy="17631"/>
              </a:xfrm>
              <a:custGeom>
                <a:avLst/>
                <a:gdLst>
                  <a:gd name="connsiteX0" fmla="*/ 7146 w 33745"/>
                  <a:gd name="connsiteY0" fmla="*/ 17632 h 17631"/>
                  <a:gd name="connsiteX1" fmla="*/ 110 w 33745"/>
                  <a:gd name="connsiteY1" fmla="*/ 11837 h 17631"/>
                  <a:gd name="connsiteX2" fmla="*/ 5905 w 33745"/>
                  <a:gd name="connsiteY2" fmla="*/ 3559 h 17631"/>
                  <a:gd name="connsiteX3" fmla="*/ 25358 w 33745"/>
                  <a:gd name="connsiteY3" fmla="*/ 110 h 17631"/>
                  <a:gd name="connsiteX4" fmla="*/ 33636 w 33745"/>
                  <a:gd name="connsiteY4" fmla="*/ 5905 h 17631"/>
                  <a:gd name="connsiteX5" fmla="*/ 27841 w 33745"/>
                  <a:gd name="connsiteY5" fmla="*/ 14183 h 17631"/>
                  <a:gd name="connsiteX6" fmla="*/ 8388 w 33745"/>
                  <a:gd name="connsiteY6" fmla="*/ 17632 h 17631"/>
                  <a:gd name="connsiteX7" fmla="*/ 7146 w 33745"/>
                  <a:gd name="connsiteY7" fmla="*/ 17632 h 1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45" h="17631">
                    <a:moveTo>
                      <a:pt x="7146" y="17632"/>
                    </a:moveTo>
                    <a:cubicBezTo>
                      <a:pt x="3835" y="17632"/>
                      <a:pt x="800" y="15148"/>
                      <a:pt x="110" y="11837"/>
                    </a:cubicBezTo>
                    <a:cubicBezTo>
                      <a:pt x="-580" y="7974"/>
                      <a:pt x="2042" y="4249"/>
                      <a:pt x="5905" y="3559"/>
                    </a:cubicBezTo>
                    <a:lnTo>
                      <a:pt x="25358" y="110"/>
                    </a:lnTo>
                    <a:cubicBezTo>
                      <a:pt x="29221" y="-580"/>
                      <a:pt x="32946" y="2042"/>
                      <a:pt x="33636" y="5905"/>
                    </a:cubicBezTo>
                    <a:cubicBezTo>
                      <a:pt x="34326" y="9768"/>
                      <a:pt x="31704" y="13493"/>
                      <a:pt x="27841" y="14183"/>
                    </a:cubicBezTo>
                    <a:lnTo>
                      <a:pt x="8388" y="17632"/>
                    </a:lnTo>
                    <a:cubicBezTo>
                      <a:pt x="7974" y="17632"/>
                      <a:pt x="7560" y="17632"/>
                      <a:pt x="7146" y="17632"/>
                    </a:cubicBezTo>
                    <a:close/>
                  </a:path>
                </a:pathLst>
              </a:custGeom>
              <a:grpFill/>
              <a:ln w="13786" cap="flat">
                <a:noFill/>
                <a:prstDash val="solid"/>
                <a:miter/>
              </a:ln>
            </p:spPr>
            <p:txBody>
              <a:bodyPr rtlCol="0" anchor="ctr"/>
              <a:lstStyle/>
              <a:p>
                <a:endParaRPr lang="ru-RU"/>
              </a:p>
            </p:txBody>
          </p:sp>
          <p:sp>
            <p:nvSpPr>
              <p:cNvPr id="62" name="Полилиния: фигура 61">
                <a:extLst>
                  <a:ext uri="{FF2B5EF4-FFF2-40B4-BE49-F238E27FC236}">
                    <a16:creationId xmlns:a16="http://schemas.microsoft.com/office/drawing/2014/main" id="{6E3536EA-A45D-43FF-85E1-2F4567172838}"/>
                  </a:ext>
                </a:extLst>
              </p:cNvPr>
              <p:cNvSpPr/>
              <p:nvPr/>
            </p:nvSpPr>
            <p:spPr>
              <a:xfrm>
                <a:off x="3816545" y="3971364"/>
                <a:ext cx="26919" cy="29188"/>
              </a:xfrm>
              <a:custGeom>
                <a:avLst/>
                <a:gdLst>
                  <a:gd name="connsiteX0" fmla="*/ 7113 w 26919"/>
                  <a:gd name="connsiteY0" fmla="*/ 29188 h 29188"/>
                  <a:gd name="connsiteX1" fmla="*/ 2561 w 26919"/>
                  <a:gd name="connsiteY1" fmla="*/ 27532 h 29188"/>
                  <a:gd name="connsiteX2" fmla="*/ 1733 w 26919"/>
                  <a:gd name="connsiteY2" fmla="*/ 17599 h 29188"/>
                  <a:gd name="connsiteX3" fmla="*/ 14426 w 26919"/>
                  <a:gd name="connsiteY3" fmla="*/ 2561 h 29188"/>
                  <a:gd name="connsiteX4" fmla="*/ 24359 w 26919"/>
                  <a:gd name="connsiteY4" fmla="*/ 1733 h 29188"/>
                  <a:gd name="connsiteX5" fmla="*/ 25187 w 26919"/>
                  <a:gd name="connsiteY5" fmla="*/ 11666 h 29188"/>
                  <a:gd name="connsiteX6" fmla="*/ 12494 w 26919"/>
                  <a:gd name="connsiteY6" fmla="*/ 26705 h 29188"/>
                  <a:gd name="connsiteX7" fmla="*/ 7113 w 26919"/>
                  <a:gd name="connsiteY7" fmla="*/ 29188 h 2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19" h="29188">
                    <a:moveTo>
                      <a:pt x="7113" y="29188"/>
                    </a:moveTo>
                    <a:cubicBezTo>
                      <a:pt x="5458" y="29188"/>
                      <a:pt x="3940" y="28636"/>
                      <a:pt x="2561" y="27532"/>
                    </a:cubicBezTo>
                    <a:cubicBezTo>
                      <a:pt x="-475" y="25049"/>
                      <a:pt x="-889" y="20496"/>
                      <a:pt x="1733" y="17599"/>
                    </a:cubicBezTo>
                    <a:lnTo>
                      <a:pt x="14426" y="2561"/>
                    </a:lnTo>
                    <a:cubicBezTo>
                      <a:pt x="16909" y="-475"/>
                      <a:pt x="21462" y="-889"/>
                      <a:pt x="24359" y="1733"/>
                    </a:cubicBezTo>
                    <a:cubicBezTo>
                      <a:pt x="27394" y="4216"/>
                      <a:pt x="27808" y="8769"/>
                      <a:pt x="25187" y="11666"/>
                    </a:cubicBezTo>
                    <a:lnTo>
                      <a:pt x="12494" y="26705"/>
                    </a:lnTo>
                    <a:cubicBezTo>
                      <a:pt x="11114" y="28222"/>
                      <a:pt x="9183" y="29188"/>
                      <a:pt x="7113" y="29188"/>
                    </a:cubicBezTo>
                    <a:close/>
                  </a:path>
                </a:pathLst>
              </a:custGeom>
              <a:grpFill/>
              <a:ln w="13786" cap="flat">
                <a:noFill/>
                <a:prstDash val="solid"/>
                <a:miter/>
              </a:ln>
            </p:spPr>
            <p:txBody>
              <a:bodyPr rtlCol="0" anchor="ctr"/>
              <a:lstStyle/>
              <a:p>
                <a:endParaRPr lang="ru-RU"/>
              </a:p>
            </p:txBody>
          </p:sp>
        </p:grpSp>
      </p:grpSp>
      <p:grpSp>
        <p:nvGrpSpPr>
          <p:cNvPr id="77" name="Группа 76">
            <a:extLst>
              <a:ext uri="{FF2B5EF4-FFF2-40B4-BE49-F238E27FC236}">
                <a16:creationId xmlns:a16="http://schemas.microsoft.com/office/drawing/2014/main" id="{4792C1F1-67E8-4B69-951A-C01D02D4D883}"/>
              </a:ext>
            </a:extLst>
          </p:cNvPr>
          <p:cNvGrpSpPr/>
          <p:nvPr/>
        </p:nvGrpSpPr>
        <p:grpSpPr>
          <a:xfrm>
            <a:off x="10927625" y="3614153"/>
            <a:ext cx="495960" cy="379148"/>
            <a:chOff x="10786122" y="2658685"/>
            <a:chExt cx="495960" cy="379148"/>
          </a:xfrm>
          <a:solidFill>
            <a:schemeClr val="accent2"/>
          </a:solidFill>
          <a:effectLst>
            <a:outerShdw blurRad="50800" dist="12700" algn="ctr" rotWithShape="0">
              <a:schemeClr val="accent2">
                <a:alpha val="30000"/>
              </a:schemeClr>
            </a:outerShdw>
          </a:effectLst>
        </p:grpSpPr>
        <p:sp>
          <p:nvSpPr>
            <p:cNvPr id="69" name="Полилиния: фигура 68">
              <a:extLst>
                <a:ext uri="{FF2B5EF4-FFF2-40B4-BE49-F238E27FC236}">
                  <a16:creationId xmlns:a16="http://schemas.microsoft.com/office/drawing/2014/main" id="{4430137B-11E6-4A97-BEC9-F12C29E18D6E}"/>
                </a:ext>
              </a:extLst>
            </p:cNvPr>
            <p:cNvSpPr/>
            <p:nvPr/>
          </p:nvSpPr>
          <p:spPr>
            <a:xfrm>
              <a:off x="10950290" y="2658685"/>
              <a:ext cx="167479" cy="58330"/>
            </a:xfrm>
            <a:custGeom>
              <a:avLst/>
              <a:gdLst>
                <a:gd name="connsiteX0" fmla="*/ 135675 w 142055"/>
                <a:gd name="connsiteY0" fmla="*/ 49476 h 49475"/>
                <a:gd name="connsiteX1" fmla="*/ 6503 w 142055"/>
                <a:gd name="connsiteY1" fmla="*/ 49476 h 49475"/>
                <a:gd name="connsiteX2" fmla="*/ 0 w 142055"/>
                <a:gd name="connsiteY2" fmla="*/ 42972 h 49475"/>
                <a:gd name="connsiteX3" fmla="*/ 0 w 142055"/>
                <a:gd name="connsiteY3" fmla="*/ 25758 h 49475"/>
                <a:gd name="connsiteX4" fmla="*/ 25758 w 142055"/>
                <a:gd name="connsiteY4" fmla="*/ 0 h 49475"/>
                <a:gd name="connsiteX5" fmla="*/ 116293 w 142055"/>
                <a:gd name="connsiteY5" fmla="*/ 0 h 49475"/>
                <a:gd name="connsiteX6" fmla="*/ 142051 w 142055"/>
                <a:gd name="connsiteY6" fmla="*/ 25758 h 49475"/>
                <a:gd name="connsiteX7" fmla="*/ 142051 w 142055"/>
                <a:gd name="connsiteY7" fmla="*/ 42845 h 49475"/>
                <a:gd name="connsiteX8" fmla="*/ 135675 w 142055"/>
                <a:gd name="connsiteY8" fmla="*/ 49476 h 49475"/>
                <a:gd name="connsiteX9" fmla="*/ 13134 w 142055"/>
                <a:gd name="connsiteY9" fmla="*/ 36342 h 49475"/>
                <a:gd name="connsiteX10" fmla="*/ 129172 w 142055"/>
                <a:gd name="connsiteY10" fmla="*/ 36342 h 49475"/>
                <a:gd name="connsiteX11" fmla="*/ 129172 w 142055"/>
                <a:gd name="connsiteY11" fmla="*/ 25758 h 49475"/>
                <a:gd name="connsiteX12" fmla="*/ 116421 w 142055"/>
                <a:gd name="connsiteY12" fmla="*/ 13006 h 49475"/>
                <a:gd name="connsiteX13" fmla="*/ 25885 w 142055"/>
                <a:gd name="connsiteY13" fmla="*/ 13006 h 49475"/>
                <a:gd name="connsiteX14" fmla="*/ 13134 w 142055"/>
                <a:gd name="connsiteY14" fmla="*/ 25758 h 49475"/>
                <a:gd name="connsiteX15" fmla="*/ 13134 w 142055"/>
                <a:gd name="connsiteY15" fmla="*/ 36342 h 4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055" h="49475">
                  <a:moveTo>
                    <a:pt x="135675" y="49476"/>
                  </a:moveTo>
                  <a:lnTo>
                    <a:pt x="6503" y="49476"/>
                  </a:lnTo>
                  <a:cubicBezTo>
                    <a:pt x="2933" y="49476"/>
                    <a:pt x="0" y="46543"/>
                    <a:pt x="0" y="42972"/>
                  </a:cubicBezTo>
                  <a:lnTo>
                    <a:pt x="0" y="25758"/>
                  </a:lnTo>
                  <a:cubicBezTo>
                    <a:pt x="0" y="11476"/>
                    <a:pt x="11604" y="0"/>
                    <a:pt x="25758" y="0"/>
                  </a:cubicBezTo>
                  <a:lnTo>
                    <a:pt x="116293" y="0"/>
                  </a:lnTo>
                  <a:cubicBezTo>
                    <a:pt x="130575" y="0"/>
                    <a:pt x="142051" y="11604"/>
                    <a:pt x="142051" y="25758"/>
                  </a:cubicBezTo>
                  <a:lnTo>
                    <a:pt x="142051" y="42845"/>
                  </a:lnTo>
                  <a:cubicBezTo>
                    <a:pt x="142179" y="46543"/>
                    <a:pt x="139246" y="49476"/>
                    <a:pt x="135675" y="49476"/>
                  </a:cubicBezTo>
                  <a:close/>
                  <a:moveTo>
                    <a:pt x="13134" y="36342"/>
                  </a:moveTo>
                  <a:lnTo>
                    <a:pt x="129172" y="36342"/>
                  </a:lnTo>
                  <a:lnTo>
                    <a:pt x="129172" y="25758"/>
                  </a:lnTo>
                  <a:cubicBezTo>
                    <a:pt x="129172" y="18745"/>
                    <a:pt x="123434" y="13006"/>
                    <a:pt x="116421" y="13006"/>
                  </a:cubicBezTo>
                  <a:lnTo>
                    <a:pt x="25885" y="13006"/>
                  </a:lnTo>
                  <a:cubicBezTo>
                    <a:pt x="18872" y="13006"/>
                    <a:pt x="13134" y="18745"/>
                    <a:pt x="13134" y="25758"/>
                  </a:cubicBezTo>
                  <a:lnTo>
                    <a:pt x="13134" y="36342"/>
                  </a:lnTo>
                  <a:close/>
                </a:path>
              </a:pathLst>
            </a:custGeom>
            <a:grpFill/>
            <a:ln w="0" cap="flat">
              <a:noFill/>
              <a:prstDash val="solid"/>
              <a:miter/>
            </a:ln>
          </p:spPr>
          <p:txBody>
            <a:bodyPr rtlCol="0" anchor="ctr"/>
            <a:lstStyle/>
            <a:p>
              <a:endParaRPr lang="ru-RU"/>
            </a:p>
          </p:txBody>
        </p:sp>
        <p:sp>
          <p:nvSpPr>
            <p:cNvPr id="70" name="Полилиния: фигура 69">
              <a:extLst>
                <a:ext uri="{FF2B5EF4-FFF2-40B4-BE49-F238E27FC236}">
                  <a16:creationId xmlns:a16="http://schemas.microsoft.com/office/drawing/2014/main" id="{DE098EB5-41D6-4A99-8121-17A567A24C60}"/>
                </a:ext>
              </a:extLst>
            </p:cNvPr>
            <p:cNvSpPr/>
            <p:nvPr/>
          </p:nvSpPr>
          <p:spPr>
            <a:xfrm>
              <a:off x="10805817" y="2853375"/>
              <a:ext cx="456721" cy="184458"/>
            </a:xfrm>
            <a:custGeom>
              <a:avLst/>
              <a:gdLst>
                <a:gd name="connsiteX0" fmla="*/ 360228 w 387388"/>
                <a:gd name="connsiteY0" fmla="*/ 156457 h 156456"/>
                <a:gd name="connsiteX1" fmla="*/ 27033 w 387388"/>
                <a:gd name="connsiteY1" fmla="*/ 156457 h 156456"/>
                <a:gd name="connsiteX2" fmla="*/ 0 w 387388"/>
                <a:gd name="connsiteY2" fmla="*/ 129424 h 156456"/>
                <a:gd name="connsiteX3" fmla="*/ 0 w 387388"/>
                <a:gd name="connsiteY3" fmla="*/ 6627 h 156456"/>
                <a:gd name="connsiteX4" fmla="*/ 2423 w 387388"/>
                <a:gd name="connsiteY4" fmla="*/ 1527 h 156456"/>
                <a:gd name="connsiteX5" fmla="*/ 7778 w 387388"/>
                <a:gd name="connsiteY5" fmla="*/ 124 h 156456"/>
                <a:gd name="connsiteX6" fmla="*/ 83905 w 387388"/>
                <a:gd name="connsiteY6" fmla="*/ 14406 h 156456"/>
                <a:gd name="connsiteX7" fmla="*/ 89260 w 387388"/>
                <a:gd name="connsiteY7" fmla="*/ 20909 h 156456"/>
                <a:gd name="connsiteX8" fmla="*/ 89260 w 387388"/>
                <a:gd name="connsiteY8" fmla="*/ 56231 h 156456"/>
                <a:gd name="connsiteX9" fmla="*/ 112468 w 387388"/>
                <a:gd name="connsiteY9" fmla="*/ 56231 h 156456"/>
                <a:gd name="connsiteX10" fmla="*/ 112468 w 387388"/>
                <a:gd name="connsiteY10" fmla="*/ 27795 h 156456"/>
                <a:gd name="connsiteX11" fmla="*/ 114891 w 387388"/>
                <a:gd name="connsiteY11" fmla="*/ 22694 h 156456"/>
                <a:gd name="connsiteX12" fmla="*/ 120246 w 387388"/>
                <a:gd name="connsiteY12" fmla="*/ 21292 h 156456"/>
                <a:gd name="connsiteX13" fmla="*/ 193694 w 387388"/>
                <a:gd name="connsiteY13" fmla="*/ 35063 h 156456"/>
                <a:gd name="connsiteX14" fmla="*/ 267143 w 387388"/>
                <a:gd name="connsiteY14" fmla="*/ 21292 h 156456"/>
                <a:gd name="connsiteX15" fmla="*/ 272498 w 387388"/>
                <a:gd name="connsiteY15" fmla="*/ 22694 h 156456"/>
                <a:gd name="connsiteX16" fmla="*/ 274921 w 387388"/>
                <a:gd name="connsiteY16" fmla="*/ 27795 h 156456"/>
                <a:gd name="connsiteX17" fmla="*/ 274921 w 387388"/>
                <a:gd name="connsiteY17" fmla="*/ 56231 h 156456"/>
                <a:gd name="connsiteX18" fmla="*/ 298129 w 387388"/>
                <a:gd name="connsiteY18" fmla="*/ 56231 h 156456"/>
                <a:gd name="connsiteX19" fmla="*/ 298129 w 387388"/>
                <a:gd name="connsiteY19" fmla="*/ 20909 h 156456"/>
                <a:gd name="connsiteX20" fmla="*/ 303484 w 387388"/>
                <a:gd name="connsiteY20" fmla="*/ 14406 h 156456"/>
                <a:gd name="connsiteX21" fmla="*/ 379611 w 387388"/>
                <a:gd name="connsiteY21" fmla="*/ 124 h 156456"/>
                <a:gd name="connsiteX22" fmla="*/ 384966 w 387388"/>
                <a:gd name="connsiteY22" fmla="*/ 1527 h 156456"/>
                <a:gd name="connsiteX23" fmla="*/ 387389 w 387388"/>
                <a:gd name="connsiteY23" fmla="*/ 6627 h 156456"/>
                <a:gd name="connsiteX24" fmla="*/ 387389 w 387388"/>
                <a:gd name="connsiteY24" fmla="*/ 129424 h 156456"/>
                <a:gd name="connsiteX25" fmla="*/ 360228 w 387388"/>
                <a:gd name="connsiteY25" fmla="*/ 156457 h 156456"/>
                <a:gd name="connsiteX26" fmla="*/ 13134 w 387388"/>
                <a:gd name="connsiteY26" fmla="*/ 14661 h 156456"/>
                <a:gd name="connsiteX27" fmla="*/ 13134 w 387388"/>
                <a:gd name="connsiteY27" fmla="*/ 129551 h 156456"/>
                <a:gd name="connsiteX28" fmla="*/ 27033 w 387388"/>
                <a:gd name="connsiteY28" fmla="*/ 143451 h 156456"/>
                <a:gd name="connsiteX29" fmla="*/ 360228 w 387388"/>
                <a:gd name="connsiteY29" fmla="*/ 143451 h 156456"/>
                <a:gd name="connsiteX30" fmla="*/ 374127 w 387388"/>
                <a:gd name="connsiteY30" fmla="*/ 129551 h 156456"/>
                <a:gd name="connsiteX31" fmla="*/ 374127 w 387388"/>
                <a:gd name="connsiteY31" fmla="*/ 14661 h 156456"/>
                <a:gd name="connsiteX32" fmla="*/ 311135 w 387388"/>
                <a:gd name="connsiteY32" fmla="*/ 26392 h 156456"/>
                <a:gd name="connsiteX33" fmla="*/ 311135 w 387388"/>
                <a:gd name="connsiteY33" fmla="*/ 62861 h 156456"/>
                <a:gd name="connsiteX34" fmla="*/ 304632 w 387388"/>
                <a:gd name="connsiteY34" fmla="*/ 69365 h 156456"/>
                <a:gd name="connsiteX35" fmla="*/ 268290 w 387388"/>
                <a:gd name="connsiteY35" fmla="*/ 69365 h 156456"/>
                <a:gd name="connsiteX36" fmla="*/ 261787 w 387388"/>
                <a:gd name="connsiteY36" fmla="*/ 62861 h 156456"/>
                <a:gd name="connsiteX37" fmla="*/ 261787 w 387388"/>
                <a:gd name="connsiteY37" fmla="*/ 35701 h 156456"/>
                <a:gd name="connsiteX38" fmla="*/ 194970 w 387388"/>
                <a:gd name="connsiteY38" fmla="*/ 48197 h 156456"/>
                <a:gd name="connsiteX39" fmla="*/ 192547 w 387388"/>
                <a:gd name="connsiteY39" fmla="*/ 48197 h 156456"/>
                <a:gd name="connsiteX40" fmla="*/ 125729 w 387388"/>
                <a:gd name="connsiteY40" fmla="*/ 35701 h 156456"/>
                <a:gd name="connsiteX41" fmla="*/ 125729 w 387388"/>
                <a:gd name="connsiteY41" fmla="*/ 62861 h 156456"/>
                <a:gd name="connsiteX42" fmla="*/ 119226 w 387388"/>
                <a:gd name="connsiteY42" fmla="*/ 69365 h 156456"/>
                <a:gd name="connsiteX43" fmla="*/ 82629 w 387388"/>
                <a:gd name="connsiteY43" fmla="*/ 69365 h 156456"/>
                <a:gd name="connsiteX44" fmla="*/ 76126 w 387388"/>
                <a:gd name="connsiteY44" fmla="*/ 62861 h 156456"/>
                <a:gd name="connsiteX45" fmla="*/ 76126 w 387388"/>
                <a:gd name="connsiteY45" fmla="*/ 26392 h 156456"/>
                <a:gd name="connsiteX46" fmla="*/ 13134 w 387388"/>
                <a:gd name="connsiteY46" fmla="*/ 14661 h 156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7388" h="156456">
                  <a:moveTo>
                    <a:pt x="360228" y="156457"/>
                  </a:moveTo>
                  <a:lnTo>
                    <a:pt x="27033" y="156457"/>
                  </a:lnTo>
                  <a:cubicBezTo>
                    <a:pt x="12114" y="156457"/>
                    <a:pt x="0" y="144343"/>
                    <a:pt x="0" y="129424"/>
                  </a:cubicBezTo>
                  <a:lnTo>
                    <a:pt x="0" y="6627"/>
                  </a:lnTo>
                  <a:cubicBezTo>
                    <a:pt x="0" y="4715"/>
                    <a:pt x="893" y="2802"/>
                    <a:pt x="2423" y="1527"/>
                  </a:cubicBezTo>
                  <a:cubicBezTo>
                    <a:pt x="3953" y="252"/>
                    <a:pt x="5866" y="-258"/>
                    <a:pt x="7778" y="124"/>
                  </a:cubicBezTo>
                  <a:lnTo>
                    <a:pt x="83905" y="14406"/>
                  </a:lnTo>
                  <a:cubicBezTo>
                    <a:pt x="86965" y="15043"/>
                    <a:pt x="89260" y="17721"/>
                    <a:pt x="89260" y="20909"/>
                  </a:cubicBezTo>
                  <a:lnTo>
                    <a:pt x="89260" y="56231"/>
                  </a:lnTo>
                  <a:lnTo>
                    <a:pt x="112468" y="56231"/>
                  </a:lnTo>
                  <a:lnTo>
                    <a:pt x="112468" y="27795"/>
                  </a:lnTo>
                  <a:cubicBezTo>
                    <a:pt x="112468" y="25882"/>
                    <a:pt x="113360" y="23969"/>
                    <a:pt x="114891" y="22694"/>
                  </a:cubicBezTo>
                  <a:cubicBezTo>
                    <a:pt x="116421" y="21419"/>
                    <a:pt x="118333" y="20909"/>
                    <a:pt x="120246" y="21292"/>
                  </a:cubicBezTo>
                  <a:lnTo>
                    <a:pt x="193694" y="35063"/>
                  </a:lnTo>
                  <a:lnTo>
                    <a:pt x="267143" y="21292"/>
                  </a:lnTo>
                  <a:cubicBezTo>
                    <a:pt x="269056" y="20909"/>
                    <a:pt x="271096" y="21419"/>
                    <a:pt x="272498" y="22694"/>
                  </a:cubicBezTo>
                  <a:cubicBezTo>
                    <a:pt x="274029" y="23969"/>
                    <a:pt x="274921" y="25755"/>
                    <a:pt x="274921" y="27795"/>
                  </a:cubicBezTo>
                  <a:lnTo>
                    <a:pt x="274921" y="56231"/>
                  </a:lnTo>
                  <a:lnTo>
                    <a:pt x="298129" y="56231"/>
                  </a:lnTo>
                  <a:lnTo>
                    <a:pt x="298129" y="20909"/>
                  </a:lnTo>
                  <a:cubicBezTo>
                    <a:pt x="298129" y="17721"/>
                    <a:pt x="300424" y="15043"/>
                    <a:pt x="303484" y="14406"/>
                  </a:cubicBezTo>
                  <a:lnTo>
                    <a:pt x="379611" y="124"/>
                  </a:lnTo>
                  <a:cubicBezTo>
                    <a:pt x="381523" y="-258"/>
                    <a:pt x="383564" y="252"/>
                    <a:pt x="384966" y="1527"/>
                  </a:cubicBezTo>
                  <a:cubicBezTo>
                    <a:pt x="386496" y="2802"/>
                    <a:pt x="387389" y="4587"/>
                    <a:pt x="387389" y="6627"/>
                  </a:cubicBezTo>
                  <a:lnTo>
                    <a:pt x="387389" y="129424"/>
                  </a:lnTo>
                  <a:cubicBezTo>
                    <a:pt x="387261" y="144343"/>
                    <a:pt x="375148" y="156457"/>
                    <a:pt x="360228" y="156457"/>
                  </a:cubicBezTo>
                  <a:close/>
                  <a:moveTo>
                    <a:pt x="13134" y="14661"/>
                  </a:moveTo>
                  <a:lnTo>
                    <a:pt x="13134" y="129551"/>
                  </a:lnTo>
                  <a:cubicBezTo>
                    <a:pt x="13134" y="137202"/>
                    <a:pt x="19382" y="143451"/>
                    <a:pt x="27033" y="143451"/>
                  </a:cubicBezTo>
                  <a:lnTo>
                    <a:pt x="360228" y="143451"/>
                  </a:lnTo>
                  <a:cubicBezTo>
                    <a:pt x="367879" y="143451"/>
                    <a:pt x="374127" y="137202"/>
                    <a:pt x="374127" y="129551"/>
                  </a:cubicBezTo>
                  <a:lnTo>
                    <a:pt x="374127" y="14661"/>
                  </a:lnTo>
                  <a:lnTo>
                    <a:pt x="311135" y="26392"/>
                  </a:lnTo>
                  <a:lnTo>
                    <a:pt x="311135" y="62861"/>
                  </a:lnTo>
                  <a:cubicBezTo>
                    <a:pt x="311135" y="66432"/>
                    <a:pt x="308202" y="69365"/>
                    <a:pt x="304632" y="69365"/>
                  </a:cubicBezTo>
                  <a:lnTo>
                    <a:pt x="268290" y="69365"/>
                  </a:lnTo>
                  <a:cubicBezTo>
                    <a:pt x="264720" y="69365"/>
                    <a:pt x="261787" y="66432"/>
                    <a:pt x="261787" y="62861"/>
                  </a:cubicBezTo>
                  <a:lnTo>
                    <a:pt x="261787" y="35701"/>
                  </a:lnTo>
                  <a:lnTo>
                    <a:pt x="194970" y="48197"/>
                  </a:lnTo>
                  <a:cubicBezTo>
                    <a:pt x="194205" y="48325"/>
                    <a:pt x="193312" y="48325"/>
                    <a:pt x="192547" y="48197"/>
                  </a:cubicBezTo>
                  <a:lnTo>
                    <a:pt x="125729" y="35701"/>
                  </a:lnTo>
                  <a:lnTo>
                    <a:pt x="125729" y="62861"/>
                  </a:lnTo>
                  <a:cubicBezTo>
                    <a:pt x="125729" y="66432"/>
                    <a:pt x="122796" y="69365"/>
                    <a:pt x="119226" y="69365"/>
                  </a:cubicBezTo>
                  <a:lnTo>
                    <a:pt x="82629" y="69365"/>
                  </a:lnTo>
                  <a:cubicBezTo>
                    <a:pt x="79059" y="69365"/>
                    <a:pt x="76126" y="66432"/>
                    <a:pt x="76126" y="62861"/>
                  </a:cubicBezTo>
                  <a:lnTo>
                    <a:pt x="76126" y="26392"/>
                  </a:lnTo>
                  <a:lnTo>
                    <a:pt x="13134" y="14661"/>
                  </a:lnTo>
                  <a:close/>
                </a:path>
              </a:pathLst>
            </a:custGeom>
            <a:grpFill/>
            <a:ln w="0" cap="flat">
              <a:noFill/>
              <a:prstDash val="solid"/>
              <a:miter/>
            </a:ln>
          </p:spPr>
          <p:txBody>
            <a:bodyPr rtlCol="0" anchor="ctr"/>
            <a:lstStyle/>
            <a:p>
              <a:endParaRPr lang="ru-RU"/>
            </a:p>
          </p:txBody>
        </p:sp>
        <p:sp>
          <p:nvSpPr>
            <p:cNvPr id="71" name="Полилиния: фигура 70">
              <a:extLst>
                <a:ext uri="{FF2B5EF4-FFF2-40B4-BE49-F238E27FC236}">
                  <a16:creationId xmlns:a16="http://schemas.microsoft.com/office/drawing/2014/main" id="{D281028A-6ABD-4548-8BDB-3A5F7E7F4A4F}"/>
                </a:ext>
              </a:extLst>
            </p:cNvPr>
            <p:cNvSpPr/>
            <p:nvPr/>
          </p:nvSpPr>
          <p:spPr>
            <a:xfrm>
              <a:off x="10786122" y="2701530"/>
              <a:ext cx="495960" cy="208817"/>
            </a:xfrm>
            <a:custGeom>
              <a:avLst/>
              <a:gdLst>
                <a:gd name="connsiteX0" fmla="*/ 210399 w 420670"/>
                <a:gd name="connsiteY0" fmla="*/ 177118 h 177117"/>
                <a:gd name="connsiteX1" fmla="*/ 209251 w 420670"/>
                <a:gd name="connsiteY1" fmla="*/ 176990 h 177117"/>
                <a:gd name="connsiteX2" fmla="*/ 134655 w 420670"/>
                <a:gd name="connsiteY2" fmla="*/ 162963 h 177117"/>
                <a:gd name="connsiteX3" fmla="*/ 129300 w 420670"/>
                <a:gd name="connsiteY3" fmla="*/ 156460 h 177117"/>
                <a:gd name="connsiteX4" fmla="*/ 129300 w 420670"/>
                <a:gd name="connsiteY4" fmla="*/ 128025 h 177117"/>
                <a:gd name="connsiteX5" fmla="*/ 105965 w 420670"/>
                <a:gd name="connsiteY5" fmla="*/ 128025 h 177117"/>
                <a:gd name="connsiteX6" fmla="*/ 105965 w 420670"/>
                <a:gd name="connsiteY6" fmla="*/ 149574 h 177117"/>
                <a:gd name="connsiteX7" fmla="*/ 103542 w 420670"/>
                <a:gd name="connsiteY7" fmla="*/ 154675 h 177117"/>
                <a:gd name="connsiteX8" fmla="*/ 98186 w 420670"/>
                <a:gd name="connsiteY8" fmla="*/ 156078 h 177117"/>
                <a:gd name="connsiteX9" fmla="*/ 22060 w 420670"/>
                <a:gd name="connsiteY9" fmla="*/ 141796 h 177117"/>
                <a:gd name="connsiteX10" fmla="*/ 0 w 420670"/>
                <a:gd name="connsiteY10" fmla="*/ 115273 h 177117"/>
                <a:gd name="connsiteX11" fmla="*/ 0 w 420670"/>
                <a:gd name="connsiteY11" fmla="*/ 27033 h 177117"/>
                <a:gd name="connsiteX12" fmla="*/ 27033 w 420670"/>
                <a:gd name="connsiteY12" fmla="*/ 0 h 177117"/>
                <a:gd name="connsiteX13" fmla="*/ 393637 w 420670"/>
                <a:gd name="connsiteY13" fmla="*/ 0 h 177117"/>
                <a:gd name="connsiteX14" fmla="*/ 420670 w 420670"/>
                <a:gd name="connsiteY14" fmla="*/ 27033 h 177117"/>
                <a:gd name="connsiteX15" fmla="*/ 420670 w 420670"/>
                <a:gd name="connsiteY15" fmla="*/ 115401 h 177117"/>
                <a:gd name="connsiteX16" fmla="*/ 398610 w 420670"/>
                <a:gd name="connsiteY16" fmla="*/ 141924 h 177117"/>
                <a:gd name="connsiteX17" fmla="*/ 322484 w 420670"/>
                <a:gd name="connsiteY17" fmla="*/ 156205 h 177117"/>
                <a:gd name="connsiteX18" fmla="*/ 317129 w 420670"/>
                <a:gd name="connsiteY18" fmla="*/ 154803 h 177117"/>
                <a:gd name="connsiteX19" fmla="*/ 314706 w 420670"/>
                <a:gd name="connsiteY19" fmla="*/ 149702 h 177117"/>
                <a:gd name="connsiteX20" fmla="*/ 314706 w 420670"/>
                <a:gd name="connsiteY20" fmla="*/ 128152 h 177117"/>
                <a:gd name="connsiteX21" fmla="*/ 291498 w 420670"/>
                <a:gd name="connsiteY21" fmla="*/ 128152 h 177117"/>
                <a:gd name="connsiteX22" fmla="*/ 291498 w 420670"/>
                <a:gd name="connsiteY22" fmla="*/ 156588 h 177117"/>
                <a:gd name="connsiteX23" fmla="*/ 286142 w 420670"/>
                <a:gd name="connsiteY23" fmla="*/ 163091 h 177117"/>
                <a:gd name="connsiteX24" fmla="*/ 211547 w 420670"/>
                <a:gd name="connsiteY24" fmla="*/ 177118 h 177117"/>
                <a:gd name="connsiteX25" fmla="*/ 210399 w 420670"/>
                <a:gd name="connsiteY25" fmla="*/ 177118 h 177117"/>
                <a:gd name="connsiteX26" fmla="*/ 142306 w 420670"/>
                <a:gd name="connsiteY26" fmla="*/ 151105 h 177117"/>
                <a:gd name="connsiteX27" fmla="*/ 210399 w 420670"/>
                <a:gd name="connsiteY27" fmla="*/ 163856 h 177117"/>
                <a:gd name="connsiteX28" fmla="*/ 278492 w 420670"/>
                <a:gd name="connsiteY28" fmla="*/ 151105 h 177117"/>
                <a:gd name="connsiteX29" fmla="*/ 278492 w 420670"/>
                <a:gd name="connsiteY29" fmla="*/ 121521 h 177117"/>
                <a:gd name="connsiteX30" fmla="*/ 284995 w 420670"/>
                <a:gd name="connsiteY30" fmla="*/ 115018 h 177117"/>
                <a:gd name="connsiteX31" fmla="*/ 321336 w 420670"/>
                <a:gd name="connsiteY31" fmla="*/ 115018 h 177117"/>
                <a:gd name="connsiteX32" fmla="*/ 327840 w 420670"/>
                <a:gd name="connsiteY32" fmla="*/ 121521 h 177117"/>
                <a:gd name="connsiteX33" fmla="*/ 327840 w 420670"/>
                <a:gd name="connsiteY33" fmla="*/ 141796 h 177117"/>
                <a:gd name="connsiteX34" fmla="*/ 396187 w 420670"/>
                <a:gd name="connsiteY34" fmla="*/ 129045 h 177117"/>
                <a:gd name="connsiteX35" fmla="*/ 407536 w 420670"/>
                <a:gd name="connsiteY35" fmla="*/ 115401 h 177117"/>
                <a:gd name="connsiteX36" fmla="*/ 407536 w 420670"/>
                <a:gd name="connsiteY36" fmla="*/ 27033 h 177117"/>
                <a:gd name="connsiteX37" fmla="*/ 393637 w 420670"/>
                <a:gd name="connsiteY37" fmla="*/ 13134 h 177117"/>
                <a:gd name="connsiteX38" fmla="*/ 27033 w 420670"/>
                <a:gd name="connsiteY38" fmla="*/ 13134 h 177117"/>
                <a:gd name="connsiteX39" fmla="*/ 13134 w 420670"/>
                <a:gd name="connsiteY39" fmla="*/ 27033 h 177117"/>
                <a:gd name="connsiteX40" fmla="*/ 13134 w 420670"/>
                <a:gd name="connsiteY40" fmla="*/ 115401 h 177117"/>
                <a:gd name="connsiteX41" fmla="*/ 24483 w 420670"/>
                <a:gd name="connsiteY41" fmla="*/ 129045 h 177117"/>
                <a:gd name="connsiteX42" fmla="*/ 92831 w 420670"/>
                <a:gd name="connsiteY42" fmla="*/ 141796 h 177117"/>
                <a:gd name="connsiteX43" fmla="*/ 92831 w 420670"/>
                <a:gd name="connsiteY43" fmla="*/ 121521 h 177117"/>
                <a:gd name="connsiteX44" fmla="*/ 99334 w 420670"/>
                <a:gd name="connsiteY44" fmla="*/ 115018 h 177117"/>
                <a:gd name="connsiteX45" fmla="*/ 135675 w 420670"/>
                <a:gd name="connsiteY45" fmla="*/ 115018 h 177117"/>
                <a:gd name="connsiteX46" fmla="*/ 142179 w 420670"/>
                <a:gd name="connsiteY46" fmla="*/ 121521 h 177117"/>
                <a:gd name="connsiteX47" fmla="*/ 142179 w 420670"/>
                <a:gd name="connsiteY47" fmla="*/ 151105 h 177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20670" h="177117">
                  <a:moveTo>
                    <a:pt x="210399" y="177118"/>
                  </a:moveTo>
                  <a:cubicBezTo>
                    <a:pt x="210016" y="177118"/>
                    <a:pt x="209634" y="177118"/>
                    <a:pt x="209251" y="176990"/>
                  </a:cubicBezTo>
                  <a:lnTo>
                    <a:pt x="134655" y="162963"/>
                  </a:lnTo>
                  <a:cubicBezTo>
                    <a:pt x="131595" y="162326"/>
                    <a:pt x="129300" y="159648"/>
                    <a:pt x="129300" y="156460"/>
                  </a:cubicBezTo>
                  <a:lnTo>
                    <a:pt x="129300" y="128025"/>
                  </a:lnTo>
                  <a:lnTo>
                    <a:pt x="105965" y="128025"/>
                  </a:lnTo>
                  <a:lnTo>
                    <a:pt x="105965" y="149574"/>
                  </a:lnTo>
                  <a:cubicBezTo>
                    <a:pt x="105965" y="151487"/>
                    <a:pt x="105072" y="153400"/>
                    <a:pt x="103542" y="154675"/>
                  </a:cubicBezTo>
                  <a:cubicBezTo>
                    <a:pt x="102012" y="155950"/>
                    <a:pt x="100099" y="156460"/>
                    <a:pt x="98186" y="156078"/>
                  </a:cubicBezTo>
                  <a:lnTo>
                    <a:pt x="22060" y="141796"/>
                  </a:lnTo>
                  <a:cubicBezTo>
                    <a:pt x="9309" y="139373"/>
                    <a:pt x="0" y="128280"/>
                    <a:pt x="0" y="115273"/>
                  </a:cubicBezTo>
                  <a:lnTo>
                    <a:pt x="0" y="27033"/>
                  </a:lnTo>
                  <a:cubicBezTo>
                    <a:pt x="0" y="12114"/>
                    <a:pt x="12114" y="0"/>
                    <a:pt x="27033" y="0"/>
                  </a:cubicBezTo>
                  <a:lnTo>
                    <a:pt x="393637" y="0"/>
                  </a:lnTo>
                  <a:cubicBezTo>
                    <a:pt x="408556" y="0"/>
                    <a:pt x="420670" y="12114"/>
                    <a:pt x="420670" y="27033"/>
                  </a:cubicBezTo>
                  <a:lnTo>
                    <a:pt x="420670" y="115401"/>
                  </a:lnTo>
                  <a:cubicBezTo>
                    <a:pt x="420670" y="128407"/>
                    <a:pt x="411362" y="139501"/>
                    <a:pt x="398610" y="141924"/>
                  </a:cubicBezTo>
                  <a:lnTo>
                    <a:pt x="322484" y="156205"/>
                  </a:lnTo>
                  <a:cubicBezTo>
                    <a:pt x="320571" y="156588"/>
                    <a:pt x="318531" y="156078"/>
                    <a:pt x="317129" y="154803"/>
                  </a:cubicBezTo>
                  <a:cubicBezTo>
                    <a:pt x="315598" y="153527"/>
                    <a:pt x="314706" y="151742"/>
                    <a:pt x="314706" y="149702"/>
                  </a:cubicBezTo>
                  <a:lnTo>
                    <a:pt x="314706" y="128152"/>
                  </a:lnTo>
                  <a:lnTo>
                    <a:pt x="291498" y="128152"/>
                  </a:lnTo>
                  <a:lnTo>
                    <a:pt x="291498" y="156588"/>
                  </a:lnTo>
                  <a:cubicBezTo>
                    <a:pt x="291498" y="159776"/>
                    <a:pt x="289203" y="162453"/>
                    <a:pt x="286142" y="163091"/>
                  </a:cubicBezTo>
                  <a:lnTo>
                    <a:pt x="211547" y="177118"/>
                  </a:lnTo>
                  <a:cubicBezTo>
                    <a:pt x="211164" y="176990"/>
                    <a:pt x="210781" y="177118"/>
                    <a:pt x="210399" y="177118"/>
                  </a:cubicBezTo>
                  <a:close/>
                  <a:moveTo>
                    <a:pt x="142306" y="151105"/>
                  </a:moveTo>
                  <a:lnTo>
                    <a:pt x="210399" y="163856"/>
                  </a:lnTo>
                  <a:lnTo>
                    <a:pt x="278492" y="151105"/>
                  </a:lnTo>
                  <a:lnTo>
                    <a:pt x="278492" y="121521"/>
                  </a:lnTo>
                  <a:cubicBezTo>
                    <a:pt x="278492" y="117951"/>
                    <a:pt x="281424" y="115018"/>
                    <a:pt x="284995" y="115018"/>
                  </a:cubicBezTo>
                  <a:lnTo>
                    <a:pt x="321336" y="115018"/>
                  </a:lnTo>
                  <a:cubicBezTo>
                    <a:pt x="324907" y="115018"/>
                    <a:pt x="327840" y="117951"/>
                    <a:pt x="327840" y="121521"/>
                  </a:cubicBezTo>
                  <a:lnTo>
                    <a:pt x="327840" y="141796"/>
                  </a:lnTo>
                  <a:lnTo>
                    <a:pt x="396187" y="129045"/>
                  </a:lnTo>
                  <a:cubicBezTo>
                    <a:pt x="402818" y="127769"/>
                    <a:pt x="407536" y="122031"/>
                    <a:pt x="407536" y="115401"/>
                  </a:cubicBezTo>
                  <a:lnTo>
                    <a:pt x="407536" y="27033"/>
                  </a:lnTo>
                  <a:cubicBezTo>
                    <a:pt x="407536" y="19382"/>
                    <a:pt x="401288" y="13134"/>
                    <a:pt x="393637" y="13134"/>
                  </a:cubicBezTo>
                  <a:lnTo>
                    <a:pt x="27033" y="13134"/>
                  </a:lnTo>
                  <a:cubicBezTo>
                    <a:pt x="19382" y="13134"/>
                    <a:pt x="13134" y="19382"/>
                    <a:pt x="13134" y="27033"/>
                  </a:cubicBezTo>
                  <a:lnTo>
                    <a:pt x="13134" y="115401"/>
                  </a:lnTo>
                  <a:cubicBezTo>
                    <a:pt x="13134" y="122031"/>
                    <a:pt x="17852" y="127897"/>
                    <a:pt x="24483" y="129045"/>
                  </a:cubicBezTo>
                  <a:lnTo>
                    <a:pt x="92831" y="141796"/>
                  </a:lnTo>
                  <a:lnTo>
                    <a:pt x="92831" y="121521"/>
                  </a:lnTo>
                  <a:cubicBezTo>
                    <a:pt x="92831" y="117951"/>
                    <a:pt x="95763" y="115018"/>
                    <a:pt x="99334" y="115018"/>
                  </a:cubicBezTo>
                  <a:lnTo>
                    <a:pt x="135675" y="115018"/>
                  </a:lnTo>
                  <a:cubicBezTo>
                    <a:pt x="139246" y="115018"/>
                    <a:pt x="142179" y="117951"/>
                    <a:pt x="142179" y="121521"/>
                  </a:cubicBezTo>
                  <a:lnTo>
                    <a:pt x="142179" y="151105"/>
                  </a:lnTo>
                  <a:close/>
                </a:path>
              </a:pathLst>
            </a:custGeom>
            <a:grpFill/>
            <a:ln w="0" cap="flat">
              <a:noFill/>
              <a:prstDash val="solid"/>
              <a:miter/>
            </a:ln>
          </p:spPr>
          <p:txBody>
            <a:bodyPr rtlCol="0" anchor="ctr"/>
            <a:lstStyle/>
            <a:p>
              <a:endParaRPr lang="ru-RU"/>
            </a:p>
          </p:txBody>
        </p:sp>
        <p:sp>
          <p:nvSpPr>
            <p:cNvPr id="72" name="Полилиния: фигура 71">
              <a:extLst>
                <a:ext uri="{FF2B5EF4-FFF2-40B4-BE49-F238E27FC236}">
                  <a16:creationId xmlns:a16="http://schemas.microsoft.com/office/drawing/2014/main" id="{AEF1238D-2205-4E60-BFE3-B8F34F1523A5}"/>
                </a:ext>
              </a:extLst>
            </p:cNvPr>
            <p:cNvSpPr/>
            <p:nvPr/>
          </p:nvSpPr>
          <p:spPr>
            <a:xfrm>
              <a:off x="11026511" y="2878352"/>
              <a:ext cx="103430" cy="31996"/>
            </a:xfrm>
            <a:custGeom>
              <a:avLst/>
              <a:gdLst>
                <a:gd name="connsiteX0" fmla="*/ 6503 w 87729"/>
                <a:gd name="connsiteY0" fmla="*/ 27139 h 27139"/>
                <a:gd name="connsiteX1" fmla="*/ 128 w 87729"/>
                <a:gd name="connsiteY1" fmla="*/ 21784 h 27139"/>
                <a:gd name="connsiteX2" fmla="*/ 0 w 87729"/>
                <a:gd name="connsiteY2" fmla="*/ 20508 h 27139"/>
                <a:gd name="connsiteX3" fmla="*/ 5356 w 87729"/>
                <a:gd name="connsiteY3" fmla="*/ 14133 h 27139"/>
                <a:gd name="connsiteX4" fmla="*/ 79952 w 87729"/>
                <a:gd name="connsiteY4" fmla="*/ 106 h 27139"/>
                <a:gd name="connsiteX5" fmla="*/ 87602 w 87729"/>
                <a:gd name="connsiteY5" fmla="*/ 5334 h 27139"/>
                <a:gd name="connsiteX6" fmla="*/ 87730 w 87729"/>
                <a:gd name="connsiteY6" fmla="*/ 6609 h 27139"/>
                <a:gd name="connsiteX7" fmla="*/ 82374 w 87729"/>
                <a:gd name="connsiteY7" fmla="*/ 12985 h 27139"/>
                <a:gd name="connsiteX8" fmla="*/ 7778 w 87729"/>
                <a:gd name="connsiteY8" fmla="*/ 27012 h 27139"/>
                <a:gd name="connsiteX9" fmla="*/ 6503 w 87729"/>
                <a:gd name="connsiteY9" fmla="*/ 27139 h 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729" h="27139">
                  <a:moveTo>
                    <a:pt x="6503" y="27139"/>
                  </a:moveTo>
                  <a:cubicBezTo>
                    <a:pt x="3443" y="27139"/>
                    <a:pt x="638" y="24971"/>
                    <a:pt x="128" y="21784"/>
                  </a:cubicBezTo>
                  <a:cubicBezTo>
                    <a:pt x="0" y="21401"/>
                    <a:pt x="0" y="21019"/>
                    <a:pt x="0" y="20508"/>
                  </a:cubicBezTo>
                  <a:cubicBezTo>
                    <a:pt x="0" y="17448"/>
                    <a:pt x="2168" y="14643"/>
                    <a:pt x="5356" y="14133"/>
                  </a:cubicBezTo>
                  <a:lnTo>
                    <a:pt x="79952" y="106"/>
                  </a:lnTo>
                  <a:cubicBezTo>
                    <a:pt x="83522" y="-531"/>
                    <a:pt x="86965" y="1764"/>
                    <a:pt x="87602" y="5334"/>
                  </a:cubicBezTo>
                  <a:cubicBezTo>
                    <a:pt x="87730" y="5717"/>
                    <a:pt x="87730" y="6099"/>
                    <a:pt x="87730" y="6609"/>
                  </a:cubicBezTo>
                  <a:cubicBezTo>
                    <a:pt x="87730" y="9670"/>
                    <a:pt x="85562" y="12475"/>
                    <a:pt x="82374" y="12985"/>
                  </a:cubicBezTo>
                  <a:lnTo>
                    <a:pt x="7778" y="27012"/>
                  </a:lnTo>
                  <a:cubicBezTo>
                    <a:pt x="7268" y="27012"/>
                    <a:pt x="6886" y="27139"/>
                    <a:pt x="6503" y="27139"/>
                  </a:cubicBezTo>
                  <a:close/>
                </a:path>
              </a:pathLst>
            </a:custGeom>
            <a:grpFill/>
            <a:ln w="0" cap="flat">
              <a:noFill/>
              <a:prstDash val="solid"/>
              <a:miter/>
            </a:ln>
          </p:spPr>
          <p:txBody>
            <a:bodyPr rtlCol="0" anchor="ctr"/>
            <a:lstStyle/>
            <a:p>
              <a:endParaRPr lang="ru-RU"/>
            </a:p>
          </p:txBody>
        </p:sp>
        <p:sp>
          <p:nvSpPr>
            <p:cNvPr id="73" name="Полилиния: фигура 72">
              <a:extLst>
                <a:ext uri="{FF2B5EF4-FFF2-40B4-BE49-F238E27FC236}">
                  <a16:creationId xmlns:a16="http://schemas.microsoft.com/office/drawing/2014/main" id="{7067DDBD-A692-4023-8260-C0E9406968B1}"/>
                </a:ext>
              </a:extLst>
            </p:cNvPr>
            <p:cNvSpPr/>
            <p:nvPr/>
          </p:nvSpPr>
          <p:spPr>
            <a:xfrm>
              <a:off x="10805666" y="2853547"/>
              <a:ext cx="105235" cy="32297"/>
            </a:xfrm>
            <a:custGeom>
              <a:avLst/>
              <a:gdLst>
                <a:gd name="connsiteX0" fmla="*/ 82757 w 89260"/>
                <a:gd name="connsiteY0" fmla="*/ 27394 h 27394"/>
                <a:gd name="connsiteX1" fmla="*/ 81482 w 89260"/>
                <a:gd name="connsiteY1" fmla="*/ 27267 h 27394"/>
                <a:gd name="connsiteX2" fmla="*/ 5356 w 89260"/>
                <a:gd name="connsiteY2" fmla="*/ 12985 h 27394"/>
                <a:gd name="connsiteX3" fmla="*/ 0 w 89260"/>
                <a:gd name="connsiteY3" fmla="*/ 6609 h 27394"/>
                <a:gd name="connsiteX4" fmla="*/ 128 w 89260"/>
                <a:gd name="connsiteY4" fmla="*/ 5334 h 27394"/>
                <a:gd name="connsiteX5" fmla="*/ 7778 w 89260"/>
                <a:gd name="connsiteY5" fmla="*/ 106 h 27394"/>
                <a:gd name="connsiteX6" fmla="*/ 83905 w 89260"/>
                <a:gd name="connsiteY6" fmla="*/ 14388 h 27394"/>
                <a:gd name="connsiteX7" fmla="*/ 89260 w 89260"/>
                <a:gd name="connsiteY7" fmla="*/ 20764 h 27394"/>
                <a:gd name="connsiteX8" fmla="*/ 89133 w 89260"/>
                <a:gd name="connsiteY8" fmla="*/ 21911 h 27394"/>
                <a:gd name="connsiteX9" fmla="*/ 82757 w 89260"/>
                <a:gd name="connsiteY9" fmla="*/ 27394 h 2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60" h="27394">
                  <a:moveTo>
                    <a:pt x="82757" y="27394"/>
                  </a:moveTo>
                  <a:cubicBezTo>
                    <a:pt x="82374" y="27394"/>
                    <a:pt x="81992" y="27394"/>
                    <a:pt x="81482" y="27267"/>
                  </a:cubicBezTo>
                  <a:lnTo>
                    <a:pt x="5356" y="12985"/>
                  </a:lnTo>
                  <a:cubicBezTo>
                    <a:pt x="2168" y="12348"/>
                    <a:pt x="0" y="9670"/>
                    <a:pt x="0" y="6609"/>
                  </a:cubicBezTo>
                  <a:cubicBezTo>
                    <a:pt x="0" y="6227"/>
                    <a:pt x="0" y="5844"/>
                    <a:pt x="128" y="5334"/>
                  </a:cubicBezTo>
                  <a:cubicBezTo>
                    <a:pt x="765" y="1764"/>
                    <a:pt x="4208" y="-531"/>
                    <a:pt x="7778" y="106"/>
                  </a:cubicBezTo>
                  <a:lnTo>
                    <a:pt x="83905" y="14388"/>
                  </a:lnTo>
                  <a:cubicBezTo>
                    <a:pt x="87092" y="15025"/>
                    <a:pt x="89260" y="17703"/>
                    <a:pt x="89260" y="20764"/>
                  </a:cubicBezTo>
                  <a:cubicBezTo>
                    <a:pt x="89260" y="21146"/>
                    <a:pt x="89260" y="21529"/>
                    <a:pt x="89133" y="21911"/>
                  </a:cubicBezTo>
                  <a:cubicBezTo>
                    <a:pt x="88623" y="25099"/>
                    <a:pt x="85945" y="27394"/>
                    <a:pt x="82757" y="27394"/>
                  </a:cubicBezTo>
                  <a:close/>
                </a:path>
              </a:pathLst>
            </a:custGeom>
            <a:grpFill/>
            <a:ln w="0" cap="flat">
              <a:noFill/>
              <a:prstDash val="solid"/>
              <a:miter/>
            </a:ln>
          </p:spPr>
          <p:txBody>
            <a:bodyPr rtlCol="0" anchor="ctr"/>
            <a:lstStyle/>
            <a:p>
              <a:endParaRPr lang="ru-RU"/>
            </a:p>
          </p:txBody>
        </p:sp>
        <p:sp>
          <p:nvSpPr>
            <p:cNvPr id="74" name="Полилиния: фигура 73">
              <a:extLst>
                <a:ext uri="{FF2B5EF4-FFF2-40B4-BE49-F238E27FC236}">
                  <a16:creationId xmlns:a16="http://schemas.microsoft.com/office/drawing/2014/main" id="{CBDF3E4A-BADA-49ED-9D70-E1C013FF419A}"/>
                </a:ext>
              </a:extLst>
            </p:cNvPr>
            <p:cNvSpPr/>
            <p:nvPr/>
          </p:nvSpPr>
          <p:spPr>
            <a:xfrm>
              <a:off x="10938414" y="2878352"/>
              <a:ext cx="103430" cy="31996"/>
            </a:xfrm>
            <a:custGeom>
              <a:avLst/>
              <a:gdLst>
                <a:gd name="connsiteX0" fmla="*/ 81227 w 87729"/>
                <a:gd name="connsiteY0" fmla="*/ 27139 h 27139"/>
                <a:gd name="connsiteX1" fmla="*/ 79952 w 87729"/>
                <a:gd name="connsiteY1" fmla="*/ 27012 h 27139"/>
                <a:gd name="connsiteX2" fmla="*/ 5356 w 87729"/>
                <a:gd name="connsiteY2" fmla="*/ 12985 h 27139"/>
                <a:gd name="connsiteX3" fmla="*/ 0 w 87729"/>
                <a:gd name="connsiteY3" fmla="*/ 6609 h 27139"/>
                <a:gd name="connsiteX4" fmla="*/ 128 w 87729"/>
                <a:gd name="connsiteY4" fmla="*/ 5334 h 27139"/>
                <a:gd name="connsiteX5" fmla="*/ 7778 w 87729"/>
                <a:gd name="connsiteY5" fmla="*/ 106 h 27139"/>
                <a:gd name="connsiteX6" fmla="*/ 82374 w 87729"/>
                <a:gd name="connsiteY6" fmla="*/ 14133 h 27139"/>
                <a:gd name="connsiteX7" fmla="*/ 87730 w 87729"/>
                <a:gd name="connsiteY7" fmla="*/ 20508 h 27139"/>
                <a:gd name="connsiteX8" fmla="*/ 87602 w 87729"/>
                <a:gd name="connsiteY8" fmla="*/ 21784 h 27139"/>
                <a:gd name="connsiteX9" fmla="*/ 81227 w 87729"/>
                <a:gd name="connsiteY9" fmla="*/ 27139 h 2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729" h="27139">
                  <a:moveTo>
                    <a:pt x="81227" y="27139"/>
                  </a:moveTo>
                  <a:cubicBezTo>
                    <a:pt x="80844" y="27139"/>
                    <a:pt x="80462" y="27139"/>
                    <a:pt x="79952" y="27012"/>
                  </a:cubicBezTo>
                  <a:lnTo>
                    <a:pt x="5356" y="12985"/>
                  </a:lnTo>
                  <a:cubicBezTo>
                    <a:pt x="2168" y="12348"/>
                    <a:pt x="0" y="9670"/>
                    <a:pt x="0" y="6609"/>
                  </a:cubicBezTo>
                  <a:cubicBezTo>
                    <a:pt x="0" y="6227"/>
                    <a:pt x="0" y="5844"/>
                    <a:pt x="128" y="5334"/>
                  </a:cubicBezTo>
                  <a:cubicBezTo>
                    <a:pt x="765" y="1764"/>
                    <a:pt x="4208" y="-531"/>
                    <a:pt x="7778" y="106"/>
                  </a:cubicBezTo>
                  <a:lnTo>
                    <a:pt x="82374" y="14133"/>
                  </a:lnTo>
                  <a:cubicBezTo>
                    <a:pt x="85562" y="14770"/>
                    <a:pt x="87730" y="17448"/>
                    <a:pt x="87730" y="20508"/>
                  </a:cubicBezTo>
                  <a:cubicBezTo>
                    <a:pt x="87730" y="20891"/>
                    <a:pt x="87730" y="21274"/>
                    <a:pt x="87602" y="21784"/>
                  </a:cubicBezTo>
                  <a:cubicBezTo>
                    <a:pt x="86965" y="24844"/>
                    <a:pt x="84287" y="27139"/>
                    <a:pt x="81227" y="27139"/>
                  </a:cubicBezTo>
                  <a:close/>
                </a:path>
              </a:pathLst>
            </a:custGeom>
            <a:grpFill/>
            <a:ln w="0" cap="flat">
              <a:noFill/>
              <a:prstDash val="solid"/>
              <a:miter/>
            </a:ln>
          </p:spPr>
          <p:txBody>
            <a:bodyPr rtlCol="0" anchor="ctr"/>
            <a:lstStyle/>
            <a:p>
              <a:endParaRPr lang="ru-RU"/>
            </a:p>
          </p:txBody>
        </p:sp>
        <p:sp>
          <p:nvSpPr>
            <p:cNvPr id="75" name="Полилиния: фигура 74">
              <a:extLst>
                <a:ext uri="{FF2B5EF4-FFF2-40B4-BE49-F238E27FC236}">
                  <a16:creationId xmlns:a16="http://schemas.microsoft.com/office/drawing/2014/main" id="{8298D45C-5E9C-476D-B3BC-9ADDCAB91BED}"/>
                </a:ext>
              </a:extLst>
            </p:cNvPr>
            <p:cNvSpPr/>
            <p:nvPr/>
          </p:nvSpPr>
          <p:spPr>
            <a:xfrm>
              <a:off x="11157304" y="2853696"/>
              <a:ext cx="105235" cy="32146"/>
            </a:xfrm>
            <a:custGeom>
              <a:avLst/>
              <a:gdLst>
                <a:gd name="connsiteX0" fmla="*/ 6503 w 89260"/>
                <a:gd name="connsiteY0" fmla="*/ 27267 h 27266"/>
                <a:gd name="connsiteX1" fmla="*/ 128 w 89260"/>
                <a:gd name="connsiteY1" fmla="*/ 21911 h 27266"/>
                <a:gd name="connsiteX2" fmla="*/ 0 w 89260"/>
                <a:gd name="connsiteY2" fmla="*/ 20764 h 27266"/>
                <a:gd name="connsiteX3" fmla="*/ 5356 w 89260"/>
                <a:gd name="connsiteY3" fmla="*/ 14388 h 27266"/>
                <a:gd name="connsiteX4" fmla="*/ 81482 w 89260"/>
                <a:gd name="connsiteY4" fmla="*/ 106 h 27266"/>
                <a:gd name="connsiteX5" fmla="*/ 89133 w 89260"/>
                <a:gd name="connsiteY5" fmla="*/ 5334 h 27266"/>
                <a:gd name="connsiteX6" fmla="*/ 89260 w 89260"/>
                <a:gd name="connsiteY6" fmla="*/ 6609 h 27266"/>
                <a:gd name="connsiteX7" fmla="*/ 83905 w 89260"/>
                <a:gd name="connsiteY7" fmla="*/ 12985 h 27266"/>
                <a:gd name="connsiteX8" fmla="*/ 7778 w 89260"/>
                <a:gd name="connsiteY8" fmla="*/ 27267 h 27266"/>
                <a:gd name="connsiteX9" fmla="*/ 6503 w 89260"/>
                <a:gd name="connsiteY9" fmla="*/ 27267 h 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60" h="27266">
                  <a:moveTo>
                    <a:pt x="6503" y="27267"/>
                  </a:moveTo>
                  <a:cubicBezTo>
                    <a:pt x="3443" y="27267"/>
                    <a:pt x="638" y="25099"/>
                    <a:pt x="128" y="21911"/>
                  </a:cubicBezTo>
                  <a:cubicBezTo>
                    <a:pt x="0" y="21529"/>
                    <a:pt x="0" y="21146"/>
                    <a:pt x="0" y="20764"/>
                  </a:cubicBezTo>
                  <a:cubicBezTo>
                    <a:pt x="0" y="17703"/>
                    <a:pt x="2168" y="14898"/>
                    <a:pt x="5356" y="14388"/>
                  </a:cubicBezTo>
                  <a:lnTo>
                    <a:pt x="81482" y="106"/>
                  </a:lnTo>
                  <a:cubicBezTo>
                    <a:pt x="85052" y="-531"/>
                    <a:pt x="88495" y="1764"/>
                    <a:pt x="89133" y="5334"/>
                  </a:cubicBezTo>
                  <a:cubicBezTo>
                    <a:pt x="89260" y="5717"/>
                    <a:pt x="89260" y="6099"/>
                    <a:pt x="89260" y="6609"/>
                  </a:cubicBezTo>
                  <a:cubicBezTo>
                    <a:pt x="89260" y="9670"/>
                    <a:pt x="87092" y="12475"/>
                    <a:pt x="83905" y="12985"/>
                  </a:cubicBezTo>
                  <a:lnTo>
                    <a:pt x="7778" y="27267"/>
                  </a:lnTo>
                  <a:cubicBezTo>
                    <a:pt x="7268" y="27139"/>
                    <a:pt x="6886" y="27267"/>
                    <a:pt x="6503" y="27267"/>
                  </a:cubicBezTo>
                  <a:close/>
                </a:path>
              </a:pathLst>
            </a:custGeom>
            <a:grpFill/>
            <a:ln w="0" cap="flat">
              <a:noFill/>
              <a:prstDash val="solid"/>
              <a:miter/>
            </a:ln>
          </p:spPr>
          <p:txBody>
            <a:bodyPr rtlCol="0" anchor="ctr"/>
            <a:lstStyle/>
            <a:p>
              <a:endParaRPr lang="ru-RU"/>
            </a:p>
          </p:txBody>
        </p:sp>
        <p:sp>
          <p:nvSpPr>
            <p:cNvPr id="76" name="Полилиния: фигура 75">
              <a:extLst>
                <a:ext uri="{FF2B5EF4-FFF2-40B4-BE49-F238E27FC236}">
                  <a16:creationId xmlns:a16="http://schemas.microsoft.com/office/drawing/2014/main" id="{5DB75720-6F4D-4F55-B3DA-E0D4EA181BFB}"/>
                </a:ext>
              </a:extLst>
            </p:cNvPr>
            <p:cNvSpPr/>
            <p:nvPr/>
          </p:nvSpPr>
          <p:spPr>
            <a:xfrm>
              <a:off x="10895568" y="2837285"/>
              <a:ext cx="58185" cy="97868"/>
            </a:xfrm>
            <a:custGeom>
              <a:avLst/>
              <a:gdLst>
                <a:gd name="connsiteX0" fmla="*/ 42845 w 49352"/>
                <a:gd name="connsiteY0" fmla="*/ 83012 h 83011"/>
                <a:gd name="connsiteX1" fmla="*/ 6503 w 49352"/>
                <a:gd name="connsiteY1" fmla="*/ 83012 h 83011"/>
                <a:gd name="connsiteX2" fmla="*/ 0 w 49352"/>
                <a:gd name="connsiteY2" fmla="*/ 76509 h 83011"/>
                <a:gd name="connsiteX3" fmla="*/ 0 w 49352"/>
                <a:gd name="connsiteY3" fmla="*/ 6503 h 83011"/>
                <a:gd name="connsiteX4" fmla="*/ 6503 w 49352"/>
                <a:gd name="connsiteY4" fmla="*/ 0 h 83011"/>
                <a:gd name="connsiteX5" fmla="*/ 42845 w 49352"/>
                <a:gd name="connsiteY5" fmla="*/ 0 h 83011"/>
                <a:gd name="connsiteX6" fmla="*/ 49348 w 49352"/>
                <a:gd name="connsiteY6" fmla="*/ 6503 h 83011"/>
                <a:gd name="connsiteX7" fmla="*/ 49348 w 49352"/>
                <a:gd name="connsiteY7" fmla="*/ 76509 h 83011"/>
                <a:gd name="connsiteX8" fmla="*/ 42845 w 49352"/>
                <a:gd name="connsiteY8" fmla="*/ 83012 h 83011"/>
                <a:gd name="connsiteX9" fmla="*/ 13134 w 49352"/>
                <a:gd name="connsiteY9" fmla="*/ 69878 h 83011"/>
                <a:gd name="connsiteX10" fmla="*/ 36342 w 49352"/>
                <a:gd name="connsiteY10" fmla="*/ 69878 h 83011"/>
                <a:gd name="connsiteX11" fmla="*/ 36342 w 49352"/>
                <a:gd name="connsiteY11" fmla="*/ 13006 h 83011"/>
                <a:gd name="connsiteX12" fmla="*/ 13134 w 49352"/>
                <a:gd name="connsiteY12" fmla="*/ 13006 h 83011"/>
                <a:gd name="connsiteX13" fmla="*/ 13134 w 49352"/>
                <a:gd name="connsiteY13" fmla="*/ 69878 h 8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352" h="83011">
                  <a:moveTo>
                    <a:pt x="42845" y="83012"/>
                  </a:moveTo>
                  <a:lnTo>
                    <a:pt x="6503" y="83012"/>
                  </a:lnTo>
                  <a:cubicBezTo>
                    <a:pt x="2933" y="83012"/>
                    <a:pt x="0" y="80079"/>
                    <a:pt x="0" y="76509"/>
                  </a:cubicBezTo>
                  <a:lnTo>
                    <a:pt x="0" y="6503"/>
                  </a:lnTo>
                  <a:cubicBezTo>
                    <a:pt x="0" y="2933"/>
                    <a:pt x="2933" y="0"/>
                    <a:pt x="6503" y="0"/>
                  </a:cubicBezTo>
                  <a:lnTo>
                    <a:pt x="42845" y="0"/>
                  </a:lnTo>
                  <a:cubicBezTo>
                    <a:pt x="46415" y="0"/>
                    <a:pt x="49348" y="2933"/>
                    <a:pt x="49348" y="6503"/>
                  </a:cubicBezTo>
                  <a:lnTo>
                    <a:pt x="49348" y="76509"/>
                  </a:lnTo>
                  <a:cubicBezTo>
                    <a:pt x="49476" y="80079"/>
                    <a:pt x="46543" y="83012"/>
                    <a:pt x="42845" y="83012"/>
                  </a:cubicBezTo>
                  <a:close/>
                  <a:moveTo>
                    <a:pt x="13134" y="69878"/>
                  </a:moveTo>
                  <a:lnTo>
                    <a:pt x="36342" y="69878"/>
                  </a:lnTo>
                  <a:lnTo>
                    <a:pt x="36342" y="13006"/>
                  </a:lnTo>
                  <a:lnTo>
                    <a:pt x="13134" y="13006"/>
                  </a:lnTo>
                  <a:lnTo>
                    <a:pt x="13134" y="69878"/>
                  </a:lnTo>
                  <a:close/>
                </a:path>
              </a:pathLst>
            </a:custGeom>
            <a:grpFill/>
            <a:ln w="0" cap="flat">
              <a:noFill/>
              <a:prstDash val="solid"/>
              <a:miter/>
            </a:ln>
          </p:spPr>
          <p:txBody>
            <a:bodyPr rtlCol="0" anchor="ctr"/>
            <a:lstStyle/>
            <a:p>
              <a:endParaRPr lang="ru-RU"/>
            </a:p>
          </p:txBody>
        </p:sp>
      </p:grpSp>
      <p:sp>
        <p:nvSpPr>
          <p:cNvPr id="48" name="TextBox 47">
            <a:extLst>
              <a:ext uri="{FF2B5EF4-FFF2-40B4-BE49-F238E27FC236}">
                <a16:creationId xmlns:a16="http://schemas.microsoft.com/office/drawing/2014/main" id="{1AA6DBDB-51E7-4118-8275-8F7476AC9771}"/>
              </a:ext>
            </a:extLst>
          </p:cNvPr>
          <p:cNvSpPr txBox="1"/>
          <p:nvPr/>
        </p:nvSpPr>
        <p:spPr>
          <a:xfrm>
            <a:off x="4841921" y="967082"/>
            <a:ext cx="1320935" cy="307777"/>
          </a:xfrm>
          <a:prstGeom prst="rect">
            <a:avLst/>
          </a:prstGeom>
          <a:solidFill>
            <a:schemeClr val="bg1"/>
          </a:solidFill>
        </p:spPr>
        <p:txBody>
          <a:bodyPr wrap="none" lIns="36000" rtlCol="0">
            <a:spAutoFit/>
          </a:bodyPr>
          <a:lstStyle/>
          <a:p>
            <a:pPr algn="ctr"/>
            <a:r>
              <a:rPr lang="ru-RU" sz="1400"/>
              <a:t>Направление 2</a:t>
            </a:r>
          </a:p>
        </p:txBody>
      </p:sp>
      <p:sp>
        <p:nvSpPr>
          <p:cNvPr id="51" name="TextBox 50">
            <a:extLst>
              <a:ext uri="{FF2B5EF4-FFF2-40B4-BE49-F238E27FC236}">
                <a16:creationId xmlns:a16="http://schemas.microsoft.com/office/drawing/2014/main" id="{38E09EE2-D0CE-46D9-9820-A2D81A48A34D}"/>
              </a:ext>
            </a:extLst>
          </p:cNvPr>
          <p:cNvSpPr txBox="1"/>
          <p:nvPr/>
        </p:nvSpPr>
        <p:spPr>
          <a:xfrm>
            <a:off x="7607344" y="967082"/>
            <a:ext cx="1298492" cy="307777"/>
          </a:xfrm>
          <a:prstGeom prst="rect">
            <a:avLst/>
          </a:prstGeom>
          <a:solidFill>
            <a:schemeClr val="bg1"/>
          </a:solidFill>
        </p:spPr>
        <p:txBody>
          <a:bodyPr wrap="none" lIns="36000" rtlCol="0">
            <a:spAutoFit/>
          </a:bodyPr>
          <a:lstStyle/>
          <a:p>
            <a:pPr algn="ctr"/>
            <a:r>
              <a:rPr lang="ru-RU" sz="1400"/>
              <a:t>Направление…</a:t>
            </a:r>
          </a:p>
        </p:txBody>
      </p:sp>
      <p:grpSp>
        <p:nvGrpSpPr>
          <p:cNvPr id="79" name="Группа 78">
            <a:extLst>
              <a:ext uri="{FF2B5EF4-FFF2-40B4-BE49-F238E27FC236}">
                <a16:creationId xmlns:a16="http://schemas.microsoft.com/office/drawing/2014/main" id="{DD92563A-9452-43CE-ACEE-2DB7CC360191}"/>
              </a:ext>
            </a:extLst>
          </p:cNvPr>
          <p:cNvGrpSpPr/>
          <p:nvPr/>
        </p:nvGrpSpPr>
        <p:grpSpPr>
          <a:xfrm>
            <a:off x="10833510" y="4581621"/>
            <a:ext cx="684201" cy="355161"/>
            <a:chOff x="3172569" y="1936856"/>
            <a:chExt cx="628556" cy="326275"/>
          </a:xfrm>
          <a:solidFill>
            <a:schemeClr val="accent3"/>
          </a:solidFill>
          <a:effectLst>
            <a:outerShdw blurRad="50800" dist="12700" algn="ctr" rotWithShape="0">
              <a:schemeClr val="accent3">
                <a:alpha val="30000"/>
              </a:schemeClr>
            </a:outerShdw>
          </a:effectLst>
        </p:grpSpPr>
        <p:sp>
          <p:nvSpPr>
            <p:cNvPr id="80" name="Полилиния: фигура 79">
              <a:extLst>
                <a:ext uri="{FF2B5EF4-FFF2-40B4-BE49-F238E27FC236}">
                  <a16:creationId xmlns:a16="http://schemas.microsoft.com/office/drawing/2014/main" id="{25E6236B-34C8-4F42-A1AB-6EC1A2A24FE8}"/>
                </a:ext>
              </a:extLst>
            </p:cNvPr>
            <p:cNvSpPr/>
            <p:nvPr/>
          </p:nvSpPr>
          <p:spPr>
            <a:xfrm>
              <a:off x="3501891" y="2040197"/>
              <a:ext cx="268764" cy="196146"/>
            </a:xfrm>
            <a:custGeom>
              <a:avLst/>
              <a:gdLst>
                <a:gd name="connsiteX0" fmla="*/ 6475 w 268764"/>
                <a:gd name="connsiteY0" fmla="*/ 196146 h 196146"/>
                <a:gd name="connsiteX1" fmla="*/ 0 w 268764"/>
                <a:gd name="connsiteY1" fmla="*/ 189671 h 196146"/>
                <a:gd name="connsiteX2" fmla="*/ 0 w 268764"/>
                <a:gd name="connsiteY2" fmla="*/ 23487 h 196146"/>
                <a:gd name="connsiteX3" fmla="*/ 23360 w 268764"/>
                <a:gd name="connsiteY3" fmla="*/ 0 h 196146"/>
                <a:gd name="connsiteX4" fmla="*/ 245405 w 268764"/>
                <a:gd name="connsiteY4" fmla="*/ 0 h 196146"/>
                <a:gd name="connsiteX5" fmla="*/ 268765 w 268764"/>
                <a:gd name="connsiteY5" fmla="*/ 23487 h 196146"/>
                <a:gd name="connsiteX6" fmla="*/ 268765 w 268764"/>
                <a:gd name="connsiteY6" fmla="*/ 189671 h 196146"/>
                <a:gd name="connsiteX7" fmla="*/ 262290 w 268764"/>
                <a:gd name="connsiteY7" fmla="*/ 196146 h 196146"/>
                <a:gd name="connsiteX8" fmla="*/ 6475 w 268764"/>
                <a:gd name="connsiteY8" fmla="*/ 196146 h 196146"/>
                <a:gd name="connsiteX9" fmla="*/ 255561 w 268764"/>
                <a:gd name="connsiteY9" fmla="*/ 183070 h 196146"/>
                <a:gd name="connsiteX10" fmla="*/ 255815 w 268764"/>
                <a:gd name="connsiteY10" fmla="*/ 23487 h 196146"/>
                <a:gd name="connsiteX11" fmla="*/ 245405 w 268764"/>
                <a:gd name="connsiteY11" fmla="*/ 13076 h 196146"/>
                <a:gd name="connsiteX12" fmla="*/ 23360 w 268764"/>
                <a:gd name="connsiteY12" fmla="*/ 13076 h 196146"/>
                <a:gd name="connsiteX13" fmla="*/ 12949 w 268764"/>
                <a:gd name="connsiteY13" fmla="*/ 23487 h 196146"/>
                <a:gd name="connsiteX14" fmla="*/ 12949 w 268764"/>
                <a:gd name="connsiteY14" fmla="*/ 182816 h 196146"/>
                <a:gd name="connsiteX15" fmla="*/ 255561 w 268764"/>
                <a:gd name="connsiteY15" fmla="*/ 183070 h 19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8764" h="196146">
                  <a:moveTo>
                    <a:pt x="6475" y="196146"/>
                  </a:moveTo>
                  <a:cubicBezTo>
                    <a:pt x="2920" y="196146"/>
                    <a:pt x="0" y="193226"/>
                    <a:pt x="0" y="189671"/>
                  </a:cubicBezTo>
                  <a:lnTo>
                    <a:pt x="0" y="23487"/>
                  </a:lnTo>
                  <a:cubicBezTo>
                    <a:pt x="0" y="10537"/>
                    <a:pt x="10537" y="0"/>
                    <a:pt x="23360" y="0"/>
                  </a:cubicBezTo>
                  <a:lnTo>
                    <a:pt x="245405" y="0"/>
                  </a:lnTo>
                  <a:cubicBezTo>
                    <a:pt x="258354" y="0"/>
                    <a:pt x="268765" y="10537"/>
                    <a:pt x="268765" y="23487"/>
                  </a:cubicBezTo>
                  <a:lnTo>
                    <a:pt x="268765" y="189671"/>
                  </a:lnTo>
                  <a:cubicBezTo>
                    <a:pt x="268765" y="193226"/>
                    <a:pt x="265845" y="196146"/>
                    <a:pt x="262290" y="196146"/>
                  </a:cubicBezTo>
                  <a:lnTo>
                    <a:pt x="6475" y="196146"/>
                  </a:lnTo>
                  <a:close/>
                  <a:moveTo>
                    <a:pt x="255561" y="183070"/>
                  </a:moveTo>
                  <a:lnTo>
                    <a:pt x="255815" y="23487"/>
                  </a:lnTo>
                  <a:cubicBezTo>
                    <a:pt x="255815" y="17774"/>
                    <a:pt x="251118" y="13076"/>
                    <a:pt x="245405" y="13076"/>
                  </a:cubicBezTo>
                  <a:lnTo>
                    <a:pt x="23360" y="13076"/>
                  </a:lnTo>
                  <a:cubicBezTo>
                    <a:pt x="17647" y="13076"/>
                    <a:pt x="12949" y="17774"/>
                    <a:pt x="12949" y="23487"/>
                  </a:cubicBezTo>
                  <a:lnTo>
                    <a:pt x="12949" y="182816"/>
                  </a:lnTo>
                  <a:lnTo>
                    <a:pt x="255561" y="183070"/>
                  </a:lnTo>
                  <a:close/>
                </a:path>
              </a:pathLst>
            </a:custGeom>
            <a:grpFill/>
            <a:ln w="12689" cap="flat">
              <a:noFill/>
              <a:prstDash val="solid"/>
              <a:miter/>
            </a:ln>
          </p:spPr>
          <p:txBody>
            <a:bodyPr rtlCol="0" anchor="ctr"/>
            <a:lstStyle/>
            <a:p>
              <a:endParaRPr lang="ru-RU"/>
            </a:p>
          </p:txBody>
        </p:sp>
        <p:sp>
          <p:nvSpPr>
            <p:cNvPr id="81" name="Полилиния: фигура 80">
              <a:extLst>
                <a:ext uri="{FF2B5EF4-FFF2-40B4-BE49-F238E27FC236}">
                  <a16:creationId xmlns:a16="http://schemas.microsoft.com/office/drawing/2014/main" id="{62D81EFE-D34E-4709-8272-198EAFC7E85C}"/>
                </a:ext>
              </a:extLst>
            </p:cNvPr>
            <p:cNvSpPr/>
            <p:nvPr/>
          </p:nvSpPr>
          <p:spPr>
            <a:xfrm>
              <a:off x="3471422" y="2223394"/>
              <a:ext cx="329703" cy="39737"/>
            </a:xfrm>
            <a:custGeom>
              <a:avLst/>
              <a:gdLst>
                <a:gd name="connsiteX0" fmla="*/ 33262 w 329703"/>
                <a:gd name="connsiteY0" fmla="*/ 39737 h 39737"/>
                <a:gd name="connsiteX1" fmla="*/ 0 w 329703"/>
                <a:gd name="connsiteY1" fmla="*/ 6475 h 39737"/>
                <a:gd name="connsiteX2" fmla="*/ 6475 w 329703"/>
                <a:gd name="connsiteY2" fmla="*/ 0 h 39737"/>
                <a:gd name="connsiteX3" fmla="*/ 323229 w 329703"/>
                <a:gd name="connsiteY3" fmla="*/ 0 h 39737"/>
                <a:gd name="connsiteX4" fmla="*/ 329703 w 329703"/>
                <a:gd name="connsiteY4" fmla="*/ 6475 h 39737"/>
                <a:gd name="connsiteX5" fmla="*/ 296441 w 329703"/>
                <a:gd name="connsiteY5" fmla="*/ 39737 h 39737"/>
                <a:gd name="connsiteX6" fmla="*/ 33262 w 329703"/>
                <a:gd name="connsiteY6" fmla="*/ 39737 h 39737"/>
                <a:gd name="connsiteX7" fmla="*/ 14092 w 329703"/>
                <a:gd name="connsiteY7" fmla="*/ 12949 h 39737"/>
                <a:gd name="connsiteX8" fmla="*/ 33262 w 329703"/>
                <a:gd name="connsiteY8" fmla="*/ 26661 h 39737"/>
                <a:gd name="connsiteX9" fmla="*/ 296441 w 329703"/>
                <a:gd name="connsiteY9" fmla="*/ 26661 h 39737"/>
                <a:gd name="connsiteX10" fmla="*/ 315484 w 329703"/>
                <a:gd name="connsiteY10" fmla="*/ 13203 h 39737"/>
                <a:gd name="connsiteX11" fmla="*/ 14092 w 329703"/>
                <a:gd name="connsiteY11" fmla="*/ 12949 h 3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703" h="39737">
                  <a:moveTo>
                    <a:pt x="33262" y="39737"/>
                  </a:moveTo>
                  <a:cubicBezTo>
                    <a:pt x="14854" y="39737"/>
                    <a:pt x="0" y="24756"/>
                    <a:pt x="0" y="6475"/>
                  </a:cubicBezTo>
                  <a:cubicBezTo>
                    <a:pt x="0" y="2920"/>
                    <a:pt x="2920" y="0"/>
                    <a:pt x="6475" y="0"/>
                  </a:cubicBezTo>
                  <a:lnTo>
                    <a:pt x="323229" y="0"/>
                  </a:lnTo>
                  <a:cubicBezTo>
                    <a:pt x="326783" y="0"/>
                    <a:pt x="329703" y="2920"/>
                    <a:pt x="329703" y="6475"/>
                  </a:cubicBezTo>
                  <a:cubicBezTo>
                    <a:pt x="329703" y="24883"/>
                    <a:pt x="314723" y="39737"/>
                    <a:pt x="296441" y="39737"/>
                  </a:cubicBezTo>
                  <a:lnTo>
                    <a:pt x="33262" y="39737"/>
                  </a:lnTo>
                  <a:close/>
                  <a:moveTo>
                    <a:pt x="14092" y="12949"/>
                  </a:moveTo>
                  <a:cubicBezTo>
                    <a:pt x="16885" y="21075"/>
                    <a:pt x="24629" y="26661"/>
                    <a:pt x="33262" y="26661"/>
                  </a:cubicBezTo>
                  <a:lnTo>
                    <a:pt x="296441" y="26661"/>
                  </a:lnTo>
                  <a:cubicBezTo>
                    <a:pt x="304947" y="26661"/>
                    <a:pt x="312564" y="21202"/>
                    <a:pt x="315484" y="13203"/>
                  </a:cubicBezTo>
                  <a:lnTo>
                    <a:pt x="14092" y="12949"/>
                  </a:lnTo>
                  <a:close/>
                </a:path>
              </a:pathLst>
            </a:custGeom>
            <a:grpFill/>
            <a:ln w="12689" cap="flat">
              <a:noFill/>
              <a:prstDash val="solid"/>
              <a:miter/>
            </a:ln>
          </p:spPr>
          <p:txBody>
            <a:bodyPr rtlCol="0" anchor="ctr"/>
            <a:lstStyle/>
            <a:p>
              <a:endParaRPr lang="ru-RU"/>
            </a:p>
          </p:txBody>
        </p:sp>
        <p:sp>
          <p:nvSpPr>
            <p:cNvPr id="82" name="Полилиния: фигура 81">
              <a:extLst>
                <a:ext uri="{FF2B5EF4-FFF2-40B4-BE49-F238E27FC236}">
                  <a16:creationId xmlns:a16="http://schemas.microsoft.com/office/drawing/2014/main" id="{214BA7CA-C04B-481C-944E-98713D9105F1}"/>
                </a:ext>
              </a:extLst>
            </p:cNvPr>
            <p:cNvSpPr/>
            <p:nvPr/>
          </p:nvSpPr>
          <p:spPr>
            <a:xfrm>
              <a:off x="3172569" y="1936856"/>
              <a:ext cx="412986" cy="280063"/>
            </a:xfrm>
            <a:custGeom>
              <a:avLst/>
              <a:gdLst>
                <a:gd name="connsiteX0" fmla="*/ 33770 w 412986"/>
                <a:gd name="connsiteY0" fmla="*/ 280064 h 280063"/>
                <a:gd name="connsiteX1" fmla="*/ 0 w 412986"/>
                <a:gd name="connsiteY1" fmla="*/ 246294 h 280063"/>
                <a:gd name="connsiteX2" fmla="*/ 0 w 412986"/>
                <a:gd name="connsiteY2" fmla="*/ 33770 h 280063"/>
                <a:gd name="connsiteX3" fmla="*/ 33770 w 412986"/>
                <a:gd name="connsiteY3" fmla="*/ 0 h 280063"/>
                <a:gd name="connsiteX4" fmla="*/ 379216 w 412986"/>
                <a:gd name="connsiteY4" fmla="*/ 0 h 280063"/>
                <a:gd name="connsiteX5" fmla="*/ 412986 w 412986"/>
                <a:gd name="connsiteY5" fmla="*/ 33770 h 280063"/>
                <a:gd name="connsiteX6" fmla="*/ 412986 w 412986"/>
                <a:gd name="connsiteY6" fmla="*/ 106770 h 280063"/>
                <a:gd name="connsiteX7" fmla="*/ 406511 w 412986"/>
                <a:gd name="connsiteY7" fmla="*/ 113244 h 280063"/>
                <a:gd name="connsiteX8" fmla="*/ 400037 w 412986"/>
                <a:gd name="connsiteY8" fmla="*/ 106770 h 280063"/>
                <a:gd name="connsiteX9" fmla="*/ 400037 w 412986"/>
                <a:gd name="connsiteY9" fmla="*/ 33770 h 280063"/>
                <a:gd name="connsiteX10" fmla="*/ 379216 w 412986"/>
                <a:gd name="connsiteY10" fmla="*/ 13076 h 280063"/>
                <a:gd name="connsiteX11" fmla="*/ 33770 w 412986"/>
                <a:gd name="connsiteY11" fmla="*/ 13076 h 280063"/>
                <a:gd name="connsiteX12" fmla="*/ 12949 w 412986"/>
                <a:gd name="connsiteY12" fmla="*/ 33770 h 280063"/>
                <a:gd name="connsiteX13" fmla="*/ 12949 w 412986"/>
                <a:gd name="connsiteY13" fmla="*/ 246294 h 280063"/>
                <a:gd name="connsiteX14" fmla="*/ 33770 w 412986"/>
                <a:gd name="connsiteY14" fmla="*/ 266987 h 280063"/>
                <a:gd name="connsiteX15" fmla="*/ 332750 w 412986"/>
                <a:gd name="connsiteY15" fmla="*/ 266987 h 280063"/>
                <a:gd name="connsiteX16" fmla="*/ 339225 w 412986"/>
                <a:gd name="connsiteY16" fmla="*/ 273462 h 280063"/>
                <a:gd name="connsiteX17" fmla="*/ 332750 w 412986"/>
                <a:gd name="connsiteY17" fmla="*/ 279937 h 280063"/>
                <a:gd name="connsiteX18" fmla="*/ 33770 w 412986"/>
                <a:gd name="connsiteY18" fmla="*/ 279937 h 28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2986" h="280063">
                  <a:moveTo>
                    <a:pt x="33770" y="280064"/>
                  </a:moveTo>
                  <a:cubicBezTo>
                    <a:pt x="15108" y="280064"/>
                    <a:pt x="0" y="264956"/>
                    <a:pt x="0" y="246294"/>
                  </a:cubicBezTo>
                  <a:lnTo>
                    <a:pt x="0" y="33770"/>
                  </a:lnTo>
                  <a:cubicBezTo>
                    <a:pt x="0" y="15108"/>
                    <a:pt x="15108" y="0"/>
                    <a:pt x="33770" y="0"/>
                  </a:cubicBezTo>
                  <a:lnTo>
                    <a:pt x="379216" y="0"/>
                  </a:lnTo>
                  <a:cubicBezTo>
                    <a:pt x="397878" y="0"/>
                    <a:pt x="412986" y="15108"/>
                    <a:pt x="412986" y="33770"/>
                  </a:cubicBezTo>
                  <a:lnTo>
                    <a:pt x="412986" y="106770"/>
                  </a:lnTo>
                  <a:cubicBezTo>
                    <a:pt x="412986" y="110324"/>
                    <a:pt x="410066" y="113244"/>
                    <a:pt x="406511" y="113244"/>
                  </a:cubicBezTo>
                  <a:cubicBezTo>
                    <a:pt x="402957" y="113244"/>
                    <a:pt x="400037" y="110324"/>
                    <a:pt x="400037" y="106770"/>
                  </a:cubicBezTo>
                  <a:lnTo>
                    <a:pt x="400037" y="33770"/>
                  </a:lnTo>
                  <a:cubicBezTo>
                    <a:pt x="400037" y="22344"/>
                    <a:pt x="390769" y="13076"/>
                    <a:pt x="379216" y="13076"/>
                  </a:cubicBezTo>
                  <a:lnTo>
                    <a:pt x="33770" y="13076"/>
                  </a:lnTo>
                  <a:cubicBezTo>
                    <a:pt x="22344" y="13076"/>
                    <a:pt x="12949" y="22344"/>
                    <a:pt x="12949" y="33770"/>
                  </a:cubicBezTo>
                  <a:lnTo>
                    <a:pt x="12949" y="246294"/>
                  </a:lnTo>
                  <a:cubicBezTo>
                    <a:pt x="12949" y="257720"/>
                    <a:pt x="22217" y="266987"/>
                    <a:pt x="33770" y="266987"/>
                  </a:cubicBezTo>
                  <a:lnTo>
                    <a:pt x="332750" y="266987"/>
                  </a:lnTo>
                  <a:cubicBezTo>
                    <a:pt x="336305" y="266987"/>
                    <a:pt x="339225" y="269907"/>
                    <a:pt x="339225" y="273462"/>
                  </a:cubicBezTo>
                  <a:cubicBezTo>
                    <a:pt x="339225" y="277017"/>
                    <a:pt x="336305" y="279937"/>
                    <a:pt x="332750" y="279937"/>
                  </a:cubicBezTo>
                  <a:lnTo>
                    <a:pt x="33770" y="279937"/>
                  </a:lnTo>
                  <a:close/>
                </a:path>
              </a:pathLst>
            </a:custGeom>
            <a:grpFill/>
            <a:ln w="12689" cap="flat">
              <a:noFill/>
              <a:prstDash val="solid"/>
              <a:miter/>
            </a:ln>
          </p:spPr>
          <p:txBody>
            <a:bodyPr rtlCol="0" anchor="ctr"/>
            <a:lstStyle/>
            <a:p>
              <a:endParaRPr lang="ru-RU"/>
            </a:p>
          </p:txBody>
        </p:sp>
        <p:sp>
          <p:nvSpPr>
            <p:cNvPr id="83" name="Полилиния: фигура 82">
              <a:extLst>
                <a:ext uri="{FF2B5EF4-FFF2-40B4-BE49-F238E27FC236}">
                  <a16:creationId xmlns:a16="http://schemas.microsoft.com/office/drawing/2014/main" id="{26E77858-F412-44A1-B8B6-7D7A331B96FB}"/>
                </a:ext>
              </a:extLst>
            </p:cNvPr>
            <p:cNvSpPr/>
            <p:nvPr/>
          </p:nvSpPr>
          <p:spPr>
            <a:xfrm>
              <a:off x="3172569" y="2153061"/>
              <a:ext cx="340621" cy="63858"/>
            </a:xfrm>
            <a:custGeom>
              <a:avLst/>
              <a:gdLst>
                <a:gd name="connsiteX0" fmla="*/ 33770 w 340621"/>
                <a:gd name="connsiteY0" fmla="*/ 63859 h 63858"/>
                <a:gd name="connsiteX1" fmla="*/ 0 w 340621"/>
                <a:gd name="connsiteY1" fmla="*/ 30088 h 63858"/>
                <a:gd name="connsiteX2" fmla="*/ 0 w 340621"/>
                <a:gd name="connsiteY2" fmla="*/ 6475 h 63858"/>
                <a:gd name="connsiteX3" fmla="*/ 6475 w 340621"/>
                <a:gd name="connsiteY3" fmla="*/ 0 h 63858"/>
                <a:gd name="connsiteX4" fmla="*/ 334147 w 340621"/>
                <a:gd name="connsiteY4" fmla="*/ 0 h 63858"/>
                <a:gd name="connsiteX5" fmla="*/ 340622 w 340621"/>
                <a:gd name="connsiteY5" fmla="*/ 6475 h 63858"/>
                <a:gd name="connsiteX6" fmla="*/ 334147 w 340621"/>
                <a:gd name="connsiteY6" fmla="*/ 12949 h 63858"/>
                <a:gd name="connsiteX7" fmla="*/ 13330 w 340621"/>
                <a:gd name="connsiteY7" fmla="*/ 12949 h 63858"/>
                <a:gd name="connsiteX8" fmla="*/ 13076 w 340621"/>
                <a:gd name="connsiteY8" fmla="*/ 29962 h 63858"/>
                <a:gd name="connsiteX9" fmla="*/ 33897 w 340621"/>
                <a:gd name="connsiteY9" fmla="*/ 50655 h 63858"/>
                <a:gd name="connsiteX10" fmla="*/ 332877 w 340621"/>
                <a:gd name="connsiteY10" fmla="*/ 50655 h 63858"/>
                <a:gd name="connsiteX11" fmla="*/ 339352 w 340621"/>
                <a:gd name="connsiteY11" fmla="*/ 57130 h 63858"/>
                <a:gd name="connsiteX12" fmla="*/ 332877 w 340621"/>
                <a:gd name="connsiteY12" fmla="*/ 63605 h 63858"/>
                <a:gd name="connsiteX13" fmla="*/ 33770 w 340621"/>
                <a:gd name="connsiteY13" fmla="*/ 63605 h 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621" h="63858">
                  <a:moveTo>
                    <a:pt x="33770" y="63859"/>
                  </a:moveTo>
                  <a:cubicBezTo>
                    <a:pt x="15108" y="63859"/>
                    <a:pt x="0" y="48751"/>
                    <a:pt x="0" y="30088"/>
                  </a:cubicBezTo>
                  <a:lnTo>
                    <a:pt x="0" y="6475"/>
                  </a:lnTo>
                  <a:cubicBezTo>
                    <a:pt x="0" y="2920"/>
                    <a:pt x="2920" y="0"/>
                    <a:pt x="6475" y="0"/>
                  </a:cubicBezTo>
                  <a:lnTo>
                    <a:pt x="334147" y="0"/>
                  </a:lnTo>
                  <a:cubicBezTo>
                    <a:pt x="337701" y="0"/>
                    <a:pt x="340622" y="2920"/>
                    <a:pt x="340622" y="6475"/>
                  </a:cubicBezTo>
                  <a:cubicBezTo>
                    <a:pt x="340622" y="10029"/>
                    <a:pt x="337701" y="12949"/>
                    <a:pt x="334147" y="12949"/>
                  </a:cubicBezTo>
                  <a:lnTo>
                    <a:pt x="13330" y="12949"/>
                  </a:lnTo>
                  <a:lnTo>
                    <a:pt x="13076" y="29962"/>
                  </a:lnTo>
                  <a:cubicBezTo>
                    <a:pt x="13076" y="41387"/>
                    <a:pt x="22344" y="50655"/>
                    <a:pt x="33897" y="50655"/>
                  </a:cubicBezTo>
                  <a:lnTo>
                    <a:pt x="332877" y="50655"/>
                  </a:lnTo>
                  <a:cubicBezTo>
                    <a:pt x="336432" y="50655"/>
                    <a:pt x="339352" y="53575"/>
                    <a:pt x="339352" y="57130"/>
                  </a:cubicBezTo>
                  <a:cubicBezTo>
                    <a:pt x="339352" y="60685"/>
                    <a:pt x="336432" y="63605"/>
                    <a:pt x="332877" y="63605"/>
                  </a:cubicBezTo>
                  <a:lnTo>
                    <a:pt x="33770" y="63605"/>
                  </a:lnTo>
                  <a:close/>
                </a:path>
              </a:pathLst>
            </a:custGeom>
            <a:grpFill/>
            <a:ln w="12689" cap="flat">
              <a:noFill/>
              <a:prstDash val="solid"/>
              <a:miter/>
            </a:ln>
          </p:spPr>
          <p:txBody>
            <a:bodyPr rtlCol="0" anchor="ctr"/>
            <a:lstStyle/>
            <a:p>
              <a:endParaRPr lang="ru-RU"/>
            </a:p>
          </p:txBody>
        </p:sp>
        <p:sp>
          <p:nvSpPr>
            <p:cNvPr id="84" name="Полилиния: фигура 83">
              <a:extLst>
                <a:ext uri="{FF2B5EF4-FFF2-40B4-BE49-F238E27FC236}">
                  <a16:creationId xmlns:a16="http://schemas.microsoft.com/office/drawing/2014/main" id="{DBA93E09-5B96-4D5A-A2D7-F9CB450D7DA0}"/>
                </a:ext>
              </a:extLst>
            </p:cNvPr>
            <p:cNvSpPr/>
            <p:nvPr/>
          </p:nvSpPr>
          <p:spPr>
            <a:xfrm>
              <a:off x="3350941" y="2203970"/>
              <a:ext cx="56241" cy="59161"/>
            </a:xfrm>
            <a:custGeom>
              <a:avLst/>
              <a:gdLst>
                <a:gd name="connsiteX0" fmla="*/ 6475 w 56241"/>
                <a:gd name="connsiteY0" fmla="*/ 59161 h 59161"/>
                <a:gd name="connsiteX1" fmla="*/ 0 w 56241"/>
                <a:gd name="connsiteY1" fmla="*/ 52687 h 59161"/>
                <a:gd name="connsiteX2" fmla="*/ 0 w 56241"/>
                <a:gd name="connsiteY2" fmla="*/ 6475 h 59161"/>
                <a:gd name="connsiteX3" fmla="*/ 6475 w 56241"/>
                <a:gd name="connsiteY3" fmla="*/ 0 h 59161"/>
                <a:gd name="connsiteX4" fmla="*/ 49767 w 56241"/>
                <a:gd name="connsiteY4" fmla="*/ 0 h 59161"/>
                <a:gd name="connsiteX5" fmla="*/ 56241 w 56241"/>
                <a:gd name="connsiteY5" fmla="*/ 6475 h 59161"/>
                <a:gd name="connsiteX6" fmla="*/ 56241 w 56241"/>
                <a:gd name="connsiteY6" fmla="*/ 52687 h 59161"/>
                <a:gd name="connsiteX7" fmla="*/ 49767 w 56241"/>
                <a:gd name="connsiteY7" fmla="*/ 59161 h 59161"/>
                <a:gd name="connsiteX8" fmla="*/ 6475 w 56241"/>
                <a:gd name="connsiteY8" fmla="*/ 59161 h 59161"/>
                <a:gd name="connsiteX9" fmla="*/ 42911 w 56241"/>
                <a:gd name="connsiteY9" fmla="*/ 46085 h 59161"/>
                <a:gd name="connsiteX10" fmla="*/ 43165 w 56241"/>
                <a:gd name="connsiteY10" fmla="*/ 13203 h 59161"/>
                <a:gd name="connsiteX11" fmla="*/ 12950 w 56241"/>
                <a:gd name="connsiteY11" fmla="*/ 12949 h 59161"/>
                <a:gd name="connsiteX12" fmla="*/ 12950 w 56241"/>
                <a:gd name="connsiteY12" fmla="*/ 45831 h 59161"/>
                <a:gd name="connsiteX13" fmla="*/ 42911 w 56241"/>
                <a:gd name="connsiteY13" fmla="*/ 46085 h 5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241" h="59161">
                  <a:moveTo>
                    <a:pt x="6475" y="59161"/>
                  </a:moveTo>
                  <a:cubicBezTo>
                    <a:pt x="2920" y="59161"/>
                    <a:pt x="0" y="56241"/>
                    <a:pt x="0" y="52687"/>
                  </a:cubicBezTo>
                  <a:lnTo>
                    <a:pt x="0" y="6475"/>
                  </a:lnTo>
                  <a:cubicBezTo>
                    <a:pt x="0" y="2920"/>
                    <a:pt x="2920" y="0"/>
                    <a:pt x="6475" y="0"/>
                  </a:cubicBezTo>
                  <a:lnTo>
                    <a:pt x="49767" y="0"/>
                  </a:lnTo>
                  <a:cubicBezTo>
                    <a:pt x="53321" y="0"/>
                    <a:pt x="56241" y="2920"/>
                    <a:pt x="56241" y="6475"/>
                  </a:cubicBezTo>
                  <a:lnTo>
                    <a:pt x="56241" y="52687"/>
                  </a:lnTo>
                  <a:cubicBezTo>
                    <a:pt x="56241" y="56241"/>
                    <a:pt x="53321" y="59161"/>
                    <a:pt x="49767" y="59161"/>
                  </a:cubicBezTo>
                  <a:lnTo>
                    <a:pt x="6475" y="59161"/>
                  </a:lnTo>
                  <a:close/>
                  <a:moveTo>
                    <a:pt x="42911" y="46085"/>
                  </a:moveTo>
                  <a:lnTo>
                    <a:pt x="43165" y="13203"/>
                  </a:lnTo>
                  <a:lnTo>
                    <a:pt x="12950" y="12949"/>
                  </a:lnTo>
                  <a:lnTo>
                    <a:pt x="12950" y="45831"/>
                  </a:lnTo>
                  <a:lnTo>
                    <a:pt x="42911" y="46085"/>
                  </a:lnTo>
                  <a:close/>
                </a:path>
              </a:pathLst>
            </a:custGeom>
            <a:grpFill/>
            <a:ln w="12689" cap="flat">
              <a:noFill/>
              <a:prstDash val="solid"/>
              <a:miter/>
            </a:ln>
          </p:spPr>
          <p:txBody>
            <a:bodyPr rtlCol="0" anchor="ctr"/>
            <a:lstStyle/>
            <a:p>
              <a:endParaRPr lang="ru-RU"/>
            </a:p>
          </p:txBody>
        </p:sp>
        <p:sp>
          <p:nvSpPr>
            <p:cNvPr id="85" name="Полилиния: фигура 84">
              <a:extLst>
                <a:ext uri="{FF2B5EF4-FFF2-40B4-BE49-F238E27FC236}">
                  <a16:creationId xmlns:a16="http://schemas.microsoft.com/office/drawing/2014/main" id="{E6125A8C-F844-4A7C-BF50-C71FFD0D471A}"/>
                </a:ext>
              </a:extLst>
            </p:cNvPr>
            <p:cNvSpPr/>
            <p:nvPr/>
          </p:nvSpPr>
          <p:spPr>
            <a:xfrm>
              <a:off x="3309808" y="2250182"/>
              <a:ext cx="138508" cy="12949"/>
            </a:xfrm>
            <a:custGeom>
              <a:avLst/>
              <a:gdLst>
                <a:gd name="connsiteX0" fmla="*/ 6475 w 138508"/>
                <a:gd name="connsiteY0" fmla="*/ 12949 h 12949"/>
                <a:gd name="connsiteX1" fmla="*/ 0 w 138508"/>
                <a:gd name="connsiteY1" fmla="*/ 6475 h 12949"/>
                <a:gd name="connsiteX2" fmla="*/ 6475 w 138508"/>
                <a:gd name="connsiteY2" fmla="*/ 0 h 12949"/>
                <a:gd name="connsiteX3" fmla="*/ 132034 w 138508"/>
                <a:gd name="connsiteY3" fmla="*/ 0 h 12949"/>
                <a:gd name="connsiteX4" fmla="*/ 138508 w 138508"/>
                <a:gd name="connsiteY4" fmla="*/ 6475 h 12949"/>
                <a:gd name="connsiteX5" fmla="*/ 132034 w 138508"/>
                <a:gd name="connsiteY5" fmla="*/ 12949 h 12949"/>
                <a:gd name="connsiteX6" fmla="*/ 6475 w 138508"/>
                <a:gd name="connsiteY6" fmla="*/ 12949 h 1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508" h="12949">
                  <a:moveTo>
                    <a:pt x="6475" y="12949"/>
                  </a:moveTo>
                  <a:cubicBezTo>
                    <a:pt x="2920" y="12949"/>
                    <a:pt x="0" y="10029"/>
                    <a:pt x="0" y="6475"/>
                  </a:cubicBezTo>
                  <a:cubicBezTo>
                    <a:pt x="0" y="2920"/>
                    <a:pt x="2920" y="0"/>
                    <a:pt x="6475" y="0"/>
                  </a:cubicBezTo>
                  <a:lnTo>
                    <a:pt x="132034" y="0"/>
                  </a:lnTo>
                  <a:cubicBezTo>
                    <a:pt x="135588" y="0"/>
                    <a:pt x="138508" y="2920"/>
                    <a:pt x="138508" y="6475"/>
                  </a:cubicBezTo>
                  <a:cubicBezTo>
                    <a:pt x="138508" y="10029"/>
                    <a:pt x="135588" y="12949"/>
                    <a:pt x="132034" y="12949"/>
                  </a:cubicBezTo>
                  <a:lnTo>
                    <a:pt x="6475" y="12949"/>
                  </a:lnTo>
                  <a:close/>
                </a:path>
              </a:pathLst>
            </a:custGeom>
            <a:grpFill/>
            <a:ln w="12689" cap="flat">
              <a:noFill/>
              <a:prstDash val="solid"/>
              <a:miter/>
            </a:ln>
          </p:spPr>
          <p:txBody>
            <a:bodyPr rtlCol="0" anchor="ctr"/>
            <a:lstStyle/>
            <a:p>
              <a:endParaRPr lang="ru-RU"/>
            </a:p>
          </p:txBody>
        </p:sp>
      </p:grpSp>
      <p:grpSp>
        <p:nvGrpSpPr>
          <p:cNvPr id="86" name="Группа 85">
            <a:extLst>
              <a:ext uri="{FF2B5EF4-FFF2-40B4-BE49-F238E27FC236}">
                <a16:creationId xmlns:a16="http://schemas.microsoft.com/office/drawing/2014/main" id="{8341BA51-87C5-4858-93A6-9FCCE3EC239D}"/>
              </a:ext>
            </a:extLst>
          </p:cNvPr>
          <p:cNvGrpSpPr/>
          <p:nvPr/>
        </p:nvGrpSpPr>
        <p:grpSpPr>
          <a:xfrm>
            <a:off x="10949956" y="5468639"/>
            <a:ext cx="451298" cy="492049"/>
            <a:chOff x="11151116" y="3939105"/>
            <a:chExt cx="451298" cy="492049"/>
          </a:xfrm>
          <a:solidFill>
            <a:schemeClr val="accent4"/>
          </a:solidFill>
          <a:effectLst>
            <a:outerShdw blurRad="50800" dist="12700" algn="ctr" rotWithShape="0">
              <a:schemeClr val="accent4">
                <a:alpha val="30000"/>
              </a:schemeClr>
            </a:outerShdw>
          </a:effectLst>
        </p:grpSpPr>
        <p:sp>
          <p:nvSpPr>
            <p:cNvPr id="87" name="Полилиния: фигура 86">
              <a:extLst>
                <a:ext uri="{FF2B5EF4-FFF2-40B4-BE49-F238E27FC236}">
                  <a16:creationId xmlns:a16="http://schemas.microsoft.com/office/drawing/2014/main" id="{0C04D404-72E0-4149-99BD-B9791AF0B019}"/>
                </a:ext>
              </a:extLst>
            </p:cNvPr>
            <p:cNvSpPr/>
            <p:nvPr/>
          </p:nvSpPr>
          <p:spPr>
            <a:xfrm>
              <a:off x="11334011" y="4163027"/>
              <a:ext cx="85370" cy="105261"/>
            </a:xfrm>
            <a:custGeom>
              <a:avLst/>
              <a:gdLst>
                <a:gd name="connsiteX0" fmla="*/ 42685 w 85370"/>
                <a:gd name="connsiteY0" fmla="*/ 105261 h 105261"/>
                <a:gd name="connsiteX1" fmla="*/ 0 w 85370"/>
                <a:gd name="connsiteY1" fmla="*/ 59123 h 105261"/>
                <a:gd name="connsiteX2" fmla="*/ 0 w 85370"/>
                <a:gd name="connsiteY2" fmla="*/ 46138 h 105261"/>
                <a:gd name="connsiteX3" fmla="*/ 42685 w 85370"/>
                <a:gd name="connsiteY3" fmla="*/ 0 h 105261"/>
                <a:gd name="connsiteX4" fmla="*/ 85370 w 85370"/>
                <a:gd name="connsiteY4" fmla="*/ 46138 h 105261"/>
                <a:gd name="connsiteX5" fmla="*/ 85370 w 85370"/>
                <a:gd name="connsiteY5" fmla="*/ 59123 h 105261"/>
                <a:gd name="connsiteX6" fmla="*/ 42685 w 85370"/>
                <a:gd name="connsiteY6" fmla="*/ 105261 h 105261"/>
                <a:gd name="connsiteX7" fmla="*/ 42685 w 85370"/>
                <a:gd name="connsiteY7" fmla="*/ 14090 h 105261"/>
                <a:gd name="connsiteX8" fmla="*/ 14229 w 85370"/>
                <a:gd name="connsiteY8" fmla="*/ 46138 h 105261"/>
                <a:gd name="connsiteX9" fmla="*/ 14229 w 85370"/>
                <a:gd name="connsiteY9" fmla="*/ 59123 h 105261"/>
                <a:gd name="connsiteX10" fmla="*/ 42685 w 85370"/>
                <a:gd name="connsiteY10" fmla="*/ 91171 h 105261"/>
                <a:gd name="connsiteX11" fmla="*/ 71142 w 85370"/>
                <a:gd name="connsiteY11" fmla="*/ 59123 h 105261"/>
                <a:gd name="connsiteX12" fmla="*/ 71142 w 85370"/>
                <a:gd name="connsiteY12" fmla="*/ 46138 h 105261"/>
                <a:gd name="connsiteX13" fmla="*/ 42685 w 85370"/>
                <a:gd name="connsiteY13" fmla="*/ 14090 h 10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370" h="105261">
                  <a:moveTo>
                    <a:pt x="42685" y="105261"/>
                  </a:moveTo>
                  <a:cubicBezTo>
                    <a:pt x="18373" y="105261"/>
                    <a:pt x="0" y="85370"/>
                    <a:pt x="0" y="59123"/>
                  </a:cubicBezTo>
                  <a:lnTo>
                    <a:pt x="0" y="46138"/>
                  </a:lnTo>
                  <a:cubicBezTo>
                    <a:pt x="0" y="19754"/>
                    <a:pt x="18373" y="0"/>
                    <a:pt x="42685" y="0"/>
                  </a:cubicBezTo>
                  <a:cubicBezTo>
                    <a:pt x="66998" y="0"/>
                    <a:pt x="85370" y="19892"/>
                    <a:pt x="85370" y="46138"/>
                  </a:cubicBezTo>
                  <a:lnTo>
                    <a:pt x="85370" y="59123"/>
                  </a:lnTo>
                  <a:cubicBezTo>
                    <a:pt x="85370" y="85370"/>
                    <a:pt x="66998" y="105261"/>
                    <a:pt x="42685" y="105261"/>
                  </a:cubicBezTo>
                  <a:close/>
                  <a:moveTo>
                    <a:pt x="42685" y="14090"/>
                  </a:moveTo>
                  <a:cubicBezTo>
                    <a:pt x="26247" y="14090"/>
                    <a:pt x="14229" y="27490"/>
                    <a:pt x="14229" y="46138"/>
                  </a:cubicBezTo>
                  <a:lnTo>
                    <a:pt x="14229" y="59123"/>
                  </a:lnTo>
                  <a:cubicBezTo>
                    <a:pt x="14229" y="77634"/>
                    <a:pt x="26247" y="91171"/>
                    <a:pt x="42685" y="91171"/>
                  </a:cubicBezTo>
                  <a:cubicBezTo>
                    <a:pt x="59124" y="91171"/>
                    <a:pt x="71142" y="77772"/>
                    <a:pt x="71142" y="59123"/>
                  </a:cubicBezTo>
                  <a:lnTo>
                    <a:pt x="71142" y="46138"/>
                  </a:lnTo>
                  <a:cubicBezTo>
                    <a:pt x="71142" y="27490"/>
                    <a:pt x="59262" y="14090"/>
                    <a:pt x="42685" y="14090"/>
                  </a:cubicBezTo>
                  <a:close/>
                </a:path>
              </a:pathLst>
            </a:custGeom>
            <a:grpFill/>
            <a:ln w="13803" cap="flat">
              <a:noFill/>
              <a:prstDash val="solid"/>
              <a:miter/>
            </a:ln>
          </p:spPr>
          <p:txBody>
            <a:bodyPr rtlCol="0" anchor="ctr"/>
            <a:lstStyle/>
            <a:p>
              <a:endParaRPr lang="ru-RU"/>
            </a:p>
          </p:txBody>
        </p:sp>
        <p:sp>
          <p:nvSpPr>
            <p:cNvPr id="88" name="Полилиния: фигура 87">
              <a:extLst>
                <a:ext uri="{FF2B5EF4-FFF2-40B4-BE49-F238E27FC236}">
                  <a16:creationId xmlns:a16="http://schemas.microsoft.com/office/drawing/2014/main" id="{B76F84BC-E865-4750-B0E6-02258E619DA2}"/>
                </a:ext>
              </a:extLst>
            </p:cNvPr>
            <p:cNvSpPr/>
            <p:nvPr/>
          </p:nvSpPr>
          <p:spPr>
            <a:xfrm>
              <a:off x="11181507" y="4182781"/>
              <a:ext cx="85369" cy="105675"/>
            </a:xfrm>
            <a:custGeom>
              <a:avLst/>
              <a:gdLst>
                <a:gd name="connsiteX0" fmla="*/ 42685 w 85369"/>
                <a:gd name="connsiteY0" fmla="*/ 105676 h 105675"/>
                <a:gd name="connsiteX1" fmla="*/ 0 w 85369"/>
                <a:gd name="connsiteY1" fmla="*/ 59399 h 105675"/>
                <a:gd name="connsiteX2" fmla="*/ 0 w 85369"/>
                <a:gd name="connsiteY2" fmla="*/ 46276 h 105675"/>
                <a:gd name="connsiteX3" fmla="*/ 42685 w 85369"/>
                <a:gd name="connsiteY3" fmla="*/ 0 h 105675"/>
                <a:gd name="connsiteX4" fmla="*/ 85369 w 85369"/>
                <a:gd name="connsiteY4" fmla="*/ 46276 h 105675"/>
                <a:gd name="connsiteX5" fmla="*/ 85369 w 85369"/>
                <a:gd name="connsiteY5" fmla="*/ 59399 h 105675"/>
                <a:gd name="connsiteX6" fmla="*/ 42685 w 85369"/>
                <a:gd name="connsiteY6" fmla="*/ 105676 h 105675"/>
                <a:gd name="connsiteX7" fmla="*/ 42685 w 85369"/>
                <a:gd name="connsiteY7" fmla="*/ 14228 h 105675"/>
                <a:gd name="connsiteX8" fmla="*/ 14229 w 85369"/>
                <a:gd name="connsiteY8" fmla="*/ 46276 h 105675"/>
                <a:gd name="connsiteX9" fmla="*/ 14229 w 85369"/>
                <a:gd name="connsiteY9" fmla="*/ 59399 h 105675"/>
                <a:gd name="connsiteX10" fmla="*/ 42685 w 85369"/>
                <a:gd name="connsiteY10" fmla="*/ 91448 h 105675"/>
                <a:gd name="connsiteX11" fmla="*/ 71142 w 85369"/>
                <a:gd name="connsiteY11" fmla="*/ 59399 h 105675"/>
                <a:gd name="connsiteX12" fmla="*/ 71142 w 85369"/>
                <a:gd name="connsiteY12" fmla="*/ 46276 h 105675"/>
                <a:gd name="connsiteX13" fmla="*/ 42685 w 85369"/>
                <a:gd name="connsiteY13" fmla="*/ 14228 h 10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369" h="105675">
                  <a:moveTo>
                    <a:pt x="42685" y="105676"/>
                  </a:moveTo>
                  <a:cubicBezTo>
                    <a:pt x="18373" y="105676"/>
                    <a:pt x="0" y="85784"/>
                    <a:pt x="0" y="59399"/>
                  </a:cubicBezTo>
                  <a:lnTo>
                    <a:pt x="0" y="46276"/>
                  </a:lnTo>
                  <a:cubicBezTo>
                    <a:pt x="0" y="19892"/>
                    <a:pt x="18373" y="0"/>
                    <a:pt x="42685" y="0"/>
                  </a:cubicBezTo>
                  <a:cubicBezTo>
                    <a:pt x="66997" y="0"/>
                    <a:pt x="85369" y="19892"/>
                    <a:pt x="85369" y="46276"/>
                  </a:cubicBezTo>
                  <a:lnTo>
                    <a:pt x="85369" y="59399"/>
                  </a:lnTo>
                  <a:cubicBezTo>
                    <a:pt x="85369" y="85784"/>
                    <a:pt x="66997" y="105676"/>
                    <a:pt x="42685" y="105676"/>
                  </a:cubicBezTo>
                  <a:close/>
                  <a:moveTo>
                    <a:pt x="42685" y="14228"/>
                  </a:moveTo>
                  <a:cubicBezTo>
                    <a:pt x="26247" y="14228"/>
                    <a:pt x="14229" y="27766"/>
                    <a:pt x="14229" y="46276"/>
                  </a:cubicBezTo>
                  <a:lnTo>
                    <a:pt x="14229" y="59399"/>
                  </a:lnTo>
                  <a:cubicBezTo>
                    <a:pt x="14229" y="78048"/>
                    <a:pt x="26247" y="91448"/>
                    <a:pt x="42685" y="91448"/>
                  </a:cubicBezTo>
                  <a:cubicBezTo>
                    <a:pt x="59124" y="91448"/>
                    <a:pt x="71142" y="77910"/>
                    <a:pt x="71142" y="59399"/>
                  </a:cubicBezTo>
                  <a:lnTo>
                    <a:pt x="71142" y="46276"/>
                  </a:lnTo>
                  <a:cubicBezTo>
                    <a:pt x="71142" y="27766"/>
                    <a:pt x="59261" y="14228"/>
                    <a:pt x="42685" y="14228"/>
                  </a:cubicBezTo>
                  <a:close/>
                </a:path>
              </a:pathLst>
            </a:custGeom>
            <a:grpFill/>
            <a:ln w="13803" cap="flat">
              <a:noFill/>
              <a:prstDash val="solid"/>
              <a:miter/>
            </a:ln>
          </p:spPr>
          <p:txBody>
            <a:bodyPr rtlCol="0" anchor="ctr"/>
            <a:lstStyle/>
            <a:p>
              <a:endParaRPr lang="ru-RU"/>
            </a:p>
          </p:txBody>
        </p:sp>
        <p:sp>
          <p:nvSpPr>
            <p:cNvPr id="89" name="Полилиния: фигура 88">
              <a:extLst>
                <a:ext uri="{FF2B5EF4-FFF2-40B4-BE49-F238E27FC236}">
                  <a16:creationId xmlns:a16="http://schemas.microsoft.com/office/drawing/2014/main" id="{B83F0383-3CA8-43F8-893D-F7FAA0C15F07}"/>
                </a:ext>
              </a:extLst>
            </p:cNvPr>
            <p:cNvSpPr/>
            <p:nvPr/>
          </p:nvSpPr>
          <p:spPr>
            <a:xfrm>
              <a:off x="11486516" y="4182781"/>
              <a:ext cx="85369" cy="105675"/>
            </a:xfrm>
            <a:custGeom>
              <a:avLst/>
              <a:gdLst>
                <a:gd name="connsiteX0" fmla="*/ 42684 w 85369"/>
                <a:gd name="connsiteY0" fmla="*/ 105676 h 105675"/>
                <a:gd name="connsiteX1" fmla="*/ 0 w 85369"/>
                <a:gd name="connsiteY1" fmla="*/ 59399 h 105675"/>
                <a:gd name="connsiteX2" fmla="*/ 0 w 85369"/>
                <a:gd name="connsiteY2" fmla="*/ 46276 h 105675"/>
                <a:gd name="connsiteX3" fmla="*/ 42684 w 85369"/>
                <a:gd name="connsiteY3" fmla="*/ 0 h 105675"/>
                <a:gd name="connsiteX4" fmla="*/ 85369 w 85369"/>
                <a:gd name="connsiteY4" fmla="*/ 46276 h 105675"/>
                <a:gd name="connsiteX5" fmla="*/ 85369 w 85369"/>
                <a:gd name="connsiteY5" fmla="*/ 59399 h 105675"/>
                <a:gd name="connsiteX6" fmla="*/ 42684 w 85369"/>
                <a:gd name="connsiteY6" fmla="*/ 105676 h 105675"/>
                <a:gd name="connsiteX7" fmla="*/ 42684 w 85369"/>
                <a:gd name="connsiteY7" fmla="*/ 14228 h 105675"/>
                <a:gd name="connsiteX8" fmla="*/ 14228 w 85369"/>
                <a:gd name="connsiteY8" fmla="*/ 46276 h 105675"/>
                <a:gd name="connsiteX9" fmla="*/ 14228 w 85369"/>
                <a:gd name="connsiteY9" fmla="*/ 59399 h 105675"/>
                <a:gd name="connsiteX10" fmla="*/ 42684 w 85369"/>
                <a:gd name="connsiteY10" fmla="*/ 91448 h 105675"/>
                <a:gd name="connsiteX11" fmla="*/ 71141 w 85369"/>
                <a:gd name="connsiteY11" fmla="*/ 59399 h 105675"/>
                <a:gd name="connsiteX12" fmla="*/ 71141 w 85369"/>
                <a:gd name="connsiteY12" fmla="*/ 46276 h 105675"/>
                <a:gd name="connsiteX13" fmla="*/ 42684 w 85369"/>
                <a:gd name="connsiteY13" fmla="*/ 14228 h 10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369" h="105675">
                  <a:moveTo>
                    <a:pt x="42684" y="105676"/>
                  </a:moveTo>
                  <a:cubicBezTo>
                    <a:pt x="18373" y="105676"/>
                    <a:pt x="0" y="85784"/>
                    <a:pt x="0" y="59399"/>
                  </a:cubicBezTo>
                  <a:lnTo>
                    <a:pt x="0" y="46276"/>
                  </a:lnTo>
                  <a:cubicBezTo>
                    <a:pt x="0" y="19892"/>
                    <a:pt x="18373" y="0"/>
                    <a:pt x="42684" y="0"/>
                  </a:cubicBezTo>
                  <a:cubicBezTo>
                    <a:pt x="66997" y="0"/>
                    <a:pt x="85369" y="19892"/>
                    <a:pt x="85369" y="46276"/>
                  </a:cubicBezTo>
                  <a:lnTo>
                    <a:pt x="85369" y="59399"/>
                  </a:lnTo>
                  <a:cubicBezTo>
                    <a:pt x="85369" y="85784"/>
                    <a:pt x="66997" y="105676"/>
                    <a:pt x="42684" y="105676"/>
                  </a:cubicBezTo>
                  <a:close/>
                  <a:moveTo>
                    <a:pt x="42684" y="14228"/>
                  </a:moveTo>
                  <a:cubicBezTo>
                    <a:pt x="26246" y="14228"/>
                    <a:pt x="14228" y="27766"/>
                    <a:pt x="14228" y="46276"/>
                  </a:cubicBezTo>
                  <a:lnTo>
                    <a:pt x="14228" y="59399"/>
                  </a:lnTo>
                  <a:cubicBezTo>
                    <a:pt x="14228" y="78048"/>
                    <a:pt x="26246" y="91448"/>
                    <a:pt x="42684" y="91448"/>
                  </a:cubicBezTo>
                  <a:cubicBezTo>
                    <a:pt x="59123" y="91448"/>
                    <a:pt x="71141" y="77910"/>
                    <a:pt x="71141" y="59399"/>
                  </a:cubicBezTo>
                  <a:lnTo>
                    <a:pt x="71141" y="46276"/>
                  </a:lnTo>
                  <a:cubicBezTo>
                    <a:pt x="71141" y="27766"/>
                    <a:pt x="59123" y="14228"/>
                    <a:pt x="42684" y="14228"/>
                  </a:cubicBezTo>
                  <a:close/>
                </a:path>
              </a:pathLst>
            </a:custGeom>
            <a:grpFill/>
            <a:ln w="13803" cap="flat">
              <a:noFill/>
              <a:prstDash val="solid"/>
              <a:miter/>
            </a:ln>
          </p:spPr>
          <p:txBody>
            <a:bodyPr rtlCol="0" anchor="ctr"/>
            <a:lstStyle/>
            <a:p>
              <a:endParaRPr lang="ru-RU"/>
            </a:p>
          </p:txBody>
        </p:sp>
        <p:sp>
          <p:nvSpPr>
            <p:cNvPr id="90" name="Полилиния: фигура 89">
              <a:extLst>
                <a:ext uri="{FF2B5EF4-FFF2-40B4-BE49-F238E27FC236}">
                  <a16:creationId xmlns:a16="http://schemas.microsoft.com/office/drawing/2014/main" id="{2764FD75-ABF6-4252-A408-BFE0E60ABB9E}"/>
                </a:ext>
              </a:extLst>
            </p:cNvPr>
            <p:cNvSpPr/>
            <p:nvPr/>
          </p:nvSpPr>
          <p:spPr>
            <a:xfrm>
              <a:off x="11151116" y="4284313"/>
              <a:ext cx="451298" cy="146841"/>
            </a:xfrm>
            <a:custGeom>
              <a:avLst/>
              <a:gdLst>
                <a:gd name="connsiteX0" fmla="*/ 444115 w 451298"/>
                <a:gd name="connsiteY0" fmla="*/ 146841 h 146841"/>
                <a:gd name="connsiteX1" fmla="*/ 437070 w 451298"/>
                <a:gd name="connsiteY1" fmla="*/ 139796 h 146841"/>
                <a:gd name="connsiteX2" fmla="*/ 437070 w 451298"/>
                <a:gd name="connsiteY2" fmla="*/ 58018 h 146841"/>
                <a:gd name="connsiteX3" fmla="*/ 413725 w 451298"/>
                <a:gd name="connsiteY3" fmla="*/ 35087 h 146841"/>
                <a:gd name="connsiteX4" fmla="*/ 386235 w 451298"/>
                <a:gd name="connsiteY4" fmla="*/ 35087 h 146841"/>
                <a:gd name="connsiteX5" fmla="*/ 337472 w 451298"/>
                <a:gd name="connsiteY5" fmla="*/ 83850 h 146841"/>
                <a:gd name="connsiteX6" fmla="*/ 332499 w 451298"/>
                <a:gd name="connsiteY6" fmla="*/ 85922 h 146841"/>
                <a:gd name="connsiteX7" fmla="*/ 278487 w 451298"/>
                <a:gd name="connsiteY7" fmla="*/ 85922 h 146841"/>
                <a:gd name="connsiteX8" fmla="*/ 285256 w 451298"/>
                <a:gd name="connsiteY8" fmla="*/ 105952 h 146841"/>
                <a:gd name="connsiteX9" fmla="*/ 301971 w 451298"/>
                <a:gd name="connsiteY9" fmla="*/ 112307 h 146841"/>
                <a:gd name="connsiteX10" fmla="*/ 359989 w 451298"/>
                <a:gd name="connsiteY10" fmla="*/ 112307 h 146841"/>
                <a:gd name="connsiteX11" fmla="*/ 398530 w 451298"/>
                <a:gd name="connsiteY11" fmla="*/ 73490 h 146841"/>
                <a:gd name="connsiteX12" fmla="*/ 403503 w 451298"/>
                <a:gd name="connsiteY12" fmla="*/ 71418 h 146841"/>
                <a:gd name="connsiteX13" fmla="*/ 408475 w 451298"/>
                <a:gd name="connsiteY13" fmla="*/ 73490 h 146841"/>
                <a:gd name="connsiteX14" fmla="*/ 410548 w 451298"/>
                <a:gd name="connsiteY14" fmla="*/ 78463 h 146841"/>
                <a:gd name="connsiteX15" fmla="*/ 408475 w 451298"/>
                <a:gd name="connsiteY15" fmla="*/ 83436 h 146841"/>
                <a:gd name="connsiteX16" fmla="*/ 380019 w 451298"/>
                <a:gd name="connsiteY16" fmla="*/ 112030 h 146841"/>
                <a:gd name="connsiteX17" fmla="*/ 380019 w 451298"/>
                <a:gd name="connsiteY17" fmla="*/ 139658 h 146841"/>
                <a:gd name="connsiteX18" fmla="*/ 372974 w 451298"/>
                <a:gd name="connsiteY18" fmla="*/ 146703 h 146841"/>
                <a:gd name="connsiteX19" fmla="*/ 365928 w 451298"/>
                <a:gd name="connsiteY19" fmla="*/ 139658 h 146841"/>
                <a:gd name="connsiteX20" fmla="*/ 365928 w 451298"/>
                <a:gd name="connsiteY20" fmla="*/ 125706 h 146841"/>
                <a:gd name="connsiteX21" fmla="*/ 362890 w 451298"/>
                <a:gd name="connsiteY21" fmla="*/ 126397 h 146841"/>
                <a:gd name="connsiteX22" fmla="*/ 88271 w 451298"/>
                <a:gd name="connsiteY22" fmla="*/ 126397 h 146841"/>
                <a:gd name="connsiteX23" fmla="*/ 85369 w 451298"/>
                <a:gd name="connsiteY23" fmla="*/ 125706 h 146841"/>
                <a:gd name="connsiteX24" fmla="*/ 85369 w 451298"/>
                <a:gd name="connsiteY24" fmla="*/ 139520 h 146841"/>
                <a:gd name="connsiteX25" fmla="*/ 78325 w 451298"/>
                <a:gd name="connsiteY25" fmla="*/ 146565 h 146841"/>
                <a:gd name="connsiteX26" fmla="*/ 71280 w 451298"/>
                <a:gd name="connsiteY26" fmla="*/ 139520 h 146841"/>
                <a:gd name="connsiteX27" fmla="*/ 71280 w 451298"/>
                <a:gd name="connsiteY27" fmla="*/ 112030 h 146841"/>
                <a:gd name="connsiteX28" fmla="*/ 42685 w 451298"/>
                <a:gd name="connsiteY28" fmla="*/ 83297 h 146841"/>
                <a:gd name="connsiteX29" fmla="*/ 40613 w 451298"/>
                <a:gd name="connsiteY29" fmla="*/ 78324 h 146841"/>
                <a:gd name="connsiteX30" fmla="*/ 42685 w 451298"/>
                <a:gd name="connsiteY30" fmla="*/ 73351 h 146841"/>
                <a:gd name="connsiteX31" fmla="*/ 47658 w 451298"/>
                <a:gd name="connsiteY31" fmla="*/ 71279 h 146841"/>
                <a:gd name="connsiteX32" fmla="*/ 52631 w 451298"/>
                <a:gd name="connsiteY32" fmla="*/ 73351 h 146841"/>
                <a:gd name="connsiteX33" fmla="*/ 91172 w 451298"/>
                <a:gd name="connsiteY33" fmla="*/ 112169 h 146841"/>
                <a:gd name="connsiteX34" fmla="*/ 149189 w 451298"/>
                <a:gd name="connsiteY34" fmla="*/ 112169 h 146841"/>
                <a:gd name="connsiteX35" fmla="*/ 165904 w 451298"/>
                <a:gd name="connsiteY35" fmla="*/ 105814 h 146841"/>
                <a:gd name="connsiteX36" fmla="*/ 172673 w 451298"/>
                <a:gd name="connsiteY36" fmla="*/ 85784 h 146841"/>
                <a:gd name="connsiteX37" fmla="*/ 118661 w 451298"/>
                <a:gd name="connsiteY37" fmla="*/ 85784 h 146841"/>
                <a:gd name="connsiteX38" fmla="*/ 113688 w 451298"/>
                <a:gd name="connsiteY38" fmla="*/ 83712 h 146841"/>
                <a:gd name="connsiteX39" fmla="*/ 64925 w 451298"/>
                <a:gd name="connsiteY39" fmla="*/ 34949 h 146841"/>
                <a:gd name="connsiteX40" fmla="*/ 37298 w 451298"/>
                <a:gd name="connsiteY40" fmla="*/ 34949 h 146841"/>
                <a:gd name="connsiteX41" fmla="*/ 14090 w 451298"/>
                <a:gd name="connsiteY41" fmla="*/ 57880 h 146841"/>
                <a:gd name="connsiteX42" fmla="*/ 14090 w 451298"/>
                <a:gd name="connsiteY42" fmla="*/ 139658 h 146841"/>
                <a:gd name="connsiteX43" fmla="*/ 7045 w 451298"/>
                <a:gd name="connsiteY43" fmla="*/ 146703 h 146841"/>
                <a:gd name="connsiteX44" fmla="*/ 0 w 451298"/>
                <a:gd name="connsiteY44" fmla="*/ 139658 h 146841"/>
                <a:gd name="connsiteX45" fmla="*/ 0 w 451298"/>
                <a:gd name="connsiteY45" fmla="*/ 57880 h 146841"/>
                <a:gd name="connsiteX46" fmla="*/ 37436 w 451298"/>
                <a:gd name="connsiteY46" fmla="*/ 20721 h 146841"/>
                <a:gd name="connsiteX47" fmla="*/ 67965 w 451298"/>
                <a:gd name="connsiteY47" fmla="*/ 20721 h 146841"/>
                <a:gd name="connsiteX48" fmla="*/ 72937 w 451298"/>
                <a:gd name="connsiteY48" fmla="*/ 22793 h 146841"/>
                <a:gd name="connsiteX49" fmla="*/ 121700 w 451298"/>
                <a:gd name="connsiteY49" fmla="*/ 71556 h 146841"/>
                <a:gd name="connsiteX50" fmla="*/ 132199 w 451298"/>
                <a:gd name="connsiteY50" fmla="*/ 71556 h 146841"/>
                <a:gd name="connsiteX51" fmla="*/ 132199 w 451298"/>
                <a:gd name="connsiteY51" fmla="*/ 47796 h 146841"/>
                <a:gd name="connsiteX52" fmla="*/ 225719 w 451298"/>
                <a:gd name="connsiteY52" fmla="*/ 0 h 146841"/>
                <a:gd name="connsiteX53" fmla="*/ 319238 w 451298"/>
                <a:gd name="connsiteY53" fmla="*/ 47796 h 146841"/>
                <a:gd name="connsiteX54" fmla="*/ 319238 w 451298"/>
                <a:gd name="connsiteY54" fmla="*/ 71556 h 146841"/>
                <a:gd name="connsiteX55" fmla="*/ 329461 w 451298"/>
                <a:gd name="connsiteY55" fmla="*/ 71556 h 146841"/>
                <a:gd name="connsiteX56" fmla="*/ 378223 w 451298"/>
                <a:gd name="connsiteY56" fmla="*/ 22793 h 146841"/>
                <a:gd name="connsiteX57" fmla="*/ 383196 w 451298"/>
                <a:gd name="connsiteY57" fmla="*/ 20721 h 146841"/>
                <a:gd name="connsiteX58" fmla="*/ 413725 w 451298"/>
                <a:gd name="connsiteY58" fmla="*/ 20721 h 146841"/>
                <a:gd name="connsiteX59" fmla="*/ 451299 w 451298"/>
                <a:gd name="connsiteY59" fmla="*/ 57880 h 146841"/>
                <a:gd name="connsiteX60" fmla="*/ 451299 w 451298"/>
                <a:gd name="connsiteY60" fmla="*/ 139658 h 146841"/>
                <a:gd name="connsiteX61" fmla="*/ 444115 w 451298"/>
                <a:gd name="connsiteY61" fmla="*/ 146841 h 146841"/>
                <a:gd name="connsiteX62" fmla="*/ 225580 w 451298"/>
                <a:gd name="connsiteY62" fmla="*/ 14367 h 146841"/>
                <a:gd name="connsiteX63" fmla="*/ 146289 w 451298"/>
                <a:gd name="connsiteY63" fmla="*/ 47934 h 146841"/>
                <a:gd name="connsiteX64" fmla="*/ 146289 w 451298"/>
                <a:gd name="connsiteY64" fmla="*/ 71694 h 146841"/>
                <a:gd name="connsiteX65" fmla="*/ 179718 w 451298"/>
                <a:gd name="connsiteY65" fmla="*/ 71694 h 146841"/>
                <a:gd name="connsiteX66" fmla="*/ 186763 w 451298"/>
                <a:gd name="connsiteY66" fmla="*/ 78048 h 146841"/>
                <a:gd name="connsiteX67" fmla="*/ 178751 w 451298"/>
                <a:gd name="connsiteY67" fmla="*/ 112445 h 146841"/>
                <a:gd name="connsiteX68" fmla="*/ 272271 w 451298"/>
                <a:gd name="connsiteY68" fmla="*/ 112445 h 146841"/>
                <a:gd name="connsiteX69" fmla="*/ 264259 w 451298"/>
                <a:gd name="connsiteY69" fmla="*/ 78048 h 146841"/>
                <a:gd name="connsiteX70" fmla="*/ 271304 w 451298"/>
                <a:gd name="connsiteY70" fmla="*/ 71694 h 146841"/>
                <a:gd name="connsiteX71" fmla="*/ 304872 w 451298"/>
                <a:gd name="connsiteY71" fmla="*/ 71694 h 146841"/>
                <a:gd name="connsiteX72" fmla="*/ 304872 w 451298"/>
                <a:gd name="connsiteY72" fmla="*/ 47934 h 146841"/>
                <a:gd name="connsiteX73" fmla="*/ 225580 w 451298"/>
                <a:gd name="connsiteY73" fmla="*/ 14367 h 14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1298" h="146841">
                  <a:moveTo>
                    <a:pt x="444115" y="146841"/>
                  </a:moveTo>
                  <a:cubicBezTo>
                    <a:pt x="440247" y="146841"/>
                    <a:pt x="437070" y="143664"/>
                    <a:pt x="437070" y="139796"/>
                  </a:cubicBezTo>
                  <a:lnTo>
                    <a:pt x="437070" y="58018"/>
                  </a:lnTo>
                  <a:cubicBezTo>
                    <a:pt x="437070" y="45309"/>
                    <a:pt x="426571" y="35087"/>
                    <a:pt x="413725" y="35087"/>
                  </a:cubicBezTo>
                  <a:lnTo>
                    <a:pt x="386235" y="35087"/>
                  </a:lnTo>
                  <a:lnTo>
                    <a:pt x="337472" y="83850"/>
                  </a:lnTo>
                  <a:cubicBezTo>
                    <a:pt x="336091" y="85231"/>
                    <a:pt x="334295" y="85922"/>
                    <a:pt x="332499" y="85922"/>
                  </a:cubicBezTo>
                  <a:lnTo>
                    <a:pt x="278487" y="85922"/>
                  </a:lnTo>
                  <a:cubicBezTo>
                    <a:pt x="278763" y="92000"/>
                    <a:pt x="280145" y="100289"/>
                    <a:pt x="285256" y="105952"/>
                  </a:cubicBezTo>
                  <a:cubicBezTo>
                    <a:pt x="289124" y="110235"/>
                    <a:pt x="294649" y="112307"/>
                    <a:pt x="301971" y="112307"/>
                  </a:cubicBezTo>
                  <a:lnTo>
                    <a:pt x="359989" y="112307"/>
                  </a:lnTo>
                  <a:lnTo>
                    <a:pt x="398530" y="73490"/>
                  </a:lnTo>
                  <a:cubicBezTo>
                    <a:pt x="399911" y="72108"/>
                    <a:pt x="401707" y="71418"/>
                    <a:pt x="403503" y="71418"/>
                  </a:cubicBezTo>
                  <a:cubicBezTo>
                    <a:pt x="405437" y="71418"/>
                    <a:pt x="407233" y="72108"/>
                    <a:pt x="408475" y="73490"/>
                  </a:cubicBezTo>
                  <a:cubicBezTo>
                    <a:pt x="409857" y="74871"/>
                    <a:pt x="410548" y="76667"/>
                    <a:pt x="410548" y="78463"/>
                  </a:cubicBezTo>
                  <a:cubicBezTo>
                    <a:pt x="410548" y="80397"/>
                    <a:pt x="409857" y="82192"/>
                    <a:pt x="408475" y="83436"/>
                  </a:cubicBezTo>
                  <a:lnTo>
                    <a:pt x="380019" y="112030"/>
                  </a:lnTo>
                  <a:lnTo>
                    <a:pt x="380019" y="139658"/>
                  </a:lnTo>
                  <a:cubicBezTo>
                    <a:pt x="380019" y="143526"/>
                    <a:pt x="376842" y="146703"/>
                    <a:pt x="372974" y="146703"/>
                  </a:cubicBezTo>
                  <a:cubicBezTo>
                    <a:pt x="369106" y="146703"/>
                    <a:pt x="365928" y="143526"/>
                    <a:pt x="365928" y="139658"/>
                  </a:cubicBezTo>
                  <a:lnTo>
                    <a:pt x="365928" y="125706"/>
                  </a:lnTo>
                  <a:cubicBezTo>
                    <a:pt x="364824" y="126258"/>
                    <a:pt x="363857" y="126397"/>
                    <a:pt x="362890" y="126397"/>
                  </a:cubicBezTo>
                  <a:lnTo>
                    <a:pt x="88271" y="126397"/>
                  </a:lnTo>
                  <a:cubicBezTo>
                    <a:pt x="87304" y="126397"/>
                    <a:pt x="86337" y="126120"/>
                    <a:pt x="85369" y="125706"/>
                  </a:cubicBezTo>
                  <a:lnTo>
                    <a:pt x="85369" y="139520"/>
                  </a:lnTo>
                  <a:cubicBezTo>
                    <a:pt x="85369" y="143388"/>
                    <a:pt x="82193" y="146565"/>
                    <a:pt x="78325" y="146565"/>
                  </a:cubicBezTo>
                  <a:cubicBezTo>
                    <a:pt x="74457" y="146565"/>
                    <a:pt x="71280" y="143388"/>
                    <a:pt x="71280" y="139520"/>
                  </a:cubicBezTo>
                  <a:lnTo>
                    <a:pt x="71280" y="112030"/>
                  </a:lnTo>
                  <a:lnTo>
                    <a:pt x="42685" y="83297"/>
                  </a:lnTo>
                  <a:cubicBezTo>
                    <a:pt x="41303" y="81916"/>
                    <a:pt x="40613" y="80120"/>
                    <a:pt x="40613" y="78324"/>
                  </a:cubicBezTo>
                  <a:cubicBezTo>
                    <a:pt x="40613" y="76391"/>
                    <a:pt x="41303" y="74595"/>
                    <a:pt x="42685" y="73351"/>
                  </a:cubicBezTo>
                  <a:cubicBezTo>
                    <a:pt x="44066" y="71970"/>
                    <a:pt x="45862" y="71279"/>
                    <a:pt x="47658" y="71279"/>
                  </a:cubicBezTo>
                  <a:cubicBezTo>
                    <a:pt x="49592" y="71279"/>
                    <a:pt x="51388" y="71970"/>
                    <a:pt x="52631" y="73351"/>
                  </a:cubicBezTo>
                  <a:lnTo>
                    <a:pt x="91172" y="112169"/>
                  </a:lnTo>
                  <a:lnTo>
                    <a:pt x="149189" y="112169"/>
                  </a:lnTo>
                  <a:cubicBezTo>
                    <a:pt x="156649" y="112169"/>
                    <a:pt x="162037" y="110096"/>
                    <a:pt x="165904" y="105814"/>
                  </a:cubicBezTo>
                  <a:cubicBezTo>
                    <a:pt x="171015" y="100150"/>
                    <a:pt x="172397" y="91724"/>
                    <a:pt x="172673" y="85784"/>
                  </a:cubicBezTo>
                  <a:lnTo>
                    <a:pt x="118661" y="85784"/>
                  </a:lnTo>
                  <a:cubicBezTo>
                    <a:pt x="116727" y="85784"/>
                    <a:pt x="114931" y="85093"/>
                    <a:pt x="113688" y="83712"/>
                  </a:cubicBezTo>
                  <a:lnTo>
                    <a:pt x="64925" y="34949"/>
                  </a:lnTo>
                  <a:lnTo>
                    <a:pt x="37298" y="34949"/>
                  </a:lnTo>
                  <a:cubicBezTo>
                    <a:pt x="24312" y="34949"/>
                    <a:pt x="14090" y="45033"/>
                    <a:pt x="14090" y="57880"/>
                  </a:cubicBezTo>
                  <a:lnTo>
                    <a:pt x="14090" y="139658"/>
                  </a:lnTo>
                  <a:cubicBezTo>
                    <a:pt x="14090" y="143526"/>
                    <a:pt x="10913" y="146703"/>
                    <a:pt x="7045" y="146703"/>
                  </a:cubicBezTo>
                  <a:cubicBezTo>
                    <a:pt x="3178" y="146703"/>
                    <a:pt x="0" y="143526"/>
                    <a:pt x="0" y="139658"/>
                  </a:cubicBezTo>
                  <a:lnTo>
                    <a:pt x="0" y="57880"/>
                  </a:lnTo>
                  <a:cubicBezTo>
                    <a:pt x="0" y="37436"/>
                    <a:pt x="16715" y="20721"/>
                    <a:pt x="37436" y="20721"/>
                  </a:cubicBezTo>
                  <a:lnTo>
                    <a:pt x="67965" y="20721"/>
                  </a:lnTo>
                  <a:cubicBezTo>
                    <a:pt x="69898" y="20721"/>
                    <a:pt x="71694" y="21411"/>
                    <a:pt x="72937" y="22793"/>
                  </a:cubicBezTo>
                  <a:lnTo>
                    <a:pt x="121700" y="71556"/>
                  </a:lnTo>
                  <a:lnTo>
                    <a:pt x="132199" y="71556"/>
                  </a:lnTo>
                  <a:lnTo>
                    <a:pt x="132199" y="47796"/>
                  </a:lnTo>
                  <a:cubicBezTo>
                    <a:pt x="132199" y="11327"/>
                    <a:pt x="200715" y="0"/>
                    <a:pt x="225719" y="0"/>
                  </a:cubicBezTo>
                  <a:cubicBezTo>
                    <a:pt x="250722" y="0"/>
                    <a:pt x="319238" y="11327"/>
                    <a:pt x="319238" y="47796"/>
                  </a:cubicBezTo>
                  <a:lnTo>
                    <a:pt x="319238" y="71556"/>
                  </a:lnTo>
                  <a:lnTo>
                    <a:pt x="329461" y="71556"/>
                  </a:lnTo>
                  <a:lnTo>
                    <a:pt x="378223" y="22793"/>
                  </a:lnTo>
                  <a:cubicBezTo>
                    <a:pt x="379605" y="21411"/>
                    <a:pt x="381401" y="20721"/>
                    <a:pt x="383196" y="20721"/>
                  </a:cubicBezTo>
                  <a:lnTo>
                    <a:pt x="413725" y="20721"/>
                  </a:lnTo>
                  <a:cubicBezTo>
                    <a:pt x="434445" y="20721"/>
                    <a:pt x="451299" y="37436"/>
                    <a:pt x="451299" y="57880"/>
                  </a:cubicBezTo>
                  <a:lnTo>
                    <a:pt x="451299" y="139658"/>
                  </a:lnTo>
                  <a:cubicBezTo>
                    <a:pt x="451299" y="143664"/>
                    <a:pt x="448121" y="146841"/>
                    <a:pt x="444115" y="146841"/>
                  </a:cubicBezTo>
                  <a:close/>
                  <a:moveTo>
                    <a:pt x="225580" y="14367"/>
                  </a:moveTo>
                  <a:cubicBezTo>
                    <a:pt x="197676" y="14367"/>
                    <a:pt x="146289" y="27075"/>
                    <a:pt x="146289" y="47934"/>
                  </a:cubicBezTo>
                  <a:lnTo>
                    <a:pt x="146289" y="71694"/>
                  </a:lnTo>
                  <a:lnTo>
                    <a:pt x="179718" y="71694"/>
                  </a:lnTo>
                  <a:cubicBezTo>
                    <a:pt x="183310" y="71694"/>
                    <a:pt x="186349" y="74457"/>
                    <a:pt x="186763" y="78048"/>
                  </a:cubicBezTo>
                  <a:cubicBezTo>
                    <a:pt x="186763" y="78186"/>
                    <a:pt x="188836" y="98078"/>
                    <a:pt x="178751" y="112445"/>
                  </a:cubicBezTo>
                  <a:lnTo>
                    <a:pt x="272271" y="112445"/>
                  </a:lnTo>
                  <a:cubicBezTo>
                    <a:pt x="262187" y="98216"/>
                    <a:pt x="264259" y="78877"/>
                    <a:pt x="264259" y="78048"/>
                  </a:cubicBezTo>
                  <a:cubicBezTo>
                    <a:pt x="264674" y="74457"/>
                    <a:pt x="267712" y="71694"/>
                    <a:pt x="271304" y="71694"/>
                  </a:cubicBezTo>
                  <a:lnTo>
                    <a:pt x="304872" y="71694"/>
                  </a:lnTo>
                  <a:lnTo>
                    <a:pt x="304872" y="47934"/>
                  </a:lnTo>
                  <a:cubicBezTo>
                    <a:pt x="304872" y="27075"/>
                    <a:pt x="253484" y="14367"/>
                    <a:pt x="225580" y="14367"/>
                  </a:cubicBezTo>
                  <a:close/>
                </a:path>
              </a:pathLst>
            </a:custGeom>
            <a:grpFill/>
            <a:ln w="13803" cap="flat">
              <a:noFill/>
              <a:prstDash val="solid"/>
              <a:miter/>
            </a:ln>
          </p:spPr>
          <p:txBody>
            <a:bodyPr rtlCol="0" anchor="ctr"/>
            <a:lstStyle/>
            <a:p>
              <a:endParaRPr lang="ru-RU"/>
            </a:p>
          </p:txBody>
        </p:sp>
        <p:sp>
          <p:nvSpPr>
            <p:cNvPr id="91" name="Полилиния: фигура 90">
              <a:extLst>
                <a:ext uri="{FF2B5EF4-FFF2-40B4-BE49-F238E27FC236}">
                  <a16:creationId xmlns:a16="http://schemas.microsoft.com/office/drawing/2014/main" id="{6B278CFC-E413-4F40-96AD-FCD8AAF4FF22}"/>
                </a:ext>
              </a:extLst>
            </p:cNvPr>
            <p:cNvSpPr/>
            <p:nvPr/>
          </p:nvSpPr>
          <p:spPr>
            <a:xfrm>
              <a:off x="11222119" y="3939105"/>
              <a:ext cx="319237" cy="251135"/>
            </a:xfrm>
            <a:custGeom>
              <a:avLst/>
              <a:gdLst>
                <a:gd name="connsiteX0" fmla="*/ 240913 w 319237"/>
                <a:gd name="connsiteY0" fmla="*/ 251135 h 251135"/>
                <a:gd name="connsiteX1" fmla="*/ 227928 w 319237"/>
                <a:gd name="connsiteY1" fmla="*/ 245057 h 251135"/>
                <a:gd name="connsiteX2" fmla="*/ 186902 w 319237"/>
                <a:gd name="connsiteY2" fmla="*/ 197262 h 251135"/>
                <a:gd name="connsiteX3" fmla="*/ 27489 w 319237"/>
                <a:gd name="connsiteY3" fmla="*/ 197262 h 251135"/>
                <a:gd name="connsiteX4" fmla="*/ 0 w 319237"/>
                <a:gd name="connsiteY4" fmla="*/ 169772 h 251135"/>
                <a:gd name="connsiteX5" fmla="*/ 0 w 319237"/>
                <a:gd name="connsiteY5" fmla="*/ 27489 h 251135"/>
                <a:gd name="connsiteX6" fmla="*/ 27489 w 319237"/>
                <a:gd name="connsiteY6" fmla="*/ 0 h 251135"/>
                <a:gd name="connsiteX7" fmla="*/ 291748 w 319237"/>
                <a:gd name="connsiteY7" fmla="*/ 0 h 251135"/>
                <a:gd name="connsiteX8" fmla="*/ 319238 w 319237"/>
                <a:gd name="connsiteY8" fmla="*/ 27489 h 251135"/>
                <a:gd name="connsiteX9" fmla="*/ 319238 w 319237"/>
                <a:gd name="connsiteY9" fmla="*/ 169772 h 251135"/>
                <a:gd name="connsiteX10" fmla="*/ 291748 w 319237"/>
                <a:gd name="connsiteY10" fmla="*/ 197262 h 251135"/>
                <a:gd name="connsiteX11" fmla="*/ 258181 w 319237"/>
                <a:gd name="connsiteY11" fmla="*/ 197262 h 251135"/>
                <a:gd name="connsiteX12" fmla="*/ 258181 w 319237"/>
                <a:gd name="connsiteY12" fmla="*/ 233868 h 251135"/>
                <a:gd name="connsiteX13" fmla="*/ 246853 w 319237"/>
                <a:gd name="connsiteY13" fmla="*/ 250030 h 251135"/>
                <a:gd name="connsiteX14" fmla="*/ 240913 w 319237"/>
                <a:gd name="connsiteY14" fmla="*/ 251135 h 251135"/>
                <a:gd name="connsiteX15" fmla="*/ 27489 w 319237"/>
                <a:gd name="connsiteY15" fmla="*/ 14366 h 251135"/>
                <a:gd name="connsiteX16" fmla="*/ 14229 w 319237"/>
                <a:gd name="connsiteY16" fmla="*/ 27628 h 251135"/>
                <a:gd name="connsiteX17" fmla="*/ 14229 w 319237"/>
                <a:gd name="connsiteY17" fmla="*/ 169910 h 251135"/>
                <a:gd name="connsiteX18" fmla="*/ 27489 w 319237"/>
                <a:gd name="connsiteY18" fmla="*/ 183171 h 251135"/>
                <a:gd name="connsiteX19" fmla="*/ 190079 w 319237"/>
                <a:gd name="connsiteY19" fmla="*/ 183171 h 251135"/>
                <a:gd name="connsiteX20" fmla="*/ 195466 w 319237"/>
                <a:gd name="connsiteY20" fmla="*/ 185658 h 251135"/>
                <a:gd name="connsiteX21" fmla="*/ 238565 w 319237"/>
                <a:gd name="connsiteY21" fmla="*/ 235940 h 251135"/>
                <a:gd name="connsiteX22" fmla="*/ 240775 w 319237"/>
                <a:gd name="connsiteY22" fmla="*/ 237045 h 251135"/>
                <a:gd name="connsiteX23" fmla="*/ 241880 w 319237"/>
                <a:gd name="connsiteY23" fmla="*/ 236769 h 251135"/>
                <a:gd name="connsiteX24" fmla="*/ 243952 w 319237"/>
                <a:gd name="connsiteY24" fmla="*/ 233868 h 251135"/>
                <a:gd name="connsiteX25" fmla="*/ 243952 w 319237"/>
                <a:gd name="connsiteY25" fmla="*/ 190216 h 251135"/>
                <a:gd name="connsiteX26" fmla="*/ 250997 w 319237"/>
                <a:gd name="connsiteY26" fmla="*/ 183171 h 251135"/>
                <a:gd name="connsiteX27" fmla="*/ 291610 w 319237"/>
                <a:gd name="connsiteY27" fmla="*/ 183171 h 251135"/>
                <a:gd name="connsiteX28" fmla="*/ 304872 w 319237"/>
                <a:gd name="connsiteY28" fmla="*/ 169910 h 251135"/>
                <a:gd name="connsiteX29" fmla="*/ 304872 w 319237"/>
                <a:gd name="connsiteY29" fmla="*/ 27628 h 251135"/>
                <a:gd name="connsiteX30" fmla="*/ 291610 w 319237"/>
                <a:gd name="connsiteY30" fmla="*/ 14366 h 251135"/>
                <a:gd name="connsiteX31" fmla="*/ 27489 w 319237"/>
                <a:gd name="connsiteY31" fmla="*/ 14366 h 25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9237" h="251135">
                  <a:moveTo>
                    <a:pt x="240913" y="251135"/>
                  </a:moveTo>
                  <a:cubicBezTo>
                    <a:pt x="235941" y="251135"/>
                    <a:pt x="231244" y="248925"/>
                    <a:pt x="227928" y="245057"/>
                  </a:cubicBezTo>
                  <a:lnTo>
                    <a:pt x="186902" y="197262"/>
                  </a:lnTo>
                  <a:lnTo>
                    <a:pt x="27489" y="197262"/>
                  </a:lnTo>
                  <a:cubicBezTo>
                    <a:pt x="12433" y="197262"/>
                    <a:pt x="0" y="184967"/>
                    <a:pt x="0" y="169772"/>
                  </a:cubicBezTo>
                  <a:lnTo>
                    <a:pt x="0" y="27489"/>
                  </a:lnTo>
                  <a:cubicBezTo>
                    <a:pt x="0" y="12294"/>
                    <a:pt x="12295" y="0"/>
                    <a:pt x="27489" y="0"/>
                  </a:cubicBezTo>
                  <a:lnTo>
                    <a:pt x="291748" y="0"/>
                  </a:lnTo>
                  <a:cubicBezTo>
                    <a:pt x="306806" y="0"/>
                    <a:pt x="319238" y="12294"/>
                    <a:pt x="319238" y="27489"/>
                  </a:cubicBezTo>
                  <a:lnTo>
                    <a:pt x="319238" y="169772"/>
                  </a:lnTo>
                  <a:cubicBezTo>
                    <a:pt x="319238" y="184967"/>
                    <a:pt x="306944" y="197262"/>
                    <a:pt x="291748" y="197262"/>
                  </a:cubicBezTo>
                  <a:lnTo>
                    <a:pt x="258181" y="197262"/>
                  </a:lnTo>
                  <a:lnTo>
                    <a:pt x="258181" y="233868"/>
                  </a:lnTo>
                  <a:cubicBezTo>
                    <a:pt x="258181" y="241190"/>
                    <a:pt x="253760" y="247544"/>
                    <a:pt x="246853" y="250030"/>
                  </a:cubicBezTo>
                  <a:cubicBezTo>
                    <a:pt x="245057" y="250859"/>
                    <a:pt x="242986" y="251135"/>
                    <a:pt x="240913" y="251135"/>
                  </a:cubicBezTo>
                  <a:close/>
                  <a:moveTo>
                    <a:pt x="27489" y="14366"/>
                  </a:moveTo>
                  <a:cubicBezTo>
                    <a:pt x="20169" y="14366"/>
                    <a:pt x="14229" y="20306"/>
                    <a:pt x="14229" y="27628"/>
                  </a:cubicBezTo>
                  <a:lnTo>
                    <a:pt x="14229" y="169910"/>
                  </a:lnTo>
                  <a:cubicBezTo>
                    <a:pt x="14229" y="177231"/>
                    <a:pt x="20169" y="183171"/>
                    <a:pt x="27489" y="183171"/>
                  </a:cubicBezTo>
                  <a:lnTo>
                    <a:pt x="190079" y="183171"/>
                  </a:lnTo>
                  <a:cubicBezTo>
                    <a:pt x="192150" y="183171"/>
                    <a:pt x="194084" y="184138"/>
                    <a:pt x="195466" y="185658"/>
                  </a:cubicBezTo>
                  <a:lnTo>
                    <a:pt x="238565" y="235940"/>
                  </a:lnTo>
                  <a:cubicBezTo>
                    <a:pt x="239118" y="236631"/>
                    <a:pt x="239946" y="237045"/>
                    <a:pt x="240775" y="237045"/>
                  </a:cubicBezTo>
                  <a:cubicBezTo>
                    <a:pt x="241190" y="237045"/>
                    <a:pt x="241742" y="236907"/>
                    <a:pt x="241880" y="236769"/>
                  </a:cubicBezTo>
                  <a:cubicBezTo>
                    <a:pt x="242571" y="236493"/>
                    <a:pt x="243952" y="235802"/>
                    <a:pt x="243952" y="233868"/>
                  </a:cubicBezTo>
                  <a:lnTo>
                    <a:pt x="243952" y="190216"/>
                  </a:lnTo>
                  <a:cubicBezTo>
                    <a:pt x="243952" y="186349"/>
                    <a:pt x="247130" y="183171"/>
                    <a:pt x="250997" y="183171"/>
                  </a:cubicBezTo>
                  <a:lnTo>
                    <a:pt x="291610" y="183171"/>
                  </a:lnTo>
                  <a:cubicBezTo>
                    <a:pt x="298932" y="183171"/>
                    <a:pt x="304872" y="177231"/>
                    <a:pt x="304872" y="169910"/>
                  </a:cubicBezTo>
                  <a:lnTo>
                    <a:pt x="304872" y="27628"/>
                  </a:lnTo>
                  <a:cubicBezTo>
                    <a:pt x="304872" y="20306"/>
                    <a:pt x="298932" y="14366"/>
                    <a:pt x="291610" y="14366"/>
                  </a:cubicBezTo>
                  <a:lnTo>
                    <a:pt x="27489" y="14366"/>
                  </a:lnTo>
                  <a:close/>
                </a:path>
              </a:pathLst>
            </a:custGeom>
            <a:grpFill/>
            <a:ln w="13803" cap="flat">
              <a:noFill/>
              <a:prstDash val="solid"/>
              <a:miter/>
            </a:ln>
          </p:spPr>
          <p:txBody>
            <a:bodyPr rtlCol="0" anchor="ctr"/>
            <a:lstStyle/>
            <a:p>
              <a:endParaRPr lang="ru-RU"/>
            </a:p>
          </p:txBody>
        </p:sp>
      </p:grpSp>
      <p:grpSp>
        <p:nvGrpSpPr>
          <p:cNvPr id="98" name="Группа 97">
            <a:extLst>
              <a:ext uri="{FF2B5EF4-FFF2-40B4-BE49-F238E27FC236}">
                <a16:creationId xmlns:a16="http://schemas.microsoft.com/office/drawing/2014/main" id="{9C998874-594F-4EC9-8AD9-92B5FDE68A93}"/>
              </a:ext>
            </a:extLst>
          </p:cNvPr>
          <p:cNvGrpSpPr/>
          <p:nvPr/>
        </p:nvGrpSpPr>
        <p:grpSpPr>
          <a:xfrm>
            <a:off x="10929800" y="2638653"/>
            <a:ext cx="491575" cy="419190"/>
            <a:chOff x="7596262" y="1934982"/>
            <a:chExt cx="435045" cy="370986"/>
          </a:xfrm>
          <a:solidFill>
            <a:schemeClr val="accent1"/>
          </a:solidFill>
          <a:effectLst>
            <a:outerShdw blurRad="50800" dist="12700" algn="ctr" rotWithShape="0">
              <a:schemeClr val="accent1">
                <a:alpha val="30000"/>
              </a:schemeClr>
            </a:outerShdw>
          </a:effectLst>
        </p:grpSpPr>
        <p:sp>
          <p:nvSpPr>
            <p:cNvPr id="99" name="Полилиния: фигура 98">
              <a:extLst>
                <a:ext uri="{FF2B5EF4-FFF2-40B4-BE49-F238E27FC236}">
                  <a16:creationId xmlns:a16="http://schemas.microsoft.com/office/drawing/2014/main" id="{EC382DDA-6A39-4F9D-9FB6-4AE607E628BA}"/>
                </a:ext>
              </a:extLst>
            </p:cNvPr>
            <p:cNvSpPr/>
            <p:nvPr/>
          </p:nvSpPr>
          <p:spPr>
            <a:xfrm>
              <a:off x="7616002" y="2197844"/>
              <a:ext cx="73101" cy="107105"/>
            </a:xfrm>
            <a:custGeom>
              <a:avLst/>
              <a:gdLst>
                <a:gd name="connsiteX0" fmla="*/ 6495 w 73101"/>
                <a:gd name="connsiteY0" fmla="*/ 107106 h 107105"/>
                <a:gd name="connsiteX1" fmla="*/ 0 w 73101"/>
                <a:gd name="connsiteY1" fmla="*/ 100611 h 107105"/>
                <a:gd name="connsiteX2" fmla="*/ 0 w 73101"/>
                <a:gd name="connsiteY2" fmla="*/ 6495 h 107105"/>
                <a:gd name="connsiteX3" fmla="*/ 6495 w 73101"/>
                <a:gd name="connsiteY3" fmla="*/ 0 h 107105"/>
                <a:gd name="connsiteX4" fmla="*/ 66607 w 73101"/>
                <a:gd name="connsiteY4" fmla="*/ 0 h 107105"/>
                <a:gd name="connsiteX5" fmla="*/ 73102 w 73101"/>
                <a:gd name="connsiteY5" fmla="*/ 6495 h 107105"/>
                <a:gd name="connsiteX6" fmla="*/ 73102 w 73101"/>
                <a:gd name="connsiteY6" fmla="*/ 100611 h 107105"/>
                <a:gd name="connsiteX7" fmla="*/ 66607 w 73101"/>
                <a:gd name="connsiteY7" fmla="*/ 107106 h 107105"/>
                <a:gd name="connsiteX8" fmla="*/ 6495 w 73101"/>
                <a:gd name="connsiteY8" fmla="*/ 107106 h 107105"/>
                <a:gd name="connsiteX9" fmla="*/ 12990 w 73101"/>
                <a:gd name="connsiteY9" fmla="*/ 93734 h 107105"/>
                <a:gd name="connsiteX10" fmla="*/ 59730 w 73101"/>
                <a:gd name="connsiteY10" fmla="*/ 93988 h 107105"/>
                <a:gd name="connsiteX11" fmla="*/ 59985 w 73101"/>
                <a:gd name="connsiteY11" fmla="*/ 13245 h 107105"/>
                <a:gd name="connsiteX12" fmla="*/ 12990 w 73101"/>
                <a:gd name="connsiteY12" fmla="*/ 12990 h 107105"/>
                <a:gd name="connsiteX13" fmla="*/ 12990 w 73101"/>
                <a:gd name="connsiteY13" fmla="*/ 93734 h 107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101" h="107105">
                  <a:moveTo>
                    <a:pt x="6495" y="107106"/>
                  </a:moveTo>
                  <a:cubicBezTo>
                    <a:pt x="2929" y="107106"/>
                    <a:pt x="0" y="104177"/>
                    <a:pt x="0" y="100611"/>
                  </a:cubicBezTo>
                  <a:lnTo>
                    <a:pt x="0" y="6495"/>
                  </a:lnTo>
                  <a:cubicBezTo>
                    <a:pt x="0" y="2929"/>
                    <a:pt x="2929" y="0"/>
                    <a:pt x="6495" y="0"/>
                  </a:cubicBezTo>
                  <a:lnTo>
                    <a:pt x="66607" y="0"/>
                  </a:lnTo>
                  <a:cubicBezTo>
                    <a:pt x="70173" y="0"/>
                    <a:pt x="73102" y="2929"/>
                    <a:pt x="73102" y="6495"/>
                  </a:cubicBezTo>
                  <a:lnTo>
                    <a:pt x="73102" y="100611"/>
                  </a:lnTo>
                  <a:cubicBezTo>
                    <a:pt x="73102" y="104177"/>
                    <a:pt x="70173" y="107106"/>
                    <a:pt x="66607" y="107106"/>
                  </a:cubicBezTo>
                  <a:lnTo>
                    <a:pt x="6495" y="107106"/>
                  </a:lnTo>
                  <a:close/>
                  <a:moveTo>
                    <a:pt x="12990" y="93734"/>
                  </a:moveTo>
                  <a:lnTo>
                    <a:pt x="59730" y="93988"/>
                  </a:lnTo>
                  <a:lnTo>
                    <a:pt x="59985" y="13245"/>
                  </a:lnTo>
                  <a:lnTo>
                    <a:pt x="12990" y="12990"/>
                  </a:lnTo>
                  <a:lnTo>
                    <a:pt x="12990" y="93734"/>
                  </a:lnTo>
                  <a:close/>
                </a:path>
              </a:pathLst>
            </a:custGeom>
            <a:grpFill/>
            <a:ln w="13786" cap="flat">
              <a:noFill/>
              <a:prstDash val="solid"/>
              <a:miter/>
            </a:ln>
          </p:spPr>
          <p:txBody>
            <a:bodyPr rtlCol="0" anchor="ctr"/>
            <a:lstStyle/>
            <a:p>
              <a:endParaRPr lang="ru-RU"/>
            </a:p>
          </p:txBody>
        </p:sp>
        <p:sp>
          <p:nvSpPr>
            <p:cNvPr id="100" name="Полилиния: фигура 99">
              <a:extLst>
                <a:ext uri="{FF2B5EF4-FFF2-40B4-BE49-F238E27FC236}">
                  <a16:creationId xmlns:a16="http://schemas.microsoft.com/office/drawing/2014/main" id="{076D034D-AB5A-4540-B737-CEB9257274A5}"/>
                </a:ext>
              </a:extLst>
            </p:cNvPr>
            <p:cNvSpPr/>
            <p:nvPr/>
          </p:nvSpPr>
          <p:spPr>
            <a:xfrm>
              <a:off x="7723490" y="2144100"/>
              <a:ext cx="73101" cy="160849"/>
            </a:xfrm>
            <a:custGeom>
              <a:avLst/>
              <a:gdLst>
                <a:gd name="connsiteX0" fmla="*/ 6495 w 73101"/>
                <a:gd name="connsiteY0" fmla="*/ 160850 h 160849"/>
                <a:gd name="connsiteX1" fmla="*/ 0 w 73101"/>
                <a:gd name="connsiteY1" fmla="*/ 154355 h 160849"/>
                <a:gd name="connsiteX2" fmla="*/ 0 w 73101"/>
                <a:gd name="connsiteY2" fmla="*/ 6495 h 160849"/>
                <a:gd name="connsiteX3" fmla="*/ 6495 w 73101"/>
                <a:gd name="connsiteY3" fmla="*/ 0 h 160849"/>
                <a:gd name="connsiteX4" fmla="*/ 66607 w 73101"/>
                <a:gd name="connsiteY4" fmla="*/ 0 h 160849"/>
                <a:gd name="connsiteX5" fmla="*/ 73102 w 73101"/>
                <a:gd name="connsiteY5" fmla="*/ 6495 h 160849"/>
                <a:gd name="connsiteX6" fmla="*/ 73102 w 73101"/>
                <a:gd name="connsiteY6" fmla="*/ 154355 h 160849"/>
                <a:gd name="connsiteX7" fmla="*/ 66607 w 73101"/>
                <a:gd name="connsiteY7" fmla="*/ 160850 h 160849"/>
                <a:gd name="connsiteX8" fmla="*/ 6495 w 73101"/>
                <a:gd name="connsiteY8" fmla="*/ 160850 h 160849"/>
                <a:gd name="connsiteX9" fmla="*/ 13117 w 73101"/>
                <a:gd name="connsiteY9" fmla="*/ 147477 h 160849"/>
                <a:gd name="connsiteX10" fmla="*/ 59857 w 73101"/>
                <a:gd name="connsiteY10" fmla="*/ 147732 h 160849"/>
                <a:gd name="connsiteX11" fmla="*/ 60111 w 73101"/>
                <a:gd name="connsiteY11" fmla="*/ 13245 h 160849"/>
                <a:gd name="connsiteX12" fmla="*/ 13117 w 73101"/>
                <a:gd name="connsiteY12" fmla="*/ 12990 h 160849"/>
                <a:gd name="connsiteX13" fmla="*/ 13117 w 73101"/>
                <a:gd name="connsiteY13" fmla="*/ 147477 h 16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101" h="160849">
                  <a:moveTo>
                    <a:pt x="6495" y="160850"/>
                  </a:moveTo>
                  <a:cubicBezTo>
                    <a:pt x="2929" y="160850"/>
                    <a:pt x="0" y="157921"/>
                    <a:pt x="0" y="154355"/>
                  </a:cubicBezTo>
                  <a:lnTo>
                    <a:pt x="0" y="6495"/>
                  </a:lnTo>
                  <a:cubicBezTo>
                    <a:pt x="0" y="2929"/>
                    <a:pt x="2929" y="0"/>
                    <a:pt x="6495" y="0"/>
                  </a:cubicBezTo>
                  <a:lnTo>
                    <a:pt x="66607" y="0"/>
                  </a:lnTo>
                  <a:cubicBezTo>
                    <a:pt x="70173" y="0"/>
                    <a:pt x="73102" y="2929"/>
                    <a:pt x="73102" y="6495"/>
                  </a:cubicBezTo>
                  <a:lnTo>
                    <a:pt x="73102" y="154355"/>
                  </a:lnTo>
                  <a:cubicBezTo>
                    <a:pt x="73102" y="157921"/>
                    <a:pt x="70173" y="160850"/>
                    <a:pt x="66607" y="160850"/>
                  </a:cubicBezTo>
                  <a:lnTo>
                    <a:pt x="6495" y="160850"/>
                  </a:lnTo>
                  <a:close/>
                  <a:moveTo>
                    <a:pt x="13117" y="147477"/>
                  </a:moveTo>
                  <a:lnTo>
                    <a:pt x="59857" y="147732"/>
                  </a:lnTo>
                  <a:lnTo>
                    <a:pt x="60111" y="13245"/>
                  </a:lnTo>
                  <a:lnTo>
                    <a:pt x="13117" y="12990"/>
                  </a:lnTo>
                  <a:lnTo>
                    <a:pt x="13117" y="147477"/>
                  </a:lnTo>
                  <a:close/>
                </a:path>
              </a:pathLst>
            </a:custGeom>
            <a:grpFill/>
            <a:ln w="13786" cap="flat">
              <a:noFill/>
              <a:prstDash val="solid"/>
              <a:miter/>
            </a:ln>
          </p:spPr>
          <p:txBody>
            <a:bodyPr rtlCol="0" anchor="ctr"/>
            <a:lstStyle/>
            <a:p>
              <a:endParaRPr lang="ru-RU"/>
            </a:p>
          </p:txBody>
        </p:sp>
        <p:sp>
          <p:nvSpPr>
            <p:cNvPr id="101" name="Полилиния: фигура 100">
              <a:extLst>
                <a:ext uri="{FF2B5EF4-FFF2-40B4-BE49-F238E27FC236}">
                  <a16:creationId xmlns:a16="http://schemas.microsoft.com/office/drawing/2014/main" id="{16ECA170-175F-4BC7-80EB-DE2055423511}"/>
                </a:ext>
              </a:extLst>
            </p:cNvPr>
            <p:cNvSpPr/>
            <p:nvPr/>
          </p:nvSpPr>
          <p:spPr>
            <a:xfrm>
              <a:off x="7830977" y="2197844"/>
              <a:ext cx="73101" cy="107105"/>
            </a:xfrm>
            <a:custGeom>
              <a:avLst/>
              <a:gdLst>
                <a:gd name="connsiteX0" fmla="*/ 6495 w 73101"/>
                <a:gd name="connsiteY0" fmla="*/ 107106 h 107105"/>
                <a:gd name="connsiteX1" fmla="*/ 0 w 73101"/>
                <a:gd name="connsiteY1" fmla="*/ 100611 h 107105"/>
                <a:gd name="connsiteX2" fmla="*/ 0 w 73101"/>
                <a:gd name="connsiteY2" fmla="*/ 6495 h 107105"/>
                <a:gd name="connsiteX3" fmla="*/ 6495 w 73101"/>
                <a:gd name="connsiteY3" fmla="*/ 0 h 107105"/>
                <a:gd name="connsiteX4" fmla="*/ 66607 w 73101"/>
                <a:gd name="connsiteY4" fmla="*/ 0 h 107105"/>
                <a:gd name="connsiteX5" fmla="*/ 73102 w 73101"/>
                <a:gd name="connsiteY5" fmla="*/ 6495 h 107105"/>
                <a:gd name="connsiteX6" fmla="*/ 73102 w 73101"/>
                <a:gd name="connsiteY6" fmla="*/ 100611 h 107105"/>
                <a:gd name="connsiteX7" fmla="*/ 66607 w 73101"/>
                <a:gd name="connsiteY7" fmla="*/ 107106 h 107105"/>
                <a:gd name="connsiteX8" fmla="*/ 6495 w 73101"/>
                <a:gd name="connsiteY8" fmla="*/ 107106 h 107105"/>
                <a:gd name="connsiteX9" fmla="*/ 13117 w 73101"/>
                <a:gd name="connsiteY9" fmla="*/ 93734 h 107105"/>
                <a:gd name="connsiteX10" fmla="*/ 59857 w 73101"/>
                <a:gd name="connsiteY10" fmla="*/ 93988 h 107105"/>
                <a:gd name="connsiteX11" fmla="*/ 60111 w 73101"/>
                <a:gd name="connsiteY11" fmla="*/ 13245 h 107105"/>
                <a:gd name="connsiteX12" fmla="*/ 13117 w 73101"/>
                <a:gd name="connsiteY12" fmla="*/ 12990 h 107105"/>
                <a:gd name="connsiteX13" fmla="*/ 13117 w 73101"/>
                <a:gd name="connsiteY13" fmla="*/ 93734 h 107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101" h="107105">
                  <a:moveTo>
                    <a:pt x="6495" y="107106"/>
                  </a:moveTo>
                  <a:cubicBezTo>
                    <a:pt x="2929" y="107106"/>
                    <a:pt x="0" y="104177"/>
                    <a:pt x="0" y="100611"/>
                  </a:cubicBezTo>
                  <a:lnTo>
                    <a:pt x="0" y="6495"/>
                  </a:lnTo>
                  <a:cubicBezTo>
                    <a:pt x="0" y="2929"/>
                    <a:pt x="2929" y="0"/>
                    <a:pt x="6495" y="0"/>
                  </a:cubicBezTo>
                  <a:lnTo>
                    <a:pt x="66607" y="0"/>
                  </a:lnTo>
                  <a:cubicBezTo>
                    <a:pt x="70173" y="0"/>
                    <a:pt x="73102" y="2929"/>
                    <a:pt x="73102" y="6495"/>
                  </a:cubicBezTo>
                  <a:lnTo>
                    <a:pt x="73102" y="100611"/>
                  </a:lnTo>
                  <a:cubicBezTo>
                    <a:pt x="73102" y="104177"/>
                    <a:pt x="70173" y="107106"/>
                    <a:pt x="66607" y="107106"/>
                  </a:cubicBezTo>
                  <a:lnTo>
                    <a:pt x="6495" y="107106"/>
                  </a:lnTo>
                  <a:close/>
                  <a:moveTo>
                    <a:pt x="13117" y="93734"/>
                  </a:moveTo>
                  <a:lnTo>
                    <a:pt x="59857" y="93988"/>
                  </a:lnTo>
                  <a:lnTo>
                    <a:pt x="60111" y="13245"/>
                  </a:lnTo>
                  <a:lnTo>
                    <a:pt x="13117" y="12990"/>
                  </a:lnTo>
                  <a:lnTo>
                    <a:pt x="13117" y="93734"/>
                  </a:lnTo>
                  <a:close/>
                </a:path>
              </a:pathLst>
            </a:custGeom>
            <a:grpFill/>
            <a:ln w="13786" cap="flat">
              <a:noFill/>
              <a:prstDash val="solid"/>
              <a:miter/>
            </a:ln>
          </p:spPr>
          <p:txBody>
            <a:bodyPr rtlCol="0" anchor="ctr"/>
            <a:lstStyle/>
            <a:p>
              <a:endParaRPr lang="ru-RU"/>
            </a:p>
          </p:txBody>
        </p:sp>
        <p:sp>
          <p:nvSpPr>
            <p:cNvPr id="102" name="Полилиния: фигура 101">
              <a:extLst>
                <a:ext uri="{FF2B5EF4-FFF2-40B4-BE49-F238E27FC236}">
                  <a16:creationId xmlns:a16="http://schemas.microsoft.com/office/drawing/2014/main" id="{776463DD-07A0-4281-8662-5972ACB6C99F}"/>
                </a:ext>
              </a:extLst>
            </p:cNvPr>
            <p:cNvSpPr/>
            <p:nvPr/>
          </p:nvSpPr>
          <p:spPr>
            <a:xfrm>
              <a:off x="7938465" y="2090228"/>
              <a:ext cx="73101" cy="214721"/>
            </a:xfrm>
            <a:custGeom>
              <a:avLst/>
              <a:gdLst>
                <a:gd name="connsiteX0" fmla="*/ 6495 w 73101"/>
                <a:gd name="connsiteY0" fmla="*/ 214721 h 214721"/>
                <a:gd name="connsiteX1" fmla="*/ 0 w 73101"/>
                <a:gd name="connsiteY1" fmla="*/ 208226 h 214721"/>
                <a:gd name="connsiteX2" fmla="*/ 0 w 73101"/>
                <a:gd name="connsiteY2" fmla="*/ 6495 h 214721"/>
                <a:gd name="connsiteX3" fmla="*/ 6495 w 73101"/>
                <a:gd name="connsiteY3" fmla="*/ 0 h 214721"/>
                <a:gd name="connsiteX4" fmla="*/ 66607 w 73101"/>
                <a:gd name="connsiteY4" fmla="*/ 0 h 214721"/>
                <a:gd name="connsiteX5" fmla="*/ 73102 w 73101"/>
                <a:gd name="connsiteY5" fmla="*/ 6495 h 214721"/>
                <a:gd name="connsiteX6" fmla="*/ 73102 w 73101"/>
                <a:gd name="connsiteY6" fmla="*/ 208099 h 214721"/>
                <a:gd name="connsiteX7" fmla="*/ 66607 w 73101"/>
                <a:gd name="connsiteY7" fmla="*/ 214594 h 214721"/>
                <a:gd name="connsiteX8" fmla="*/ 6495 w 73101"/>
                <a:gd name="connsiteY8" fmla="*/ 214594 h 214721"/>
                <a:gd name="connsiteX9" fmla="*/ 13117 w 73101"/>
                <a:gd name="connsiteY9" fmla="*/ 201349 h 214721"/>
                <a:gd name="connsiteX10" fmla="*/ 59857 w 73101"/>
                <a:gd name="connsiteY10" fmla="*/ 201604 h 214721"/>
                <a:gd name="connsiteX11" fmla="*/ 60111 w 73101"/>
                <a:gd name="connsiteY11" fmla="*/ 13372 h 214721"/>
                <a:gd name="connsiteX12" fmla="*/ 13117 w 73101"/>
                <a:gd name="connsiteY12" fmla="*/ 13118 h 214721"/>
                <a:gd name="connsiteX13" fmla="*/ 13117 w 73101"/>
                <a:gd name="connsiteY13" fmla="*/ 201349 h 21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101" h="214721">
                  <a:moveTo>
                    <a:pt x="6495" y="214721"/>
                  </a:moveTo>
                  <a:cubicBezTo>
                    <a:pt x="2929" y="214721"/>
                    <a:pt x="0" y="211792"/>
                    <a:pt x="0" y="208226"/>
                  </a:cubicBezTo>
                  <a:lnTo>
                    <a:pt x="0" y="6495"/>
                  </a:lnTo>
                  <a:cubicBezTo>
                    <a:pt x="0" y="2929"/>
                    <a:pt x="2929" y="0"/>
                    <a:pt x="6495" y="0"/>
                  </a:cubicBezTo>
                  <a:lnTo>
                    <a:pt x="66607" y="0"/>
                  </a:lnTo>
                  <a:cubicBezTo>
                    <a:pt x="70173" y="0"/>
                    <a:pt x="73102" y="2929"/>
                    <a:pt x="73102" y="6495"/>
                  </a:cubicBezTo>
                  <a:lnTo>
                    <a:pt x="73102" y="208099"/>
                  </a:lnTo>
                  <a:cubicBezTo>
                    <a:pt x="73102" y="211665"/>
                    <a:pt x="70173" y="214594"/>
                    <a:pt x="66607" y="214594"/>
                  </a:cubicBezTo>
                  <a:lnTo>
                    <a:pt x="6495" y="214594"/>
                  </a:lnTo>
                  <a:close/>
                  <a:moveTo>
                    <a:pt x="13117" y="201349"/>
                  </a:moveTo>
                  <a:lnTo>
                    <a:pt x="59857" y="201604"/>
                  </a:lnTo>
                  <a:lnTo>
                    <a:pt x="60111" y="13372"/>
                  </a:lnTo>
                  <a:lnTo>
                    <a:pt x="13117" y="13118"/>
                  </a:lnTo>
                  <a:lnTo>
                    <a:pt x="13117" y="201349"/>
                  </a:lnTo>
                  <a:close/>
                </a:path>
              </a:pathLst>
            </a:custGeom>
            <a:grpFill/>
            <a:ln w="13786" cap="flat">
              <a:noFill/>
              <a:prstDash val="solid"/>
              <a:miter/>
            </a:ln>
          </p:spPr>
          <p:txBody>
            <a:bodyPr rtlCol="0" anchor="ctr"/>
            <a:lstStyle/>
            <a:p>
              <a:endParaRPr lang="ru-RU"/>
            </a:p>
          </p:txBody>
        </p:sp>
        <p:sp>
          <p:nvSpPr>
            <p:cNvPr id="103" name="Полилиния: фигура 102">
              <a:extLst>
                <a:ext uri="{FF2B5EF4-FFF2-40B4-BE49-F238E27FC236}">
                  <a16:creationId xmlns:a16="http://schemas.microsoft.com/office/drawing/2014/main" id="{7582246B-20B0-43C7-8146-B459320C7418}"/>
                </a:ext>
              </a:extLst>
            </p:cNvPr>
            <p:cNvSpPr/>
            <p:nvPr/>
          </p:nvSpPr>
          <p:spPr>
            <a:xfrm>
              <a:off x="7873438" y="1934982"/>
              <a:ext cx="122031" cy="193452"/>
            </a:xfrm>
            <a:custGeom>
              <a:avLst/>
              <a:gdLst>
                <a:gd name="connsiteX0" fmla="*/ 6571 w 122031"/>
                <a:gd name="connsiteY0" fmla="*/ 193453 h 193452"/>
                <a:gd name="connsiteX1" fmla="*/ 3133 w 122031"/>
                <a:gd name="connsiteY1" fmla="*/ 192561 h 193452"/>
                <a:gd name="connsiteX2" fmla="*/ 968 w 122031"/>
                <a:gd name="connsiteY2" fmla="*/ 183519 h 193452"/>
                <a:gd name="connsiteX3" fmla="*/ 109856 w 122031"/>
                <a:gd name="connsiteY3" fmla="*/ 3184 h 193452"/>
                <a:gd name="connsiteX4" fmla="*/ 115460 w 122031"/>
                <a:gd name="connsiteY4" fmla="*/ 0 h 193452"/>
                <a:gd name="connsiteX5" fmla="*/ 118899 w 122031"/>
                <a:gd name="connsiteY5" fmla="*/ 891 h 193452"/>
                <a:gd name="connsiteX6" fmla="*/ 121064 w 122031"/>
                <a:gd name="connsiteY6" fmla="*/ 9934 h 193452"/>
                <a:gd name="connsiteX7" fmla="*/ 12175 w 122031"/>
                <a:gd name="connsiteY7" fmla="*/ 190269 h 193452"/>
                <a:gd name="connsiteX8" fmla="*/ 6571 w 122031"/>
                <a:gd name="connsiteY8" fmla="*/ 193453 h 19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031" h="193452">
                  <a:moveTo>
                    <a:pt x="6571" y="193453"/>
                  </a:moveTo>
                  <a:cubicBezTo>
                    <a:pt x="5426" y="193453"/>
                    <a:pt x="4279" y="193071"/>
                    <a:pt x="3133" y="192561"/>
                  </a:cubicBezTo>
                  <a:cubicBezTo>
                    <a:pt x="76" y="190651"/>
                    <a:pt x="-942" y="186703"/>
                    <a:pt x="968" y="183519"/>
                  </a:cubicBezTo>
                  <a:lnTo>
                    <a:pt x="109856" y="3184"/>
                  </a:lnTo>
                  <a:cubicBezTo>
                    <a:pt x="111003" y="1146"/>
                    <a:pt x="113168" y="0"/>
                    <a:pt x="115460" y="0"/>
                  </a:cubicBezTo>
                  <a:cubicBezTo>
                    <a:pt x="116607" y="0"/>
                    <a:pt x="117880" y="382"/>
                    <a:pt x="118899" y="891"/>
                  </a:cubicBezTo>
                  <a:cubicBezTo>
                    <a:pt x="121955" y="2802"/>
                    <a:pt x="122974" y="6750"/>
                    <a:pt x="121064" y="9934"/>
                  </a:cubicBezTo>
                  <a:lnTo>
                    <a:pt x="12175" y="190269"/>
                  </a:lnTo>
                  <a:cubicBezTo>
                    <a:pt x="10902" y="192307"/>
                    <a:pt x="8864" y="193453"/>
                    <a:pt x="6571" y="193453"/>
                  </a:cubicBezTo>
                  <a:close/>
                </a:path>
              </a:pathLst>
            </a:custGeom>
            <a:grpFill/>
            <a:ln w="13786" cap="flat">
              <a:noFill/>
              <a:prstDash val="solid"/>
              <a:miter/>
            </a:ln>
          </p:spPr>
          <p:txBody>
            <a:bodyPr rtlCol="0" anchor="ctr"/>
            <a:lstStyle/>
            <a:p>
              <a:endParaRPr lang="ru-RU"/>
            </a:p>
          </p:txBody>
        </p:sp>
        <p:sp>
          <p:nvSpPr>
            <p:cNvPr id="104" name="Полилиния: фигура 103">
              <a:extLst>
                <a:ext uri="{FF2B5EF4-FFF2-40B4-BE49-F238E27FC236}">
                  <a16:creationId xmlns:a16="http://schemas.microsoft.com/office/drawing/2014/main" id="{4C7DD680-8BD6-401E-8523-C57578B185DC}"/>
                </a:ext>
              </a:extLst>
            </p:cNvPr>
            <p:cNvSpPr/>
            <p:nvPr/>
          </p:nvSpPr>
          <p:spPr>
            <a:xfrm>
              <a:off x="7771866" y="2075837"/>
              <a:ext cx="85109" cy="61639"/>
            </a:xfrm>
            <a:custGeom>
              <a:avLst/>
              <a:gdLst>
                <a:gd name="connsiteX0" fmla="*/ 78469 w 85109"/>
                <a:gd name="connsiteY0" fmla="*/ 61640 h 61639"/>
                <a:gd name="connsiteX1" fmla="*/ 74776 w 85109"/>
                <a:gd name="connsiteY1" fmla="*/ 60494 h 61639"/>
                <a:gd name="connsiteX2" fmla="*/ 2947 w 85109"/>
                <a:gd name="connsiteY2" fmla="*/ 12099 h 61639"/>
                <a:gd name="connsiteX3" fmla="*/ 145 w 85109"/>
                <a:gd name="connsiteY3" fmla="*/ 7896 h 61639"/>
                <a:gd name="connsiteX4" fmla="*/ 1165 w 85109"/>
                <a:gd name="connsiteY4" fmla="*/ 2929 h 61639"/>
                <a:gd name="connsiteX5" fmla="*/ 6641 w 85109"/>
                <a:gd name="connsiteY5" fmla="*/ 0 h 61639"/>
                <a:gd name="connsiteX6" fmla="*/ 10334 w 85109"/>
                <a:gd name="connsiteY6" fmla="*/ 1146 h 61639"/>
                <a:gd name="connsiteX7" fmla="*/ 82162 w 85109"/>
                <a:gd name="connsiteY7" fmla="*/ 49541 h 61639"/>
                <a:gd name="connsiteX8" fmla="*/ 84964 w 85109"/>
                <a:gd name="connsiteY8" fmla="*/ 53744 h 61639"/>
                <a:gd name="connsiteX9" fmla="*/ 83946 w 85109"/>
                <a:gd name="connsiteY9" fmla="*/ 58711 h 61639"/>
                <a:gd name="connsiteX10" fmla="*/ 78469 w 85109"/>
                <a:gd name="connsiteY10" fmla="*/ 61640 h 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109" h="61639">
                  <a:moveTo>
                    <a:pt x="78469" y="61640"/>
                  </a:moveTo>
                  <a:cubicBezTo>
                    <a:pt x="77195" y="61640"/>
                    <a:pt x="75922" y="61258"/>
                    <a:pt x="74776" y="60494"/>
                  </a:cubicBezTo>
                  <a:lnTo>
                    <a:pt x="2947" y="12099"/>
                  </a:lnTo>
                  <a:cubicBezTo>
                    <a:pt x="1546" y="11080"/>
                    <a:pt x="527" y="9679"/>
                    <a:pt x="145" y="7896"/>
                  </a:cubicBezTo>
                  <a:cubicBezTo>
                    <a:pt x="-237" y="6240"/>
                    <a:pt x="145" y="4457"/>
                    <a:pt x="1165" y="2929"/>
                  </a:cubicBezTo>
                  <a:cubicBezTo>
                    <a:pt x="2438" y="1146"/>
                    <a:pt x="4475" y="0"/>
                    <a:pt x="6641" y="0"/>
                  </a:cubicBezTo>
                  <a:cubicBezTo>
                    <a:pt x="7914" y="0"/>
                    <a:pt x="9188" y="382"/>
                    <a:pt x="10334" y="1146"/>
                  </a:cubicBezTo>
                  <a:lnTo>
                    <a:pt x="82162" y="49541"/>
                  </a:lnTo>
                  <a:cubicBezTo>
                    <a:pt x="83563" y="50560"/>
                    <a:pt x="84582" y="51961"/>
                    <a:pt x="84964" y="53744"/>
                  </a:cubicBezTo>
                  <a:cubicBezTo>
                    <a:pt x="85346" y="55400"/>
                    <a:pt x="84964" y="57183"/>
                    <a:pt x="83946" y="58711"/>
                  </a:cubicBezTo>
                  <a:cubicBezTo>
                    <a:pt x="82672" y="60494"/>
                    <a:pt x="80634" y="61640"/>
                    <a:pt x="78469" y="61640"/>
                  </a:cubicBezTo>
                  <a:close/>
                </a:path>
              </a:pathLst>
            </a:custGeom>
            <a:grpFill/>
            <a:ln w="13786" cap="flat">
              <a:noFill/>
              <a:prstDash val="solid"/>
              <a:miter/>
            </a:ln>
          </p:spPr>
          <p:txBody>
            <a:bodyPr rtlCol="0" anchor="ctr"/>
            <a:lstStyle/>
            <a:p>
              <a:endParaRPr lang="ru-RU"/>
            </a:p>
          </p:txBody>
        </p:sp>
        <p:sp>
          <p:nvSpPr>
            <p:cNvPr id="105" name="Полилиния: фигура 104">
              <a:extLst>
                <a:ext uri="{FF2B5EF4-FFF2-40B4-BE49-F238E27FC236}">
                  <a16:creationId xmlns:a16="http://schemas.microsoft.com/office/drawing/2014/main" id="{16FF2015-819D-4B71-A6DD-8BF0A3C23793}"/>
                </a:ext>
              </a:extLst>
            </p:cNvPr>
            <p:cNvSpPr/>
            <p:nvPr/>
          </p:nvSpPr>
          <p:spPr>
            <a:xfrm>
              <a:off x="7665577" y="2074309"/>
              <a:ext cx="83320" cy="70554"/>
            </a:xfrm>
            <a:custGeom>
              <a:avLst/>
              <a:gdLst>
                <a:gd name="connsiteX0" fmla="*/ 6588 w 83320"/>
                <a:gd name="connsiteY0" fmla="*/ 70555 h 70554"/>
                <a:gd name="connsiteX1" fmla="*/ 1494 w 83320"/>
                <a:gd name="connsiteY1" fmla="*/ 68135 h 70554"/>
                <a:gd name="connsiteX2" fmla="*/ 2386 w 83320"/>
                <a:gd name="connsiteY2" fmla="*/ 58966 h 70554"/>
                <a:gd name="connsiteX3" fmla="*/ 72686 w 83320"/>
                <a:gd name="connsiteY3" fmla="*/ 1528 h 70554"/>
                <a:gd name="connsiteX4" fmla="*/ 76761 w 83320"/>
                <a:gd name="connsiteY4" fmla="*/ 0 h 70554"/>
                <a:gd name="connsiteX5" fmla="*/ 81856 w 83320"/>
                <a:gd name="connsiteY5" fmla="*/ 2420 h 70554"/>
                <a:gd name="connsiteX6" fmla="*/ 83256 w 83320"/>
                <a:gd name="connsiteY6" fmla="*/ 7259 h 70554"/>
                <a:gd name="connsiteX7" fmla="*/ 80837 w 83320"/>
                <a:gd name="connsiteY7" fmla="*/ 11717 h 70554"/>
                <a:gd name="connsiteX8" fmla="*/ 10536 w 83320"/>
                <a:gd name="connsiteY8" fmla="*/ 69154 h 70554"/>
                <a:gd name="connsiteX9" fmla="*/ 6588 w 83320"/>
                <a:gd name="connsiteY9" fmla="*/ 70555 h 7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320" h="70554">
                  <a:moveTo>
                    <a:pt x="6588" y="70555"/>
                  </a:moveTo>
                  <a:cubicBezTo>
                    <a:pt x="4678" y="70555"/>
                    <a:pt x="2768" y="69663"/>
                    <a:pt x="1494" y="68135"/>
                  </a:cubicBezTo>
                  <a:cubicBezTo>
                    <a:pt x="-798" y="65333"/>
                    <a:pt x="-416" y="61258"/>
                    <a:pt x="2386" y="58966"/>
                  </a:cubicBezTo>
                  <a:lnTo>
                    <a:pt x="72686" y="1528"/>
                  </a:lnTo>
                  <a:cubicBezTo>
                    <a:pt x="73832" y="637"/>
                    <a:pt x="75360" y="0"/>
                    <a:pt x="76761" y="0"/>
                  </a:cubicBezTo>
                  <a:cubicBezTo>
                    <a:pt x="78799" y="0"/>
                    <a:pt x="80582" y="891"/>
                    <a:pt x="81856" y="2420"/>
                  </a:cubicBezTo>
                  <a:cubicBezTo>
                    <a:pt x="83001" y="3821"/>
                    <a:pt x="83511" y="5476"/>
                    <a:pt x="83256" y="7259"/>
                  </a:cubicBezTo>
                  <a:cubicBezTo>
                    <a:pt x="83129" y="9042"/>
                    <a:pt x="82237" y="10570"/>
                    <a:pt x="80837" y="11717"/>
                  </a:cubicBezTo>
                  <a:lnTo>
                    <a:pt x="10536" y="69154"/>
                  </a:lnTo>
                  <a:cubicBezTo>
                    <a:pt x="9518" y="70045"/>
                    <a:pt x="8116" y="70555"/>
                    <a:pt x="6588" y="70555"/>
                  </a:cubicBezTo>
                  <a:close/>
                </a:path>
              </a:pathLst>
            </a:custGeom>
            <a:grpFill/>
            <a:ln w="13786" cap="flat">
              <a:noFill/>
              <a:prstDash val="solid"/>
              <a:miter/>
            </a:ln>
          </p:spPr>
          <p:txBody>
            <a:bodyPr rtlCol="0" anchor="ctr"/>
            <a:lstStyle/>
            <a:p>
              <a:endParaRPr lang="ru-RU"/>
            </a:p>
          </p:txBody>
        </p:sp>
        <p:sp>
          <p:nvSpPr>
            <p:cNvPr id="106" name="Полилиния: фигура 105">
              <a:extLst>
                <a:ext uri="{FF2B5EF4-FFF2-40B4-BE49-F238E27FC236}">
                  <a16:creationId xmlns:a16="http://schemas.microsoft.com/office/drawing/2014/main" id="{0056EC55-89DF-4515-B262-619F78418149}"/>
                </a:ext>
              </a:extLst>
            </p:cNvPr>
            <p:cNvSpPr/>
            <p:nvPr/>
          </p:nvSpPr>
          <p:spPr>
            <a:xfrm>
              <a:off x="7939020" y="1935110"/>
              <a:ext cx="67967" cy="56291"/>
            </a:xfrm>
            <a:custGeom>
              <a:avLst/>
              <a:gdLst>
                <a:gd name="connsiteX0" fmla="*/ 61595 w 67967"/>
                <a:gd name="connsiteY0" fmla="*/ 56291 h 56291"/>
                <a:gd name="connsiteX1" fmla="*/ 55227 w 67967"/>
                <a:gd name="connsiteY1" fmla="*/ 51452 h 56291"/>
                <a:gd name="connsiteX2" fmla="*/ 45293 w 67967"/>
                <a:gd name="connsiteY2" fmla="*/ 14773 h 56291"/>
                <a:gd name="connsiteX3" fmla="*/ 8233 w 67967"/>
                <a:gd name="connsiteY3" fmla="*/ 24452 h 56291"/>
                <a:gd name="connsiteX4" fmla="*/ 6577 w 67967"/>
                <a:gd name="connsiteY4" fmla="*/ 24707 h 56291"/>
                <a:gd name="connsiteX5" fmla="*/ 209 w 67967"/>
                <a:gd name="connsiteY5" fmla="*/ 19867 h 56291"/>
                <a:gd name="connsiteX6" fmla="*/ 4794 w 67967"/>
                <a:gd name="connsiteY6" fmla="*/ 11844 h 56291"/>
                <a:gd name="connsiteX7" fmla="*/ 48095 w 67967"/>
                <a:gd name="connsiteY7" fmla="*/ 255 h 56291"/>
                <a:gd name="connsiteX8" fmla="*/ 49751 w 67967"/>
                <a:gd name="connsiteY8" fmla="*/ 0 h 56291"/>
                <a:gd name="connsiteX9" fmla="*/ 53061 w 67967"/>
                <a:gd name="connsiteY9" fmla="*/ 891 h 56291"/>
                <a:gd name="connsiteX10" fmla="*/ 56118 w 67967"/>
                <a:gd name="connsiteY10" fmla="*/ 4840 h 56291"/>
                <a:gd name="connsiteX11" fmla="*/ 67707 w 67967"/>
                <a:gd name="connsiteY11" fmla="*/ 48140 h 56291"/>
                <a:gd name="connsiteX12" fmla="*/ 67071 w 67967"/>
                <a:gd name="connsiteY12" fmla="*/ 53107 h 56291"/>
                <a:gd name="connsiteX13" fmla="*/ 63123 w 67967"/>
                <a:gd name="connsiteY13" fmla="*/ 56164 h 56291"/>
                <a:gd name="connsiteX14" fmla="*/ 61595 w 67967"/>
                <a:gd name="connsiteY14" fmla="*/ 56291 h 56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967" h="56291">
                  <a:moveTo>
                    <a:pt x="61595" y="56291"/>
                  </a:moveTo>
                  <a:cubicBezTo>
                    <a:pt x="58665" y="56291"/>
                    <a:pt x="55991" y="54253"/>
                    <a:pt x="55227" y="51452"/>
                  </a:cubicBezTo>
                  <a:lnTo>
                    <a:pt x="45293" y="14773"/>
                  </a:lnTo>
                  <a:lnTo>
                    <a:pt x="8233" y="24452"/>
                  </a:lnTo>
                  <a:cubicBezTo>
                    <a:pt x="7723" y="24580"/>
                    <a:pt x="7086" y="24707"/>
                    <a:pt x="6577" y="24707"/>
                  </a:cubicBezTo>
                  <a:cubicBezTo>
                    <a:pt x="3647" y="24707"/>
                    <a:pt x="1101" y="22669"/>
                    <a:pt x="209" y="19867"/>
                  </a:cubicBezTo>
                  <a:cubicBezTo>
                    <a:pt x="-682" y="16429"/>
                    <a:pt x="1355" y="12736"/>
                    <a:pt x="4794" y="11844"/>
                  </a:cubicBezTo>
                  <a:lnTo>
                    <a:pt x="48095" y="255"/>
                  </a:lnTo>
                  <a:cubicBezTo>
                    <a:pt x="48604" y="127"/>
                    <a:pt x="49241" y="0"/>
                    <a:pt x="49751" y="0"/>
                  </a:cubicBezTo>
                  <a:cubicBezTo>
                    <a:pt x="50896" y="0"/>
                    <a:pt x="52043" y="255"/>
                    <a:pt x="53061" y="891"/>
                  </a:cubicBezTo>
                  <a:cubicBezTo>
                    <a:pt x="54589" y="1783"/>
                    <a:pt x="55609" y="3184"/>
                    <a:pt x="56118" y="4840"/>
                  </a:cubicBezTo>
                  <a:lnTo>
                    <a:pt x="67707" y="48140"/>
                  </a:lnTo>
                  <a:cubicBezTo>
                    <a:pt x="68217" y="49796"/>
                    <a:pt x="67962" y="51579"/>
                    <a:pt x="67071" y="53107"/>
                  </a:cubicBezTo>
                  <a:cubicBezTo>
                    <a:pt x="66179" y="54635"/>
                    <a:pt x="64779" y="55654"/>
                    <a:pt x="63123" y="56164"/>
                  </a:cubicBezTo>
                  <a:cubicBezTo>
                    <a:pt x="62740" y="56164"/>
                    <a:pt x="62231" y="56291"/>
                    <a:pt x="61595" y="56291"/>
                  </a:cubicBezTo>
                  <a:close/>
                </a:path>
              </a:pathLst>
            </a:custGeom>
            <a:grpFill/>
            <a:ln w="13786" cap="flat">
              <a:noFill/>
              <a:prstDash val="solid"/>
              <a:miter/>
            </a:ln>
          </p:spPr>
          <p:txBody>
            <a:bodyPr rtlCol="0" anchor="ctr"/>
            <a:lstStyle/>
            <a:p>
              <a:endParaRPr lang="ru-RU"/>
            </a:p>
          </p:txBody>
        </p:sp>
        <p:sp>
          <p:nvSpPr>
            <p:cNvPr id="107" name="Полилиния: фигура 106">
              <a:extLst>
                <a:ext uri="{FF2B5EF4-FFF2-40B4-BE49-F238E27FC236}">
                  <a16:creationId xmlns:a16="http://schemas.microsoft.com/office/drawing/2014/main" id="{EFEEB442-844C-410C-A4C1-5BBFB3322EFC}"/>
                </a:ext>
              </a:extLst>
            </p:cNvPr>
            <p:cNvSpPr/>
            <p:nvPr/>
          </p:nvSpPr>
          <p:spPr>
            <a:xfrm>
              <a:off x="7596262" y="2292978"/>
              <a:ext cx="435045" cy="12990"/>
            </a:xfrm>
            <a:custGeom>
              <a:avLst/>
              <a:gdLst>
                <a:gd name="connsiteX0" fmla="*/ 6495 w 435045"/>
                <a:gd name="connsiteY0" fmla="*/ 12990 h 12990"/>
                <a:gd name="connsiteX1" fmla="*/ 0 w 435045"/>
                <a:gd name="connsiteY1" fmla="*/ 6495 h 12990"/>
                <a:gd name="connsiteX2" fmla="*/ 6495 w 435045"/>
                <a:gd name="connsiteY2" fmla="*/ 0 h 12990"/>
                <a:gd name="connsiteX3" fmla="*/ 428550 w 435045"/>
                <a:gd name="connsiteY3" fmla="*/ 0 h 12990"/>
                <a:gd name="connsiteX4" fmla="*/ 435046 w 435045"/>
                <a:gd name="connsiteY4" fmla="*/ 6495 h 12990"/>
                <a:gd name="connsiteX5" fmla="*/ 428550 w 435045"/>
                <a:gd name="connsiteY5" fmla="*/ 12990 h 12990"/>
                <a:gd name="connsiteX6" fmla="*/ 6495 w 435045"/>
                <a:gd name="connsiteY6" fmla="*/ 12990 h 12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045" h="12990">
                  <a:moveTo>
                    <a:pt x="6495" y="12990"/>
                  </a:moveTo>
                  <a:cubicBezTo>
                    <a:pt x="2929" y="12990"/>
                    <a:pt x="0" y="10061"/>
                    <a:pt x="0" y="6495"/>
                  </a:cubicBezTo>
                  <a:cubicBezTo>
                    <a:pt x="0" y="2929"/>
                    <a:pt x="2929" y="0"/>
                    <a:pt x="6495" y="0"/>
                  </a:cubicBezTo>
                  <a:lnTo>
                    <a:pt x="428550" y="0"/>
                  </a:lnTo>
                  <a:cubicBezTo>
                    <a:pt x="432117" y="0"/>
                    <a:pt x="435046" y="2929"/>
                    <a:pt x="435046" y="6495"/>
                  </a:cubicBezTo>
                  <a:cubicBezTo>
                    <a:pt x="435046" y="10061"/>
                    <a:pt x="432117" y="12990"/>
                    <a:pt x="428550" y="12990"/>
                  </a:cubicBezTo>
                  <a:lnTo>
                    <a:pt x="6495" y="12990"/>
                  </a:lnTo>
                  <a:close/>
                </a:path>
              </a:pathLst>
            </a:custGeom>
            <a:grpFill/>
            <a:ln w="13786" cap="flat">
              <a:noFill/>
              <a:prstDash val="solid"/>
              <a:miter/>
            </a:ln>
          </p:spPr>
          <p:txBody>
            <a:bodyPr rtlCol="0" anchor="ctr"/>
            <a:lstStyle/>
            <a:p>
              <a:endParaRPr lang="ru-RU"/>
            </a:p>
          </p:txBody>
        </p:sp>
        <p:sp>
          <p:nvSpPr>
            <p:cNvPr id="108" name="Полилиния: фигура 107">
              <a:extLst>
                <a:ext uri="{FF2B5EF4-FFF2-40B4-BE49-F238E27FC236}">
                  <a16:creationId xmlns:a16="http://schemas.microsoft.com/office/drawing/2014/main" id="{FD60A7FD-939A-43B6-A40D-721007BC8590}"/>
                </a:ext>
              </a:extLst>
            </p:cNvPr>
            <p:cNvSpPr/>
            <p:nvPr/>
          </p:nvSpPr>
          <p:spPr>
            <a:xfrm>
              <a:off x="7625171" y="2123214"/>
              <a:ext cx="54763" cy="54762"/>
            </a:xfrm>
            <a:custGeom>
              <a:avLst/>
              <a:gdLst>
                <a:gd name="connsiteX0" fmla="*/ 27382 w 54763"/>
                <a:gd name="connsiteY0" fmla="*/ 54763 h 54762"/>
                <a:gd name="connsiteX1" fmla="*/ 0 w 54763"/>
                <a:gd name="connsiteY1" fmla="*/ 27381 h 54762"/>
                <a:gd name="connsiteX2" fmla="*/ 27382 w 54763"/>
                <a:gd name="connsiteY2" fmla="*/ 0 h 54762"/>
                <a:gd name="connsiteX3" fmla="*/ 54763 w 54763"/>
                <a:gd name="connsiteY3" fmla="*/ 27381 h 54762"/>
                <a:gd name="connsiteX4" fmla="*/ 27382 w 54763"/>
                <a:gd name="connsiteY4" fmla="*/ 54763 h 54762"/>
                <a:gd name="connsiteX5" fmla="*/ 27382 w 54763"/>
                <a:gd name="connsiteY5" fmla="*/ 12990 h 54762"/>
                <a:gd name="connsiteX6" fmla="*/ 13118 w 54763"/>
                <a:gd name="connsiteY6" fmla="*/ 27254 h 54762"/>
                <a:gd name="connsiteX7" fmla="*/ 27382 w 54763"/>
                <a:gd name="connsiteY7" fmla="*/ 41518 h 54762"/>
                <a:gd name="connsiteX8" fmla="*/ 41645 w 54763"/>
                <a:gd name="connsiteY8" fmla="*/ 27254 h 54762"/>
                <a:gd name="connsiteX9" fmla="*/ 27382 w 54763"/>
                <a:gd name="connsiteY9" fmla="*/ 12990 h 5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 h="54762">
                  <a:moveTo>
                    <a:pt x="27382" y="54763"/>
                  </a:moveTo>
                  <a:cubicBezTo>
                    <a:pt x="12226" y="54763"/>
                    <a:pt x="0" y="42409"/>
                    <a:pt x="0" y="27381"/>
                  </a:cubicBezTo>
                  <a:cubicBezTo>
                    <a:pt x="0" y="12226"/>
                    <a:pt x="12354" y="0"/>
                    <a:pt x="27382" y="0"/>
                  </a:cubicBezTo>
                  <a:cubicBezTo>
                    <a:pt x="42537" y="0"/>
                    <a:pt x="54763" y="12353"/>
                    <a:pt x="54763" y="27381"/>
                  </a:cubicBezTo>
                  <a:cubicBezTo>
                    <a:pt x="54763" y="42409"/>
                    <a:pt x="42410" y="54763"/>
                    <a:pt x="27382" y="54763"/>
                  </a:cubicBezTo>
                  <a:close/>
                  <a:moveTo>
                    <a:pt x="27382" y="12990"/>
                  </a:moveTo>
                  <a:cubicBezTo>
                    <a:pt x="19486" y="12990"/>
                    <a:pt x="13118" y="19358"/>
                    <a:pt x="13118" y="27254"/>
                  </a:cubicBezTo>
                  <a:cubicBezTo>
                    <a:pt x="13118" y="35150"/>
                    <a:pt x="19486" y="41518"/>
                    <a:pt x="27382" y="41518"/>
                  </a:cubicBezTo>
                  <a:cubicBezTo>
                    <a:pt x="35278" y="41518"/>
                    <a:pt x="41645" y="35150"/>
                    <a:pt x="41645" y="27254"/>
                  </a:cubicBezTo>
                  <a:cubicBezTo>
                    <a:pt x="41645" y="19358"/>
                    <a:pt x="35278" y="12990"/>
                    <a:pt x="27382" y="12990"/>
                  </a:cubicBezTo>
                  <a:close/>
                </a:path>
              </a:pathLst>
            </a:custGeom>
            <a:grpFill/>
            <a:ln w="13786" cap="flat">
              <a:noFill/>
              <a:prstDash val="solid"/>
              <a:miter/>
            </a:ln>
          </p:spPr>
          <p:txBody>
            <a:bodyPr rtlCol="0" anchor="ctr"/>
            <a:lstStyle/>
            <a:p>
              <a:endParaRPr lang="ru-RU"/>
            </a:p>
          </p:txBody>
        </p:sp>
        <p:sp>
          <p:nvSpPr>
            <p:cNvPr id="109" name="Полилиния: фигура 108">
              <a:extLst>
                <a:ext uri="{FF2B5EF4-FFF2-40B4-BE49-F238E27FC236}">
                  <a16:creationId xmlns:a16="http://schemas.microsoft.com/office/drawing/2014/main" id="{6F8313C1-2A86-4C28-ABA9-7266B960EBD0}"/>
                </a:ext>
              </a:extLst>
            </p:cNvPr>
            <p:cNvSpPr/>
            <p:nvPr/>
          </p:nvSpPr>
          <p:spPr>
            <a:xfrm>
              <a:off x="7732659" y="2042216"/>
              <a:ext cx="54763" cy="54762"/>
            </a:xfrm>
            <a:custGeom>
              <a:avLst/>
              <a:gdLst>
                <a:gd name="connsiteX0" fmla="*/ 27382 w 54763"/>
                <a:gd name="connsiteY0" fmla="*/ 54763 h 54762"/>
                <a:gd name="connsiteX1" fmla="*/ 0 w 54763"/>
                <a:gd name="connsiteY1" fmla="*/ 27381 h 54762"/>
                <a:gd name="connsiteX2" fmla="*/ 27382 w 54763"/>
                <a:gd name="connsiteY2" fmla="*/ 0 h 54762"/>
                <a:gd name="connsiteX3" fmla="*/ 54763 w 54763"/>
                <a:gd name="connsiteY3" fmla="*/ 27381 h 54762"/>
                <a:gd name="connsiteX4" fmla="*/ 27382 w 54763"/>
                <a:gd name="connsiteY4" fmla="*/ 54763 h 54762"/>
                <a:gd name="connsiteX5" fmla="*/ 27382 w 54763"/>
                <a:gd name="connsiteY5" fmla="*/ 13118 h 54762"/>
                <a:gd name="connsiteX6" fmla="*/ 13118 w 54763"/>
                <a:gd name="connsiteY6" fmla="*/ 27381 h 54762"/>
                <a:gd name="connsiteX7" fmla="*/ 27382 w 54763"/>
                <a:gd name="connsiteY7" fmla="*/ 41773 h 54762"/>
                <a:gd name="connsiteX8" fmla="*/ 41645 w 54763"/>
                <a:gd name="connsiteY8" fmla="*/ 27381 h 54762"/>
                <a:gd name="connsiteX9" fmla="*/ 27382 w 54763"/>
                <a:gd name="connsiteY9" fmla="*/ 13118 h 5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3" h="54762">
                  <a:moveTo>
                    <a:pt x="27382" y="54763"/>
                  </a:moveTo>
                  <a:cubicBezTo>
                    <a:pt x="12226" y="54763"/>
                    <a:pt x="0" y="42409"/>
                    <a:pt x="0" y="27381"/>
                  </a:cubicBezTo>
                  <a:cubicBezTo>
                    <a:pt x="0" y="12353"/>
                    <a:pt x="12354" y="0"/>
                    <a:pt x="27382" y="0"/>
                  </a:cubicBezTo>
                  <a:cubicBezTo>
                    <a:pt x="42537" y="0"/>
                    <a:pt x="54763" y="12353"/>
                    <a:pt x="54763" y="27381"/>
                  </a:cubicBezTo>
                  <a:cubicBezTo>
                    <a:pt x="54763" y="42409"/>
                    <a:pt x="42537" y="54763"/>
                    <a:pt x="27382" y="54763"/>
                  </a:cubicBezTo>
                  <a:close/>
                  <a:moveTo>
                    <a:pt x="27382" y="13118"/>
                  </a:moveTo>
                  <a:cubicBezTo>
                    <a:pt x="19486" y="13118"/>
                    <a:pt x="13118" y="19485"/>
                    <a:pt x="13118" y="27381"/>
                  </a:cubicBezTo>
                  <a:cubicBezTo>
                    <a:pt x="13118" y="35277"/>
                    <a:pt x="19486" y="41773"/>
                    <a:pt x="27382" y="41773"/>
                  </a:cubicBezTo>
                  <a:cubicBezTo>
                    <a:pt x="35278" y="41773"/>
                    <a:pt x="41645" y="35277"/>
                    <a:pt x="41645" y="27381"/>
                  </a:cubicBezTo>
                  <a:cubicBezTo>
                    <a:pt x="41645" y="19485"/>
                    <a:pt x="35278" y="13118"/>
                    <a:pt x="27382" y="13118"/>
                  </a:cubicBezTo>
                  <a:close/>
                </a:path>
              </a:pathLst>
            </a:custGeom>
            <a:grpFill/>
            <a:ln w="13786" cap="flat">
              <a:noFill/>
              <a:prstDash val="solid"/>
              <a:miter/>
            </a:ln>
          </p:spPr>
          <p:txBody>
            <a:bodyPr rtlCol="0" anchor="ctr"/>
            <a:lstStyle/>
            <a:p>
              <a:endParaRPr lang="ru-RU"/>
            </a:p>
          </p:txBody>
        </p:sp>
        <p:sp>
          <p:nvSpPr>
            <p:cNvPr id="110" name="Полилиния: фигура 109">
              <a:extLst>
                <a:ext uri="{FF2B5EF4-FFF2-40B4-BE49-F238E27FC236}">
                  <a16:creationId xmlns:a16="http://schemas.microsoft.com/office/drawing/2014/main" id="{D58D8644-13CE-417F-B453-64E8FAA3A35C}"/>
                </a:ext>
              </a:extLst>
            </p:cNvPr>
            <p:cNvSpPr/>
            <p:nvPr/>
          </p:nvSpPr>
          <p:spPr>
            <a:xfrm>
              <a:off x="7840147" y="2115445"/>
              <a:ext cx="54762" cy="54762"/>
            </a:xfrm>
            <a:custGeom>
              <a:avLst/>
              <a:gdLst>
                <a:gd name="connsiteX0" fmla="*/ 27382 w 54762"/>
                <a:gd name="connsiteY0" fmla="*/ 54763 h 54762"/>
                <a:gd name="connsiteX1" fmla="*/ 0 w 54762"/>
                <a:gd name="connsiteY1" fmla="*/ 27381 h 54762"/>
                <a:gd name="connsiteX2" fmla="*/ 27382 w 54762"/>
                <a:gd name="connsiteY2" fmla="*/ 0 h 54762"/>
                <a:gd name="connsiteX3" fmla="*/ 54763 w 54762"/>
                <a:gd name="connsiteY3" fmla="*/ 27381 h 54762"/>
                <a:gd name="connsiteX4" fmla="*/ 27382 w 54762"/>
                <a:gd name="connsiteY4" fmla="*/ 54763 h 54762"/>
                <a:gd name="connsiteX5" fmla="*/ 27382 w 54762"/>
                <a:gd name="connsiteY5" fmla="*/ 12990 h 54762"/>
                <a:gd name="connsiteX6" fmla="*/ 13118 w 54762"/>
                <a:gd name="connsiteY6" fmla="*/ 27254 h 54762"/>
                <a:gd name="connsiteX7" fmla="*/ 27382 w 54762"/>
                <a:gd name="connsiteY7" fmla="*/ 41645 h 54762"/>
                <a:gd name="connsiteX8" fmla="*/ 41645 w 54762"/>
                <a:gd name="connsiteY8" fmla="*/ 27254 h 54762"/>
                <a:gd name="connsiteX9" fmla="*/ 27382 w 54762"/>
                <a:gd name="connsiteY9" fmla="*/ 12990 h 54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2" h="54762">
                  <a:moveTo>
                    <a:pt x="27382" y="54763"/>
                  </a:moveTo>
                  <a:cubicBezTo>
                    <a:pt x="12226" y="54763"/>
                    <a:pt x="0" y="42409"/>
                    <a:pt x="0" y="27381"/>
                  </a:cubicBezTo>
                  <a:cubicBezTo>
                    <a:pt x="0" y="12226"/>
                    <a:pt x="12354" y="0"/>
                    <a:pt x="27382" y="0"/>
                  </a:cubicBezTo>
                  <a:cubicBezTo>
                    <a:pt x="42537" y="0"/>
                    <a:pt x="54763" y="12353"/>
                    <a:pt x="54763" y="27381"/>
                  </a:cubicBezTo>
                  <a:cubicBezTo>
                    <a:pt x="54763" y="42409"/>
                    <a:pt x="42537" y="54763"/>
                    <a:pt x="27382" y="54763"/>
                  </a:cubicBezTo>
                  <a:close/>
                  <a:moveTo>
                    <a:pt x="27382" y="12990"/>
                  </a:moveTo>
                  <a:cubicBezTo>
                    <a:pt x="19486" y="12990"/>
                    <a:pt x="13118" y="19358"/>
                    <a:pt x="13118" y="27254"/>
                  </a:cubicBezTo>
                  <a:cubicBezTo>
                    <a:pt x="13118" y="35150"/>
                    <a:pt x="19486" y="41645"/>
                    <a:pt x="27382" y="41645"/>
                  </a:cubicBezTo>
                  <a:cubicBezTo>
                    <a:pt x="35278" y="41645"/>
                    <a:pt x="41645" y="35150"/>
                    <a:pt x="41645" y="27254"/>
                  </a:cubicBezTo>
                  <a:cubicBezTo>
                    <a:pt x="41773" y="19358"/>
                    <a:pt x="35278" y="12990"/>
                    <a:pt x="27382" y="12990"/>
                  </a:cubicBezTo>
                  <a:close/>
                </a:path>
              </a:pathLst>
            </a:custGeom>
            <a:grpFill/>
            <a:ln w="13786" cap="flat">
              <a:noFill/>
              <a:prstDash val="solid"/>
              <a:miter/>
            </a:ln>
          </p:spPr>
          <p:txBody>
            <a:bodyPr rtlCol="0" anchor="ctr"/>
            <a:lstStyle/>
            <a:p>
              <a:endParaRPr lang="ru-RU"/>
            </a:p>
          </p:txBody>
        </p:sp>
      </p:grpSp>
      <p:sp>
        <p:nvSpPr>
          <p:cNvPr id="111" name="Прямоугольник 110">
            <a:extLst>
              <a:ext uri="{FF2B5EF4-FFF2-40B4-BE49-F238E27FC236}">
                <a16:creationId xmlns:a16="http://schemas.microsoft.com/office/drawing/2014/main" id="{27DC6A14-6D2F-4F46-8CB0-EB8A45A2A440}"/>
              </a:ext>
            </a:extLst>
          </p:cNvPr>
          <p:cNvSpPr/>
          <p:nvPr/>
        </p:nvSpPr>
        <p:spPr>
          <a:xfrm>
            <a:off x="10691974" y="5300663"/>
            <a:ext cx="967262" cy="828000"/>
          </a:xfrm>
          <a:prstGeom prst="rect">
            <a:avLst/>
          </a:prstGeom>
          <a:noFill/>
          <a:ln w="6350">
            <a:solidFill>
              <a:schemeClr val="accent4"/>
            </a:solid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112" name="Прямоугольник 111">
            <a:extLst>
              <a:ext uri="{FF2B5EF4-FFF2-40B4-BE49-F238E27FC236}">
                <a16:creationId xmlns:a16="http://schemas.microsoft.com/office/drawing/2014/main" id="{065C8EA6-2CF2-4A63-95B4-D899553308C2}"/>
              </a:ext>
            </a:extLst>
          </p:cNvPr>
          <p:cNvSpPr/>
          <p:nvPr/>
        </p:nvSpPr>
        <p:spPr>
          <a:xfrm>
            <a:off x="10691974" y="4345195"/>
            <a:ext cx="967262" cy="828000"/>
          </a:xfrm>
          <a:prstGeom prst="rect">
            <a:avLst/>
          </a:prstGeom>
          <a:noFill/>
          <a:ln w="6350">
            <a:solidFill>
              <a:schemeClr val="accent3"/>
            </a:solid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114" name="Прямоугольник 113">
            <a:extLst>
              <a:ext uri="{FF2B5EF4-FFF2-40B4-BE49-F238E27FC236}">
                <a16:creationId xmlns:a16="http://schemas.microsoft.com/office/drawing/2014/main" id="{D8BB89FF-952F-4B8B-8C8C-02D6950682B6}"/>
              </a:ext>
            </a:extLst>
          </p:cNvPr>
          <p:cNvSpPr/>
          <p:nvPr/>
        </p:nvSpPr>
        <p:spPr>
          <a:xfrm>
            <a:off x="10691974" y="3389727"/>
            <a:ext cx="967262" cy="828000"/>
          </a:xfrm>
          <a:prstGeom prst="rect">
            <a:avLst/>
          </a:prstGeom>
          <a:noFill/>
          <a:ln w="6350">
            <a:solidFill>
              <a:schemeClr val="accent2"/>
            </a:solid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115" name="Прямоугольник 114">
            <a:extLst>
              <a:ext uri="{FF2B5EF4-FFF2-40B4-BE49-F238E27FC236}">
                <a16:creationId xmlns:a16="http://schemas.microsoft.com/office/drawing/2014/main" id="{3CEECE43-CB6A-4858-BF12-D1E73350B968}"/>
              </a:ext>
            </a:extLst>
          </p:cNvPr>
          <p:cNvSpPr/>
          <p:nvPr/>
        </p:nvSpPr>
        <p:spPr>
          <a:xfrm>
            <a:off x="10691974" y="2434259"/>
            <a:ext cx="967262" cy="828000"/>
          </a:xfrm>
          <a:prstGeom prst="rect">
            <a:avLst/>
          </a:prstGeom>
          <a:noFill/>
          <a:ln w="6350">
            <a:solidFill>
              <a:schemeClr val="accent1"/>
            </a:solid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
        <p:nvSpPr>
          <p:cNvPr id="116" name="Прямоугольник 115">
            <a:extLst>
              <a:ext uri="{FF2B5EF4-FFF2-40B4-BE49-F238E27FC236}">
                <a16:creationId xmlns:a16="http://schemas.microsoft.com/office/drawing/2014/main" id="{57D5AB1B-E479-47B8-BABD-11E1BDF04184}"/>
              </a:ext>
            </a:extLst>
          </p:cNvPr>
          <p:cNvSpPr/>
          <p:nvPr/>
        </p:nvSpPr>
        <p:spPr>
          <a:xfrm>
            <a:off x="10691974" y="1478791"/>
            <a:ext cx="967262" cy="828000"/>
          </a:xfrm>
          <a:prstGeom prst="rect">
            <a:avLst/>
          </a:prstGeom>
          <a:noFill/>
          <a:ln w="6350">
            <a:solidFill>
              <a:schemeClr val="accent1"/>
            </a:solidFill>
            <a:miter lim="800000"/>
            <a:headEnd/>
            <a:tailEnd/>
          </a:ln>
          <a:effectLst/>
        </p:spPr>
        <p:txBody>
          <a:bodyPr vert="horz" wrap="square" lIns="0" tIns="0" rIns="0" bIns="0" numCol="1" rtlCol="0" anchor="t" anchorCtr="0" compatLnSpc="1">
            <a:prstTxWarp prst="textNoShape">
              <a:avLst/>
            </a:prstTxWarp>
            <a:noAutofit/>
          </a:bodyPr>
          <a:lstStyle/>
          <a:p>
            <a:pPr marL="228600" indent="-228600" defTabSz="895350">
              <a:spcAft>
                <a:spcPts val="600"/>
              </a:spcAft>
              <a:buClr>
                <a:srgbClr val="DD1E25"/>
              </a:buClr>
              <a:buFont typeface="Wingdings" panose="05000000000000000000" pitchFamily="2" charset="2"/>
              <a:buChar char="§"/>
            </a:pPr>
            <a:endParaRPr lang="ru-RU" sz="1200">
              <a:solidFill>
                <a:srgbClr val="99A4AB">
                  <a:lumMod val="50000"/>
                </a:srgbClr>
              </a:solidFill>
              <a:latin typeface="Arial"/>
            </a:endParaRPr>
          </a:p>
        </p:txBody>
      </p:sp>
    </p:spTree>
    <p:extLst>
      <p:ext uri="{BB962C8B-B14F-4D97-AF65-F5344CB8AC3E}">
        <p14:creationId xmlns:p14="http://schemas.microsoft.com/office/powerpoint/2010/main" val="2567499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Прямоугольник 142">
            <a:extLst>
              <a:ext uri="{FF2B5EF4-FFF2-40B4-BE49-F238E27FC236}">
                <a16:creationId xmlns:a16="http://schemas.microsoft.com/office/drawing/2014/main" id="{2064F481-0C62-4099-A61A-BB875607F0C7}"/>
              </a:ext>
            </a:extLst>
          </p:cNvPr>
          <p:cNvSpPr/>
          <p:nvPr/>
        </p:nvSpPr>
        <p:spPr>
          <a:xfrm>
            <a:off x="584199" y="1048216"/>
            <a:ext cx="11016175" cy="4875616"/>
          </a:xfrm>
          <a:prstGeom prst="rect">
            <a:avLst/>
          </a:prstGeom>
          <a:noFill/>
          <a:ln w="6350">
            <a:solidFill>
              <a:schemeClr val="tx2">
                <a:alpha val="99000"/>
              </a:schemeClr>
            </a:solidFill>
          </a:ln>
          <a:effectLst>
            <a:outerShdw blurRad="127000" dist="127000" dir="2700000" algn="tl" rotWithShape="0">
              <a:prstClr val="black">
                <a:alpha val="5000"/>
              </a:prstClr>
            </a:outerShdw>
          </a:effectLst>
        </p:spPr>
        <p:txBody>
          <a:bodyPr wrap="none" lIns="1296000" anchor="ctr"/>
          <a:lstStyle/>
          <a:p>
            <a:endParaRPr lang="ru-RU">
              <a:latin typeface="+mj-lt"/>
            </a:endParaRPr>
          </a:p>
        </p:txBody>
      </p:sp>
      <p:sp>
        <p:nvSpPr>
          <p:cNvPr id="51" name="Прямоугольник 50">
            <a:extLst>
              <a:ext uri="{FF2B5EF4-FFF2-40B4-BE49-F238E27FC236}">
                <a16:creationId xmlns:a16="http://schemas.microsoft.com/office/drawing/2014/main" id="{FEC4BAF5-B1B6-445A-837D-76E08C43EA7B}"/>
              </a:ext>
            </a:extLst>
          </p:cNvPr>
          <p:cNvSpPr/>
          <p:nvPr/>
        </p:nvSpPr>
        <p:spPr>
          <a:xfrm>
            <a:off x="3124216" y="2432518"/>
            <a:ext cx="2052000" cy="1536523"/>
          </a:xfrm>
          <a:prstGeom prst="rect">
            <a:avLst/>
          </a:prstGeom>
          <a:solidFill>
            <a:schemeClr val="bg1"/>
          </a:solidFill>
          <a:ln w="6350">
            <a:solidFill>
              <a:schemeClr val="accent4">
                <a:alpha val="99000"/>
              </a:schemeClr>
            </a:solidFill>
          </a:ln>
          <a:effectLst>
            <a:outerShdw blurRad="127000" dist="127000" dir="2700000" algn="tl" rotWithShape="0">
              <a:prstClr val="black">
                <a:alpha val="5000"/>
              </a:prstClr>
            </a:outerShdw>
          </a:effectLst>
        </p:spPr>
        <p:txBody>
          <a:bodyPr wrap="none" lIns="1296000" anchor="ctr"/>
          <a:lstStyle/>
          <a:p>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52" name="Прямоугольник 51">
            <a:extLst>
              <a:ext uri="{FF2B5EF4-FFF2-40B4-BE49-F238E27FC236}">
                <a16:creationId xmlns:a16="http://schemas.microsoft.com/office/drawing/2014/main" id="{6114BC53-064E-469D-9B48-24CE86651221}"/>
              </a:ext>
            </a:extLst>
          </p:cNvPr>
          <p:cNvSpPr/>
          <p:nvPr/>
        </p:nvSpPr>
        <p:spPr>
          <a:xfrm>
            <a:off x="5329620" y="2432518"/>
            <a:ext cx="2802682" cy="1536523"/>
          </a:xfrm>
          <a:prstGeom prst="rect">
            <a:avLst/>
          </a:prstGeom>
          <a:solidFill>
            <a:schemeClr val="bg1"/>
          </a:solidFill>
          <a:ln w="6350">
            <a:solidFill>
              <a:schemeClr val="accent3">
                <a:alpha val="99000"/>
              </a:schemeClr>
            </a:solidFill>
          </a:ln>
          <a:effectLst>
            <a:outerShdw blurRad="127000" dist="127000" dir="2700000" algn="tl" rotWithShape="0">
              <a:prstClr val="black">
                <a:alpha val="5000"/>
              </a:prstClr>
            </a:outerShdw>
          </a:effectLst>
        </p:spPr>
        <p:txBody>
          <a:bodyPr wrap="none" lIns="1296000" anchor="ctr"/>
          <a:lstStyle/>
          <a:p>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46" name="Прямоугольник 45">
            <a:extLst>
              <a:ext uri="{FF2B5EF4-FFF2-40B4-BE49-F238E27FC236}">
                <a16:creationId xmlns:a16="http://schemas.microsoft.com/office/drawing/2014/main" id="{8A3C99F3-E7E7-4A4E-A234-6A11F260D4B8}"/>
              </a:ext>
            </a:extLst>
          </p:cNvPr>
          <p:cNvSpPr/>
          <p:nvPr/>
        </p:nvSpPr>
        <p:spPr>
          <a:xfrm>
            <a:off x="918809" y="2432518"/>
            <a:ext cx="2052000" cy="1536523"/>
          </a:xfrm>
          <a:prstGeom prst="rect">
            <a:avLst/>
          </a:prstGeom>
          <a:solidFill>
            <a:schemeClr val="bg1"/>
          </a:solidFill>
          <a:ln w="6350">
            <a:solidFill>
              <a:schemeClr val="accent4">
                <a:alpha val="99000"/>
              </a:schemeClr>
            </a:solidFill>
          </a:ln>
          <a:effectLst>
            <a:outerShdw blurRad="127000" dist="127000" dir="2700000" algn="tl" rotWithShape="0">
              <a:prstClr val="black">
                <a:alpha val="5000"/>
              </a:prstClr>
            </a:outerShdw>
          </a:effectLst>
        </p:spPr>
        <p:txBody>
          <a:bodyPr wrap="none" lIns="1296000" anchor="ctr"/>
          <a:lstStyle/>
          <a:p>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2" name="Заголовок 1">
            <a:extLst>
              <a:ext uri="{FF2B5EF4-FFF2-40B4-BE49-F238E27FC236}">
                <a16:creationId xmlns:a16="http://schemas.microsoft.com/office/drawing/2014/main" id="{BA3A17AC-5726-4620-AFE7-2B66AB636D35}"/>
              </a:ext>
            </a:extLst>
          </p:cNvPr>
          <p:cNvSpPr>
            <a:spLocks noGrp="1"/>
          </p:cNvSpPr>
          <p:nvPr>
            <p:ph type="title"/>
          </p:nvPr>
        </p:nvSpPr>
        <p:spPr>
          <a:xfrm>
            <a:off x="440812" y="320493"/>
            <a:ext cx="11310376" cy="458926"/>
          </a:xfrm>
        </p:spPr>
        <p:txBody>
          <a:bodyPr>
            <a:noAutofit/>
          </a:bodyPr>
          <a:lstStyle/>
          <a:p>
            <a:r>
              <a:rPr lang="ru-RU" sz="2800"/>
              <a:t>Организационная модель как объект трансформации</a:t>
            </a:r>
          </a:p>
        </p:txBody>
      </p:sp>
      <p:sp>
        <p:nvSpPr>
          <p:cNvPr id="109" name="Прямоугольник 108">
            <a:extLst>
              <a:ext uri="{FF2B5EF4-FFF2-40B4-BE49-F238E27FC236}">
                <a16:creationId xmlns:a16="http://schemas.microsoft.com/office/drawing/2014/main" id="{61204737-9318-478D-8BC9-5BD74320BC2A}"/>
              </a:ext>
            </a:extLst>
          </p:cNvPr>
          <p:cNvSpPr/>
          <p:nvPr/>
        </p:nvSpPr>
        <p:spPr>
          <a:xfrm>
            <a:off x="5333913" y="2562572"/>
            <a:ext cx="2802418" cy="1019232"/>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10" name="Прямоугольник 109">
            <a:extLst>
              <a:ext uri="{FF2B5EF4-FFF2-40B4-BE49-F238E27FC236}">
                <a16:creationId xmlns:a16="http://schemas.microsoft.com/office/drawing/2014/main" id="{CD00DEDF-F575-4992-A1C0-0D6AF3B6B928}"/>
              </a:ext>
            </a:extLst>
          </p:cNvPr>
          <p:cNvSpPr/>
          <p:nvPr/>
        </p:nvSpPr>
        <p:spPr>
          <a:xfrm>
            <a:off x="3124216" y="1683895"/>
            <a:ext cx="2052000" cy="756000"/>
          </a:xfrm>
          <a:prstGeom prst="rect">
            <a:avLst/>
          </a:prstGeom>
          <a:gradFill>
            <a:gsLst>
              <a:gs pos="100000">
                <a:schemeClr val="accent4"/>
              </a:gs>
              <a:gs pos="0">
                <a:schemeClr val="accent4">
                  <a:lumMod val="75000"/>
                </a:schemeClr>
              </a:gs>
            </a:gsLst>
            <a:lin ang="3360000" scaled="0"/>
          </a:gradFill>
          <a:ln w="6350" cap="flat" cmpd="sng" algn="ctr">
            <a:solidFill>
              <a:schemeClr val="accent4"/>
            </a:solidFill>
            <a:prstDash val="solid"/>
            <a:miter lim="800000"/>
          </a:ln>
          <a:effectLst>
            <a:outerShdw blurRad="165100" dist="38100" dir="2700000" algn="tl" rotWithShape="0">
              <a:prstClr val="black">
                <a:alpha val="10000"/>
              </a:prstClr>
            </a:outerShdw>
          </a:effectLst>
        </p:spPr>
        <p:txBody>
          <a:bodyPr lIns="108000" tIns="72000" rIns="108000" bIns="72000" rtlCol="0" anchor="ctr"/>
          <a:lstStyle/>
          <a:p>
            <a:pPr algn="ctr">
              <a:lnSpc>
                <a:spcPct val="90000"/>
              </a:lnSpc>
              <a:spcBef>
                <a:spcPts val="300"/>
              </a:spcBef>
              <a:spcAft>
                <a:spcPts val="300"/>
              </a:spcAft>
              <a:defRPr/>
            </a:pPr>
            <a:r>
              <a:rPr lang="ru-RU" b="1">
                <a:solidFill>
                  <a:srgbClr val="FFFFFF"/>
                </a:solidFill>
                <a:latin typeface="+mj-lt"/>
                <a:cs typeface="Segoe UI Semibold" panose="020B0702040204020203" pitchFamily="34" charset="0"/>
              </a:rPr>
              <a:t>ПРОДУКТЫ</a:t>
            </a:r>
          </a:p>
        </p:txBody>
      </p:sp>
      <p:sp>
        <p:nvSpPr>
          <p:cNvPr id="111" name="Прямоугольник 110">
            <a:extLst>
              <a:ext uri="{FF2B5EF4-FFF2-40B4-BE49-F238E27FC236}">
                <a16:creationId xmlns:a16="http://schemas.microsoft.com/office/drawing/2014/main" id="{EB270AC4-D0ED-494C-91E6-0A35A16A7CE8}"/>
              </a:ext>
            </a:extLst>
          </p:cNvPr>
          <p:cNvSpPr/>
          <p:nvPr/>
        </p:nvSpPr>
        <p:spPr>
          <a:xfrm>
            <a:off x="918812" y="1683895"/>
            <a:ext cx="2052000" cy="756000"/>
          </a:xfrm>
          <a:prstGeom prst="rect">
            <a:avLst/>
          </a:prstGeom>
          <a:gradFill>
            <a:gsLst>
              <a:gs pos="100000">
                <a:schemeClr val="accent4"/>
              </a:gs>
              <a:gs pos="0">
                <a:schemeClr val="accent4">
                  <a:lumMod val="75000"/>
                </a:schemeClr>
              </a:gs>
            </a:gsLst>
            <a:lin ang="3360000" scaled="0"/>
          </a:gradFill>
          <a:ln w="6350" cap="flat" cmpd="sng" algn="ctr">
            <a:solidFill>
              <a:schemeClr val="accent4"/>
            </a:solidFill>
            <a:prstDash val="solid"/>
            <a:miter lim="800000"/>
          </a:ln>
          <a:effectLst>
            <a:outerShdw blurRad="165100" dist="38100" dir="2700000" algn="tl" rotWithShape="0">
              <a:prstClr val="black">
                <a:alpha val="10000"/>
              </a:prstClr>
            </a:outerShdw>
          </a:effectLst>
        </p:spPr>
        <p:txBody>
          <a:bodyPr lIns="108000" tIns="72000" rIns="108000" bIns="72000" rtlCol="0" anchor="ctr"/>
          <a:lstStyle/>
          <a:p>
            <a:pPr algn="ctr">
              <a:lnSpc>
                <a:spcPct val="90000"/>
              </a:lnSpc>
              <a:spcBef>
                <a:spcPts val="300"/>
              </a:spcBef>
              <a:spcAft>
                <a:spcPts val="300"/>
              </a:spcAft>
            </a:pPr>
            <a:r>
              <a:rPr lang="ru-RU" b="1">
                <a:solidFill>
                  <a:srgbClr val="FFFFFF"/>
                </a:solidFill>
                <a:latin typeface="+mj-lt"/>
                <a:cs typeface="Segoe UI Semibold" panose="020B0702040204020203" pitchFamily="34" charset="0"/>
              </a:rPr>
              <a:t>ПРОЦЕССЫ</a:t>
            </a:r>
          </a:p>
        </p:txBody>
      </p:sp>
      <p:sp>
        <p:nvSpPr>
          <p:cNvPr id="112" name="Прямоугольник 111">
            <a:extLst>
              <a:ext uri="{FF2B5EF4-FFF2-40B4-BE49-F238E27FC236}">
                <a16:creationId xmlns:a16="http://schemas.microsoft.com/office/drawing/2014/main" id="{1777F181-B41D-461D-AFCD-373C63E05D32}"/>
              </a:ext>
            </a:extLst>
          </p:cNvPr>
          <p:cNvSpPr/>
          <p:nvPr/>
        </p:nvSpPr>
        <p:spPr>
          <a:xfrm>
            <a:off x="1957051" y="5436095"/>
            <a:ext cx="8203563" cy="416019"/>
          </a:xfrm>
          <a:prstGeom prst="rect">
            <a:avLst/>
          </a:prstGeom>
          <a:noFill/>
          <a:ln w="12700" cap="flat" cmpd="sng" algn="ctr">
            <a:noFill/>
            <a:prstDash val="solid"/>
            <a:miter lim="800000"/>
          </a:ln>
          <a:effectLst/>
        </p:spPr>
        <p:txBody>
          <a:bodyPr rtlCol="0" anchor="ctr"/>
          <a:lstStyle/>
          <a:p>
            <a:pPr algn="ctr">
              <a:lnSpc>
                <a:spcPct val="90000"/>
              </a:lnSpc>
              <a:spcBef>
                <a:spcPts val="300"/>
              </a:spcBef>
              <a:spcAft>
                <a:spcPts val="300"/>
              </a:spcAft>
              <a:defRPr/>
            </a:pPr>
            <a:r>
              <a:rPr lang="ru-RU" sz="1400" spc="200">
                <a:latin typeface="+mj-lt"/>
                <a:cs typeface="Segoe UI Semibold" panose="020B0702040204020203" pitchFamily="34" charset="0"/>
              </a:rPr>
              <a:t>ЕДИНАЯ ИНФОРМАЦИОННАЯ СИСТЕМА И УПРАВЛЕНИЕ ДАННЫМИ</a:t>
            </a:r>
          </a:p>
        </p:txBody>
      </p:sp>
      <p:sp>
        <p:nvSpPr>
          <p:cNvPr id="114" name="Прямоугольник 113">
            <a:extLst>
              <a:ext uri="{FF2B5EF4-FFF2-40B4-BE49-F238E27FC236}">
                <a16:creationId xmlns:a16="http://schemas.microsoft.com/office/drawing/2014/main" id="{278B8CC8-ACC1-496E-9256-A77BD646BBF6}"/>
              </a:ext>
            </a:extLst>
          </p:cNvPr>
          <p:cNvSpPr/>
          <p:nvPr/>
        </p:nvSpPr>
        <p:spPr>
          <a:xfrm>
            <a:off x="5329620" y="1683895"/>
            <a:ext cx="2802682" cy="756000"/>
          </a:xfrm>
          <a:prstGeom prst="rect">
            <a:avLst/>
          </a:prstGeom>
          <a:gradFill>
            <a:gsLst>
              <a:gs pos="100000">
                <a:schemeClr val="accent3"/>
              </a:gs>
              <a:gs pos="0">
                <a:schemeClr val="accent3">
                  <a:lumMod val="75000"/>
                </a:schemeClr>
              </a:gs>
            </a:gsLst>
            <a:lin ang="3360000" scaled="0"/>
          </a:gradFill>
          <a:ln w="6350" cap="flat" cmpd="sng" algn="ctr">
            <a:solidFill>
              <a:schemeClr val="accent3"/>
            </a:solidFill>
            <a:prstDash val="solid"/>
            <a:miter lim="800000"/>
          </a:ln>
          <a:effectLst>
            <a:outerShdw blurRad="165100" dist="38100" dir="2700000" algn="tl" rotWithShape="0">
              <a:prstClr val="black">
                <a:alpha val="10000"/>
              </a:prstClr>
            </a:outerShdw>
          </a:effectLst>
        </p:spPr>
        <p:txBody>
          <a:bodyPr lIns="108000" tIns="72000" rIns="108000" bIns="72000" rtlCol="0" anchor="ctr"/>
          <a:lstStyle/>
          <a:p>
            <a:pPr algn="ctr">
              <a:lnSpc>
                <a:spcPct val="90000"/>
              </a:lnSpc>
              <a:spcBef>
                <a:spcPts val="300"/>
              </a:spcBef>
              <a:spcAft>
                <a:spcPts val="300"/>
              </a:spcAft>
            </a:pPr>
            <a:r>
              <a:rPr lang="ru-RU" b="1">
                <a:solidFill>
                  <a:srgbClr val="FFFFFF"/>
                </a:solidFill>
                <a:latin typeface="+mj-lt"/>
                <a:cs typeface="Segoe UI Semibold" panose="020B0702040204020203" pitchFamily="34" charset="0"/>
              </a:rPr>
              <a:t>ПРОЕКТЫ</a:t>
            </a:r>
          </a:p>
        </p:txBody>
      </p:sp>
      <p:sp>
        <p:nvSpPr>
          <p:cNvPr id="115" name="Прямоугольник 114">
            <a:extLst>
              <a:ext uri="{FF2B5EF4-FFF2-40B4-BE49-F238E27FC236}">
                <a16:creationId xmlns:a16="http://schemas.microsoft.com/office/drawing/2014/main" id="{4DE23CCC-7E5B-4441-BFF0-40DD868A0F01}"/>
              </a:ext>
            </a:extLst>
          </p:cNvPr>
          <p:cNvSpPr/>
          <p:nvPr/>
        </p:nvSpPr>
        <p:spPr>
          <a:xfrm>
            <a:off x="8204304" y="2552963"/>
            <a:ext cx="2886214" cy="1019232"/>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19" name="Прямоугольник 118">
            <a:extLst>
              <a:ext uri="{FF2B5EF4-FFF2-40B4-BE49-F238E27FC236}">
                <a16:creationId xmlns:a16="http://schemas.microsoft.com/office/drawing/2014/main" id="{EFCF5F57-6494-4964-816D-D02AB5F2044B}"/>
              </a:ext>
            </a:extLst>
          </p:cNvPr>
          <p:cNvSpPr/>
          <p:nvPr/>
        </p:nvSpPr>
        <p:spPr>
          <a:xfrm>
            <a:off x="3243019" y="2573025"/>
            <a:ext cx="2003229" cy="1019232"/>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20" name="Прямоугольник 119">
            <a:extLst>
              <a:ext uri="{FF2B5EF4-FFF2-40B4-BE49-F238E27FC236}">
                <a16:creationId xmlns:a16="http://schemas.microsoft.com/office/drawing/2014/main" id="{9B1B5294-60DE-4FAB-955B-72565F206D92}"/>
              </a:ext>
            </a:extLst>
          </p:cNvPr>
          <p:cNvSpPr/>
          <p:nvPr/>
        </p:nvSpPr>
        <p:spPr>
          <a:xfrm>
            <a:off x="8270602" y="1249079"/>
            <a:ext cx="2121538" cy="338554"/>
          </a:xfrm>
          <a:prstGeom prst="rect">
            <a:avLst/>
          </a:prstGeom>
        </p:spPr>
        <p:txBody>
          <a:bodyPr wrap="square" lIns="0">
            <a:spAutoFit/>
          </a:bodyPr>
          <a:lstStyle/>
          <a:p>
            <a:r>
              <a:rPr lang="en-US" sz="1600" spc="200">
                <a:latin typeface="+mj-lt"/>
                <a:cs typeface="Segoe UI Semibold" panose="020B0702040204020203" pitchFamily="34" charset="0"/>
              </a:rPr>
              <a:t>DISRUPT</a:t>
            </a:r>
          </a:p>
        </p:txBody>
      </p:sp>
      <p:sp>
        <p:nvSpPr>
          <p:cNvPr id="121" name="Прямоугольник 120">
            <a:extLst>
              <a:ext uri="{FF2B5EF4-FFF2-40B4-BE49-F238E27FC236}">
                <a16:creationId xmlns:a16="http://schemas.microsoft.com/office/drawing/2014/main" id="{9CA8D5FA-9118-42ED-99EB-09983BD98A6C}"/>
              </a:ext>
            </a:extLst>
          </p:cNvPr>
          <p:cNvSpPr/>
          <p:nvPr/>
        </p:nvSpPr>
        <p:spPr>
          <a:xfrm>
            <a:off x="918812" y="1249079"/>
            <a:ext cx="2076060" cy="338554"/>
          </a:xfrm>
          <a:prstGeom prst="rect">
            <a:avLst/>
          </a:prstGeom>
        </p:spPr>
        <p:txBody>
          <a:bodyPr wrap="square" lIns="0">
            <a:spAutoFit/>
          </a:bodyPr>
          <a:lstStyle/>
          <a:p>
            <a:r>
              <a:rPr lang="en-US" sz="1600" spc="200">
                <a:latin typeface="+mj-lt"/>
                <a:cs typeface="Segoe UI Semibold" panose="020B0702040204020203" pitchFamily="34" charset="0"/>
              </a:rPr>
              <a:t>RUN</a:t>
            </a:r>
          </a:p>
        </p:txBody>
      </p:sp>
      <p:sp>
        <p:nvSpPr>
          <p:cNvPr id="122" name="Прямоугольник 121">
            <a:extLst>
              <a:ext uri="{FF2B5EF4-FFF2-40B4-BE49-F238E27FC236}">
                <a16:creationId xmlns:a16="http://schemas.microsoft.com/office/drawing/2014/main" id="{3821A67C-C1FA-4E82-988A-E2E0B72D0601}"/>
              </a:ext>
            </a:extLst>
          </p:cNvPr>
          <p:cNvSpPr/>
          <p:nvPr/>
        </p:nvSpPr>
        <p:spPr>
          <a:xfrm>
            <a:off x="5326609" y="1249079"/>
            <a:ext cx="2132448" cy="338554"/>
          </a:xfrm>
          <a:prstGeom prst="rect">
            <a:avLst/>
          </a:prstGeom>
        </p:spPr>
        <p:txBody>
          <a:bodyPr wrap="square" lIns="0">
            <a:spAutoFit/>
          </a:bodyPr>
          <a:lstStyle/>
          <a:p>
            <a:r>
              <a:rPr lang="en-US" sz="1600" spc="200">
                <a:latin typeface="+mj-lt"/>
                <a:cs typeface="Segoe UI Semibold" panose="020B0702040204020203" pitchFamily="34" charset="0"/>
              </a:rPr>
              <a:t>CHANGE</a:t>
            </a:r>
          </a:p>
        </p:txBody>
      </p:sp>
      <p:sp>
        <p:nvSpPr>
          <p:cNvPr id="125" name="Прямоугольник 124">
            <a:extLst>
              <a:ext uri="{FF2B5EF4-FFF2-40B4-BE49-F238E27FC236}">
                <a16:creationId xmlns:a16="http://schemas.microsoft.com/office/drawing/2014/main" id="{864B58AD-0477-48E0-8381-628C5F45CDB7}"/>
              </a:ext>
            </a:extLst>
          </p:cNvPr>
          <p:cNvSpPr/>
          <p:nvPr/>
        </p:nvSpPr>
        <p:spPr>
          <a:xfrm>
            <a:off x="1005598" y="2563673"/>
            <a:ext cx="2149757" cy="102151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27" name="TextBox 126">
            <a:extLst>
              <a:ext uri="{FF2B5EF4-FFF2-40B4-BE49-F238E27FC236}">
                <a16:creationId xmlns:a16="http://schemas.microsoft.com/office/drawing/2014/main" id="{374A94E8-7D87-4E6D-9F48-A31E87D60D25}"/>
              </a:ext>
            </a:extLst>
          </p:cNvPr>
          <p:cNvSpPr txBox="1"/>
          <p:nvPr/>
        </p:nvSpPr>
        <p:spPr>
          <a:xfrm>
            <a:off x="1090823" y="2554804"/>
            <a:ext cx="1732037" cy="1055674"/>
          </a:xfrm>
          <a:prstGeom prst="rect">
            <a:avLst/>
          </a:prstGeom>
          <a:noFill/>
        </p:spPr>
        <p:txBody>
          <a:bodyPr wrap="square" lIns="0" rIns="0" rtlCol="0">
            <a:spAutoFit/>
          </a:bodyPr>
          <a:lstStyle/>
          <a:p>
            <a:pPr marL="171450" indent="-171450">
              <a:lnSpc>
                <a:spcPct val="80000"/>
              </a:lnSpc>
              <a:spcAft>
                <a:spcPts val="300"/>
              </a:spcAft>
              <a:buFont typeface="Wingdings" panose="05000000000000000000" pitchFamily="2" charset="2"/>
              <a:buChar char="§"/>
            </a:pPr>
            <a:r>
              <a:rPr lang="ru-RU" sz="1200"/>
              <a:t>Держание и ведение реестра процессов</a:t>
            </a:r>
          </a:p>
          <a:p>
            <a:pPr marL="171450" indent="-171450">
              <a:lnSpc>
                <a:spcPct val="80000"/>
              </a:lnSpc>
              <a:spcAft>
                <a:spcPts val="300"/>
              </a:spcAft>
              <a:buFont typeface="Wingdings" panose="05000000000000000000" pitchFamily="2" charset="2"/>
              <a:buChar char="§"/>
            </a:pPr>
            <a:r>
              <a:rPr lang="ru-RU" sz="1200"/>
              <a:t>Методология процессного управления</a:t>
            </a:r>
          </a:p>
          <a:p>
            <a:pPr marL="171450" indent="-171450">
              <a:lnSpc>
                <a:spcPct val="80000"/>
              </a:lnSpc>
              <a:spcAft>
                <a:spcPts val="300"/>
              </a:spcAft>
              <a:buFont typeface="Wingdings" panose="05000000000000000000" pitchFamily="2" charset="2"/>
              <a:buChar char="§"/>
            </a:pPr>
            <a:r>
              <a:rPr lang="ru-RU" sz="1200"/>
              <a:t>Целеполагание и КПЭ</a:t>
            </a:r>
          </a:p>
        </p:txBody>
      </p:sp>
      <p:sp>
        <p:nvSpPr>
          <p:cNvPr id="132" name="Прямоугольник 131">
            <a:extLst>
              <a:ext uri="{FF2B5EF4-FFF2-40B4-BE49-F238E27FC236}">
                <a16:creationId xmlns:a16="http://schemas.microsoft.com/office/drawing/2014/main" id="{9BA76A50-5192-44BF-AD03-D1B86F94B49A}"/>
              </a:ext>
            </a:extLst>
          </p:cNvPr>
          <p:cNvSpPr/>
          <p:nvPr/>
        </p:nvSpPr>
        <p:spPr>
          <a:xfrm>
            <a:off x="918809" y="4837624"/>
            <a:ext cx="10354573" cy="516905"/>
          </a:xfrm>
          <a:prstGeom prst="rect">
            <a:avLst/>
          </a:prstGeom>
          <a:solidFill>
            <a:schemeClr val="accent2">
              <a:lumMod val="20000"/>
              <a:lumOff val="80000"/>
            </a:schemeClr>
          </a:solidFill>
          <a:ln w="12700" cap="flat" cmpd="sng" algn="ctr">
            <a:noFill/>
            <a:prstDash val="solid"/>
            <a:miter lim="800000"/>
          </a:ln>
          <a:effectLst/>
        </p:spPr>
        <p:txBody>
          <a:bodyPr rtlCol="0" anchor="ctr"/>
          <a:lstStyle/>
          <a:p>
            <a:pPr algn="ctr">
              <a:lnSpc>
                <a:spcPct val="90000"/>
              </a:lnSpc>
              <a:spcBef>
                <a:spcPts val="300"/>
              </a:spcBef>
              <a:spcAft>
                <a:spcPts val="300"/>
              </a:spcAft>
              <a:defRPr/>
            </a:pPr>
            <a:r>
              <a:rPr lang="ru-RU" sz="1600" spc="200">
                <a:solidFill>
                  <a:schemeClr val="tx2"/>
                </a:solidFill>
                <a:latin typeface="+mj-lt"/>
                <a:cs typeface="Segoe UI Semibold" panose="020B0702040204020203" pitchFamily="34" charset="0"/>
              </a:rPr>
              <a:t>ОРГАНИЗАЦИОННАЯ СТРУКТУРА И РОЛЕВАЯ МОДЕЛЬ </a:t>
            </a:r>
          </a:p>
        </p:txBody>
      </p:sp>
      <p:sp>
        <p:nvSpPr>
          <p:cNvPr id="140" name="TextBox 139">
            <a:extLst>
              <a:ext uri="{FF2B5EF4-FFF2-40B4-BE49-F238E27FC236}">
                <a16:creationId xmlns:a16="http://schemas.microsoft.com/office/drawing/2014/main" id="{A5AE674D-5CC7-4D0B-B942-F5690FA538C1}"/>
              </a:ext>
            </a:extLst>
          </p:cNvPr>
          <p:cNvSpPr txBox="1"/>
          <p:nvPr/>
        </p:nvSpPr>
        <p:spPr>
          <a:xfrm>
            <a:off x="584199" y="6142389"/>
            <a:ext cx="7422377" cy="430887"/>
          </a:xfrm>
          <a:prstGeom prst="rect">
            <a:avLst/>
          </a:prstGeom>
          <a:noFill/>
        </p:spPr>
        <p:txBody>
          <a:bodyPr wrap="square" lIns="0" rIns="0" rtlCol="0">
            <a:spAutoFit/>
          </a:bodyPr>
          <a:lstStyle/>
          <a:p>
            <a:pPr>
              <a:spcBef>
                <a:spcPts val="600"/>
              </a:spcBef>
            </a:pPr>
            <a:r>
              <a:rPr lang="ru-RU" sz="1100">
                <a:solidFill>
                  <a:srgbClr val="7D8696">
                    <a:lumMod val="50000"/>
                  </a:srgbClr>
                </a:solidFill>
              </a:rPr>
              <a:t>Модель </a:t>
            </a:r>
            <a:r>
              <a:rPr lang="en-US" sz="1100">
                <a:solidFill>
                  <a:srgbClr val="7D8696">
                    <a:lumMod val="50000"/>
                  </a:srgbClr>
                </a:solidFill>
              </a:rPr>
              <a:t>RUN-CHANGE-DISRUPT</a:t>
            </a:r>
            <a:r>
              <a:rPr lang="ru-RU" sz="1100">
                <a:solidFill>
                  <a:srgbClr val="7D8696">
                    <a:lumMod val="50000"/>
                  </a:srgbClr>
                </a:solidFill>
              </a:rPr>
              <a:t> была предложена исследовательской и консалтинговой компанией </a:t>
            </a:r>
            <a:r>
              <a:rPr lang="en-US" sz="1100">
                <a:solidFill>
                  <a:srgbClr val="7D8696">
                    <a:lumMod val="50000"/>
                  </a:srgbClr>
                </a:solidFill>
              </a:rPr>
              <a:t>GARTNER</a:t>
            </a:r>
            <a:r>
              <a:rPr lang="ru-RU" sz="1100">
                <a:solidFill>
                  <a:srgbClr val="7D8696">
                    <a:lumMod val="50000"/>
                  </a:srgbClr>
                </a:solidFill>
              </a:rPr>
              <a:t>. </a:t>
            </a:r>
            <a:br>
              <a:rPr lang="ru-RU" sz="1100">
                <a:solidFill>
                  <a:srgbClr val="7D8696">
                    <a:lumMod val="50000"/>
                  </a:srgbClr>
                </a:solidFill>
              </a:rPr>
            </a:br>
            <a:r>
              <a:rPr lang="ru-RU" sz="1100">
                <a:solidFill>
                  <a:srgbClr val="7D8696">
                    <a:lumMod val="50000"/>
                  </a:srgbClr>
                </a:solidFill>
              </a:rPr>
              <a:t>В России данную модель в своей деятельности широко использует Сбербанк</a:t>
            </a:r>
            <a:r>
              <a:rPr lang="en-US" sz="1100">
                <a:solidFill>
                  <a:srgbClr val="7D8696">
                    <a:lumMod val="50000"/>
                  </a:srgbClr>
                </a:solidFill>
              </a:rPr>
              <a:t> </a:t>
            </a:r>
            <a:endParaRPr lang="ru-RU" sz="1100">
              <a:solidFill>
                <a:srgbClr val="7D8696">
                  <a:lumMod val="50000"/>
                </a:srgbClr>
              </a:solidFill>
            </a:endParaRPr>
          </a:p>
        </p:txBody>
      </p:sp>
      <p:cxnSp>
        <p:nvCxnSpPr>
          <p:cNvPr id="5" name="Прямая соединительная линия 4">
            <a:extLst>
              <a:ext uri="{FF2B5EF4-FFF2-40B4-BE49-F238E27FC236}">
                <a16:creationId xmlns:a16="http://schemas.microsoft.com/office/drawing/2014/main" id="{123811D1-68F7-43BA-BF06-77CC496FAD6B}"/>
              </a:ext>
            </a:extLst>
          </p:cNvPr>
          <p:cNvCxnSpPr>
            <a:cxnSpLocks/>
          </p:cNvCxnSpPr>
          <p:nvPr/>
        </p:nvCxnSpPr>
        <p:spPr>
          <a:xfrm>
            <a:off x="918812" y="1604086"/>
            <a:ext cx="4257404"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a:extLst>
              <a:ext uri="{FF2B5EF4-FFF2-40B4-BE49-F238E27FC236}">
                <a16:creationId xmlns:a16="http://schemas.microsoft.com/office/drawing/2014/main" id="{A106A1C3-E370-43E1-98EA-58E61C9C2484}"/>
              </a:ext>
            </a:extLst>
          </p:cNvPr>
          <p:cNvCxnSpPr>
            <a:cxnSpLocks/>
          </p:cNvCxnSpPr>
          <p:nvPr/>
        </p:nvCxnSpPr>
        <p:spPr>
          <a:xfrm>
            <a:off x="5329620" y="1604086"/>
            <a:ext cx="281768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3" name="Прямоугольник 52">
            <a:extLst>
              <a:ext uri="{FF2B5EF4-FFF2-40B4-BE49-F238E27FC236}">
                <a16:creationId xmlns:a16="http://schemas.microsoft.com/office/drawing/2014/main" id="{15D5E28C-50C9-4D33-B158-508BA42733AA}"/>
              </a:ext>
            </a:extLst>
          </p:cNvPr>
          <p:cNvSpPr/>
          <p:nvPr/>
        </p:nvSpPr>
        <p:spPr>
          <a:xfrm>
            <a:off x="8286034" y="2432518"/>
            <a:ext cx="2987349" cy="1536523"/>
          </a:xfrm>
          <a:prstGeom prst="rect">
            <a:avLst/>
          </a:prstGeom>
          <a:solidFill>
            <a:schemeClr val="bg1"/>
          </a:solidFill>
          <a:ln w="6350">
            <a:solidFill>
              <a:schemeClr val="tx2">
                <a:alpha val="99000"/>
              </a:schemeClr>
            </a:solidFill>
          </a:ln>
          <a:effectLst>
            <a:outerShdw blurRad="127000" dist="127000" dir="2700000" algn="tl" rotWithShape="0">
              <a:prstClr val="black">
                <a:alpha val="5000"/>
              </a:prstClr>
            </a:outerShdw>
          </a:effectLst>
        </p:spPr>
        <p:txBody>
          <a:bodyPr wrap="none" lIns="1296000" anchor="ctr"/>
          <a:lstStyle/>
          <a:p>
            <a:endParaRPr kumimoji="0" lang="ru-RU" sz="700" b="0" i="0" u="none" strike="noStrike" kern="1200" cap="none" spc="0" normalizeH="0" baseline="0" noProof="0">
              <a:ln>
                <a:noFill/>
              </a:ln>
              <a:solidFill>
                <a:srgbClr val="3D424C"/>
              </a:solidFill>
              <a:effectLst/>
              <a:uLnTx/>
              <a:uFillTx/>
              <a:latin typeface="Segoe UI Semibold"/>
              <a:ea typeface="+mn-ea"/>
              <a:cs typeface="+mn-cs"/>
            </a:endParaRPr>
          </a:p>
        </p:txBody>
      </p:sp>
      <p:sp>
        <p:nvSpPr>
          <p:cNvPr id="113" name="Прямоугольник 112">
            <a:extLst>
              <a:ext uri="{FF2B5EF4-FFF2-40B4-BE49-F238E27FC236}">
                <a16:creationId xmlns:a16="http://schemas.microsoft.com/office/drawing/2014/main" id="{0D5C394F-F15A-4183-AA6E-9C09A4080C31}"/>
              </a:ext>
            </a:extLst>
          </p:cNvPr>
          <p:cNvSpPr/>
          <p:nvPr/>
        </p:nvSpPr>
        <p:spPr>
          <a:xfrm>
            <a:off x="8286034" y="1683895"/>
            <a:ext cx="2988227" cy="756000"/>
          </a:xfrm>
          <a:prstGeom prst="rect">
            <a:avLst/>
          </a:prstGeom>
          <a:gradFill>
            <a:gsLst>
              <a:gs pos="100000">
                <a:schemeClr val="accent1"/>
              </a:gs>
              <a:gs pos="0">
                <a:schemeClr val="tx2"/>
              </a:gs>
            </a:gsLst>
            <a:lin ang="3360000" scaled="0"/>
          </a:gradFill>
          <a:ln w="6350" cap="flat" cmpd="sng" algn="ctr">
            <a:solidFill>
              <a:schemeClr val="tx2"/>
            </a:solidFill>
            <a:prstDash val="solid"/>
            <a:miter lim="800000"/>
          </a:ln>
          <a:effectLst>
            <a:outerShdw blurRad="165100" dist="38100" dir="2700000" algn="tl" rotWithShape="0">
              <a:prstClr val="black">
                <a:alpha val="10000"/>
              </a:prstClr>
            </a:outerShdw>
          </a:effectLst>
        </p:spPr>
        <p:txBody>
          <a:bodyPr lIns="108000" tIns="72000" rIns="108000" bIns="72000" rtlCol="0" anchor="ctr"/>
          <a:lstStyle/>
          <a:p>
            <a:pPr algn="ctr">
              <a:lnSpc>
                <a:spcPct val="90000"/>
              </a:lnSpc>
              <a:spcBef>
                <a:spcPts val="300"/>
              </a:spcBef>
              <a:spcAft>
                <a:spcPts val="300"/>
              </a:spcAft>
            </a:pPr>
            <a:r>
              <a:rPr lang="ru-RU" b="1">
                <a:solidFill>
                  <a:srgbClr val="FFFFFF"/>
                </a:solidFill>
                <a:latin typeface="+mj-lt"/>
                <a:cs typeface="Segoe UI Semibold" panose="020B0702040204020203" pitchFamily="34" charset="0"/>
              </a:rPr>
              <a:t>ИННОВАЦИОННАЯ ДЕЯТЕЛЬНОСТЬ</a:t>
            </a:r>
          </a:p>
        </p:txBody>
      </p:sp>
      <p:cxnSp>
        <p:nvCxnSpPr>
          <p:cNvPr id="45" name="Прямая соединительная линия 44">
            <a:extLst>
              <a:ext uri="{FF2B5EF4-FFF2-40B4-BE49-F238E27FC236}">
                <a16:creationId xmlns:a16="http://schemas.microsoft.com/office/drawing/2014/main" id="{84A5B247-DC72-4A00-86B8-61E546C6B9BC}"/>
              </a:ext>
            </a:extLst>
          </p:cNvPr>
          <p:cNvCxnSpPr>
            <a:cxnSpLocks/>
          </p:cNvCxnSpPr>
          <p:nvPr/>
        </p:nvCxnSpPr>
        <p:spPr>
          <a:xfrm>
            <a:off x="8280451" y="1604086"/>
            <a:ext cx="299380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45E2DCC2-A8E8-4D47-9852-010F6D6C63A7}"/>
              </a:ext>
            </a:extLst>
          </p:cNvPr>
          <p:cNvSpPr txBox="1"/>
          <p:nvPr/>
        </p:nvSpPr>
        <p:spPr>
          <a:xfrm>
            <a:off x="3243016" y="2536157"/>
            <a:ext cx="1855670" cy="907941"/>
          </a:xfrm>
          <a:prstGeom prst="rect">
            <a:avLst/>
          </a:prstGeom>
          <a:noFill/>
        </p:spPr>
        <p:txBody>
          <a:bodyPr wrap="square" lIns="0" rIns="0" rtlCol="0">
            <a:spAutoFit/>
          </a:bodyPr>
          <a:lstStyle/>
          <a:p>
            <a:pPr marL="171450" indent="-171450">
              <a:lnSpc>
                <a:spcPct val="80000"/>
              </a:lnSpc>
              <a:spcAft>
                <a:spcPts val="300"/>
              </a:spcAft>
              <a:buFont typeface="Wingdings" panose="05000000000000000000" pitchFamily="2" charset="2"/>
              <a:buChar char="§"/>
            </a:pPr>
            <a:r>
              <a:rPr lang="ru-RU" sz="1200"/>
              <a:t>Держание и ведение реестра продуктов</a:t>
            </a:r>
          </a:p>
          <a:p>
            <a:pPr marL="171450" indent="-171450">
              <a:lnSpc>
                <a:spcPct val="80000"/>
              </a:lnSpc>
              <a:spcAft>
                <a:spcPts val="300"/>
              </a:spcAft>
              <a:buFont typeface="Wingdings" panose="05000000000000000000" pitchFamily="2" charset="2"/>
              <a:buChar char="§"/>
            </a:pPr>
            <a:r>
              <a:rPr lang="ru-RU" sz="1200"/>
              <a:t>Методология управления продуктами</a:t>
            </a:r>
          </a:p>
          <a:p>
            <a:pPr marL="171450" indent="-171450">
              <a:lnSpc>
                <a:spcPct val="80000"/>
              </a:lnSpc>
              <a:spcAft>
                <a:spcPts val="300"/>
              </a:spcAft>
              <a:buFont typeface="Wingdings" panose="05000000000000000000" pitchFamily="2" charset="2"/>
              <a:buChar char="§"/>
            </a:pPr>
            <a:r>
              <a:rPr lang="ru-RU" sz="1200"/>
              <a:t>Целеполагание и КПЭ</a:t>
            </a:r>
          </a:p>
        </p:txBody>
      </p:sp>
      <p:sp>
        <p:nvSpPr>
          <p:cNvPr id="131" name="Прямоугольник 130">
            <a:extLst>
              <a:ext uri="{FF2B5EF4-FFF2-40B4-BE49-F238E27FC236}">
                <a16:creationId xmlns:a16="http://schemas.microsoft.com/office/drawing/2014/main" id="{0662B6E2-3A32-4301-A11E-949CEDEB04B6}"/>
              </a:ext>
            </a:extLst>
          </p:cNvPr>
          <p:cNvSpPr/>
          <p:nvPr/>
        </p:nvSpPr>
        <p:spPr>
          <a:xfrm>
            <a:off x="5372512" y="2536157"/>
            <a:ext cx="2745799" cy="1241878"/>
          </a:xfrm>
          <a:prstGeom prst="rect">
            <a:avLst/>
          </a:prstGeom>
          <a:noFill/>
        </p:spPr>
        <p:txBody>
          <a:bodyPr wrap="square">
            <a:spAutoFit/>
          </a:bodyPr>
          <a:lstStyle/>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Держание и ведение реестра проектов</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Методология управления проектами</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Создание и держание регламентов формирования проектных команд</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Целеполагание и КПЭ</a:t>
            </a:r>
          </a:p>
        </p:txBody>
      </p:sp>
      <p:sp>
        <p:nvSpPr>
          <p:cNvPr id="142" name="Прямоугольник 141">
            <a:extLst>
              <a:ext uri="{FF2B5EF4-FFF2-40B4-BE49-F238E27FC236}">
                <a16:creationId xmlns:a16="http://schemas.microsoft.com/office/drawing/2014/main" id="{91C2794E-947F-4196-A851-FE68AC2447CA}"/>
              </a:ext>
            </a:extLst>
          </p:cNvPr>
          <p:cNvSpPr/>
          <p:nvPr/>
        </p:nvSpPr>
        <p:spPr>
          <a:xfrm>
            <a:off x="8320074" y="2536157"/>
            <a:ext cx="2886211" cy="1389611"/>
          </a:xfrm>
          <a:prstGeom prst="rect">
            <a:avLst/>
          </a:prstGeom>
          <a:noFill/>
        </p:spPr>
        <p:txBody>
          <a:bodyPr wrap="square">
            <a:spAutoFit/>
          </a:bodyPr>
          <a:lstStyle/>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Держание и ведение реестра инновационных проектов</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Методология управления инновационными проектами</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Создание и держание регламентов формирования проектных команд в рамках инновационной деятельности</a:t>
            </a:r>
          </a:p>
          <a:p>
            <a:pPr marL="171450" indent="-171450">
              <a:lnSpc>
                <a:spcPct val="80000"/>
              </a:lnSpc>
              <a:spcAft>
                <a:spcPts val="300"/>
              </a:spcAft>
              <a:buFont typeface="Wingdings" panose="05000000000000000000" pitchFamily="2" charset="2"/>
              <a:buChar char="§"/>
            </a:pPr>
            <a:r>
              <a:rPr lang="ru-RU" sz="1200">
                <a:cs typeface="DIN Pro Regular" panose="020B0504020101020102" pitchFamily="34" charset="0"/>
              </a:rPr>
              <a:t>Целеполагание и КПЭ</a:t>
            </a:r>
          </a:p>
        </p:txBody>
      </p:sp>
      <p:sp>
        <p:nvSpPr>
          <p:cNvPr id="124" name="Прямоугольник 123">
            <a:extLst>
              <a:ext uri="{FF2B5EF4-FFF2-40B4-BE49-F238E27FC236}">
                <a16:creationId xmlns:a16="http://schemas.microsoft.com/office/drawing/2014/main" id="{F1C3DE0E-FDA9-4B60-885F-FBD039CA9781}"/>
              </a:ext>
            </a:extLst>
          </p:cNvPr>
          <p:cNvSpPr/>
          <p:nvPr/>
        </p:nvSpPr>
        <p:spPr>
          <a:xfrm>
            <a:off x="8120668" y="4628251"/>
            <a:ext cx="3027481" cy="461665"/>
          </a:xfrm>
          <a:prstGeom prst="rect">
            <a:avLst/>
          </a:prstGeom>
        </p:spPr>
        <p:txBody>
          <a:bodyPr wrap="square">
            <a:noAutofit/>
          </a:bodyPr>
          <a:lstStyle/>
          <a:p>
            <a:pPr algn="ctr"/>
            <a:endParaRPr lang="ru-RU" sz="1200"/>
          </a:p>
        </p:txBody>
      </p:sp>
      <p:sp>
        <p:nvSpPr>
          <p:cNvPr id="138" name="Прямоугольник 137">
            <a:extLst>
              <a:ext uri="{FF2B5EF4-FFF2-40B4-BE49-F238E27FC236}">
                <a16:creationId xmlns:a16="http://schemas.microsoft.com/office/drawing/2014/main" id="{A47F85A3-474D-4705-87A0-7EED9C142338}"/>
              </a:ext>
            </a:extLst>
          </p:cNvPr>
          <p:cNvSpPr/>
          <p:nvPr/>
        </p:nvSpPr>
        <p:spPr>
          <a:xfrm>
            <a:off x="5353401" y="4679051"/>
            <a:ext cx="2894041" cy="461665"/>
          </a:xfrm>
          <a:prstGeom prst="rect">
            <a:avLst/>
          </a:prstGeom>
          <a:noFill/>
        </p:spPr>
        <p:txBody>
          <a:bodyPr wrap="square">
            <a:noAutofit/>
          </a:bodyPr>
          <a:lstStyle/>
          <a:p>
            <a:pPr algn="ctr"/>
            <a:endParaRPr lang="ru-RU" sz="1200"/>
          </a:p>
        </p:txBody>
      </p:sp>
      <p:sp>
        <p:nvSpPr>
          <p:cNvPr id="116" name="Прямоугольник 115">
            <a:extLst>
              <a:ext uri="{FF2B5EF4-FFF2-40B4-BE49-F238E27FC236}">
                <a16:creationId xmlns:a16="http://schemas.microsoft.com/office/drawing/2014/main" id="{64265A05-9716-4221-8A8A-1E0623254F82}"/>
              </a:ext>
            </a:extLst>
          </p:cNvPr>
          <p:cNvSpPr/>
          <p:nvPr/>
        </p:nvSpPr>
        <p:spPr>
          <a:xfrm>
            <a:off x="8204304" y="3957745"/>
            <a:ext cx="2886214" cy="505177"/>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17" name="Прямоугольник 116">
            <a:extLst>
              <a:ext uri="{FF2B5EF4-FFF2-40B4-BE49-F238E27FC236}">
                <a16:creationId xmlns:a16="http://schemas.microsoft.com/office/drawing/2014/main" id="{A2F22266-DB88-4D84-8CB0-7175C47117B4}"/>
              </a:ext>
            </a:extLst>
          </p:cNvPr>
          <p:cNvSpPr/>
          <p:nvPr/>
        </p:nvSpPr>
        <p:spPr>
          <a:xfrm>
            <a:off x="5324346" y="3959778"/>
            <a:ext cx="2815241" cy="505177"/>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18" name="Прямоугольник 117">
            <a:extLst>
              <a:ext uri="{FF2B5EF4-FFF2-40B4-BE49-F238E27FC236}">
                <a16:creationId xmlns:a16="http://schemas.microsoft.com/office/drawing/2014/main" id="{AFC61550-C849-4FDE-A62F-003BEAAFE7D9}"/>
              </a:ext>
            </a:extLst>
          </p:cNvPr>
          <p:cNvSpPr/>
          <p:nvPr/>
        </p:nvSpPr>
        <p:spPr>
          <a:xfrm>
            <a:off x="996198" y="3967352"/>
            <a:ext cx="4257515" cy="50517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ru-RU" sz="1200" b="0" i="0" u="none" strike="noStrike" kern="0" cap="none" spc="0" normalizeH="0" baseline="0" noProof="0">
              <a:ln>
                <a:noFill/>
              </a:ln>
              <a:solidFill>
                <a:srgbClr val="002266"/>
              </a:solidFill>
              <a:effectLst/>
              <a:uLnTx/>
              <a:uFillTx/>
              <a:ea typeface="+mn-ea"/>
              <a:cs typeface="+mn-cs"/>
            </a:endParaRPr>
          </a:p>
        </p:txBody>
      </p:sp>
      <p:sp>
        <p:nvSpPr>
          <p:cNvPr id="136" name="Прямоугольник 135">
            <a:extLst>
              <a:ext uri="{FF2B5EF4-FFF2-40B4-BE49-F238E27FC236}">
                <a16:creationId xmlns:a16="http://schemas.microsoft.com/office/drawing/2014/main" id="{2F56F178-031C-4568-8598-BA1FB347192F}"/>
              </a:ext>
            </a:extLst>
          </p:cNvPr>
          <p:cNvSpPr/>
          <p:nvPr/>
        </p:nvSpPr>
        <p:spPr>
          <a:xfrm>
            <a:off x="918812" y="3988918"/>
            <a:ext cx="4258800" cy="588160"/>
          </a:xfrm>
          <a:prstGeom prst="rect">
            <a:avLst/>
          </a:prstGeom>
          <a:solidFill>
            <a:schemeClr val="accent4">
              <a:alpha val="20000"/>
            </a:scheme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defTabSz="895350">
              <a:spcAft>
                <a:spcPts val="600"/>
              </a:spcAft>
              <a:buClr>
                <a:srgbClr val="DD1E25"/>
              </a:buClr>
            </a:pPr>
            <a:r>
              <a:rPr lang="ru-RU" sz="1200">
                <a:solidFill>
                  <a:srgbClr val="99A4AB">
                    <a:lumMod val="50000"/>
                  </a:srgbClr>
                </a:solidFill>
                <a:latin typeface="+mj-lt"/>
              </a:rPr>
              <a:t>Повышение эффективности </a:t>
            </a:r>
            <a:br>
              <a:rPr lang="ru-RU" sz="1200">
                <a:solidFill>
                  <a:srgbClr val="99A4AB">
                    <a:lumMod val="50000"/>
                  </a:srgbClr>
                </a:solidFill>
                <a:latin typeface="+mj-lt"/>
              </a:rPr>
            </a:br>
            <a:r>
              <a:rPr lang="ru-RU" sz="1200">
                <a:solidFill>
                  <a:srgbClr val="99A4AB">
                    <a:lumMod val="50000"/>
                  </a:srgbClr>
                </a:solidFill>
                <a:latin typeface="+mj-lt"/>
              </a:rPr>
              <a:t>операционной деятельности</a:t>
            </a:r>
          </a:p>
        </p:txBody>
      </p:sp>
      <p:cxnSp>
        <p:nvCxnSpPr>
          <p:cNvPr id="55" name="Прямая соединительная линия 54">
            <a:extLst>
              <a:ext uri="{FF2B5EF4-FFF2-40B4-BE49-F238E27FC236}">
                <a16:creationId xmlns:a16="http://schemas.microsoft.com/office/drawing/2014/main" id="{2C6CCD56-1E79-48FF-A22C-C2A2D4A61D23}"/>
              </a:ext>
            </a:extLst>
          </p:cNvPr>
          <p:cNvCxnSpPr>
            <a:cxnSpLocks/>
          </p:cNvCxnSpPr>
          <p:nvPr/>
        </p:nvCxnSpPr>
        <p:spPr>
          <a:xfrm>
            <a:off x="918812" y="3978358"/>
            <a:ext cx="4257404"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55">
            <a:extLst>
              <a:ext uri="{FF2B5EF4-FFF2-40B4-BE49-F238E27FC236}">
                <a16:creationId xmlns:a16="http://schemas.microsoft.com/office/drawing/2014/main" id="{BCD33A16-3A9D-40F9-BBCC-27BCB809311A}"/>
              </a:ext>
            </a:extLst>
          </p:cNvPr>
          <p:cNvCxnSpPr>
            <a:cxnSpLocks/>
          </p:cNvCxnSpPr>
          <p:nvPr/>
        </p:nvCxnSpPr>
        <p:spPr>
          <a:xfrm>
            <a:off x="5329620" y="3978358"/>
            <a:ext cx="281768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8" name="Прямоугольник 57">
            <a:extLst>
              <a:ext uri="{FF2B5EF4-FFF2-40B4-BE49-F238E27FC236}">
                <a16:creationId xmlns:a16="http://schemas.microsoft.com/office/drawing/2014/main" id="{E0E23D81-854B-443C-BB4A-82020C193682}"/>
              </a:ext>
            </a:extLst>
          </p:cNvPr>
          <p:cNvSpPr/>
          <p:nvPr/>
        </p:nvSpPr>
        <p:spPr>
          <a:xfrm>
            <a:off x="5333912" y="3988918"/>
            <a:ext cx="2798389" cy="588160"/>
          </a:xfrm>
          <a:prstGeom prst="rect">
            <a:avLst/>
          </a:prstGeom>
          <a:solidFill>
            <a:schemeClr val="accent3">
              <a:alpha val="20000"/>
            </a:scheme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defTabSz="895350">
              <a:spcAft>
                <a:spcPts val="600"/>
              </a:spcAft>
              <a:buClr>
                <a:srgbClr val="DD1E25"/>
              </a:buClr>
            </a:pPr>
            <a:r>
              <a:rPr lang="ru-RU" sz="1200">
                <a:solidFill>
                  <a:srgbClr val="99A4AB">
                    <a:lumMod val="50000"/>
                  </a:srgbClr>
                </a:solidFill>
                <a:latin typeface="+mj-lt"/>
              </a:rPr>
              <a:t>Повышение эффективности проектной деятельности</a:t>
            </a:r>
          </a:p>
        </p:txBody>
      </p:sp>
      <p:grpSp>
        <p:nvGrpSpPr>
          <p:cNvPr id="12" name="Группа 11">
            <a:extLst>
              <a:ext uri="{FF2B5EF4-FFF2-40B4-BE49-F238E27FC236}">
                <a16:creationId xmlns:a16="http://schemas.microsoft.com/office/drawing/2014/main" id="{128D8FF2-89BD-4933-9B1D-4F132FC94202}"/>
              </a:ext>
            </a:extLst>
          </p:cNvPr>
          <p:cNvGrpSpPr/>
          <p:nvPr/>
        </p:nvGrpSpPr>
        <p:grpSpPr>
          <a:xfrm>
            <a:off x="8280450" y="3978358"/>
            <a:ext cx="2993809" cy="598720"/>
            <a:chOff x="8313904" y="4034969"/>
            <a:chExt cx="2817680" cy="598720"/>
          </a:xfrm>
        </p:grpSpPr>
        <p:cxnSp>
          <p:nvCxnSpPr>
            <p:cNvPr id="57" name="Прямая соединительная линия 56">
              <a:extLst>
                <a:ext uri="{FF2B5EF4-FFF2-40B4-BE49-F238E27FC236}">
                  <a16:creationId xmlns:a16="http://schemas.microsoft.com/office/drawing/2014/main" id="{31A1CDBA-6FA1-4FA1-873A-5A98A64119EF}"/>
                </a:ext>
              </a:extLst>
            </p:cNvPr>
            <p:cNvCxnSpPr>
              <a:cxnSpLocks/>
            </p:cNvCxnSpPr>
            <p:nvPr/>
          </p:nvCxnSpPr>
          <p:spPr>
            <a:xfrm>
              <a:off x="8313904" y="4034969"/>
              <a:ext cx="281768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59" name="Прямоугольник 58">
              <a:extLst>
                <a:ext uri="{FF2B5EF4-FFF2-40B4-BE49-F238E27FC236}">
                  <a16:creationId xmlns:a16="http://schemas.microsoft.com/office/drawing/2014/main" id="{BA0817B1-8C04-41B1-9B9C-C898A6F86BD3}"/>
                </a:ext>
              </a:extLst>
            </p:cNvPr>
            <p:cNvSpPr/>
            <p:nvPr/>
          </p:nvSpPr>
          <p:spPr>
            <a:xfrm>
              <a:off x="8320743" y="4045529"/>
              <a:ext cx="2810016" cy="588160"/>
            </a:xfrm>
            <a:prstGeom prst="rect">
              <a:avLst/>
            </a:prstGeom>
            <a:solidFill>
              <a:schemeClr val="accent2">
                <a:alpha val="20000"/>
              </a:schemeClr>
            </a:solidFill>
            <a:ln w="9525">
              <a:noFill/>
              <a:miter lim="800000"/>
              <a:headEnd/>
              <a:tailEnd/>
            </a:ln>
            <a:effectLst/>
          </p:spPr>
          <p:txBody>
            <a:bodyPr vert="horz" wrap="square" lIns="0" tIns="0" rIns="0" bIns="0" numCol="1" rtlCol="0" anchor="ctr" anchorCtr="0" compatLnSpc="1">
              <a:prstTxWarp prst="textNoShape">
                <a:avLst/>
              </a:prstTxWarp>
              <a:noAutofit/>
            </a:bodyPr>
            <a:lstStyle/>
            <a:p>
              <a:pPr algn="ctr" defTabSz="895350">
                <a:spcAft>
                  <a:spcPts val="600"/>
                </a:spcAft>
                <a:buClr>
                  <a:srgbClr val="DD1E25"/>
                </a:buClr>
              </a:pPr>
              <a:r>
                <a:rPr lang="ru-RU" sz="1200">
                  <a:solidFill>
                    <a:srgbClr val="99A4AB">
                      <a:lumMod val="50000"/>
                    </a:srgbClr>
                  </a:solidFill>
                  <a:latin typeface="+mj-lt"/>
                </a:rPr>
                <a:t>Повышение эффективности инновационной деятельности</a:t>
              </a:r>
            </a:p>
          </p:txBody>
        </p:sp>
      </p:grpSp>
    </p:spTree>
    <p:extLst>
      <p:ext uri="{BB962C8B-B14F-4D97-AF65-F5344CB8AC3E}">
        <p14:creationId xmlns:p14="http://schemas.microsoft.com/office/powerpoint/2010/main" val="32788781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ADE26450-695E-456D-9F2C-65AB1F677362}"/>
              </a:ext>
            </a:extLst>
          </p:cNvPr>
          <p:cNvSpPr txBox="1"/>
          <p:nvPr/>
        </p:nvSpPr>
        <p:spPr>
          <a:xfrm>
            <a:off x="8765858" y="1608011"/>
            <a:ext cx="2015490" cy="1146468"/>
          </a:xfrm>
          <a:prstGeom prst="rect">
            <a:avLst/>
          </a:prstGeom>
          <a:noFill/>
        </p:spPr>
        <p:txBody>
          <a:bodyPr wrap="square" lIns="108000" rtlCol="0">
            <a:spAutoFit/>
          </a:bodyPr>
          <a:lstStyle/>
          <a:p>
            <a:r>
              <a:rPr lang="ru-RU" sz="1400">
                <a:solidFill>
                  <a:schemeClr val="accent6">
                    <a:lumMod val="75000"/>
                  </a:schemeClr>
                </a:solidFill>
                <a:latin typeface="+mj-lt"/>
              </a:rPr>
              <a:t>ШАГ </a:t>
            </a:r>
            <a:r>
              <a:rPr lang="ru-RU" sz="2800">
                <a:solidFill>
                  <a:schemeClr val="accent6">
                    <a:lumMod val="75000"/>
                  </a:schemeClr>
                </a:solidFill>
                <a:latin typeface="+mj-lt"/>
              </a:rPr>
              <a:t>7</a:t>
            </a:r>
            <a:endParaRPr lang="ru-RU" sz="1400">
              <a:solidFill>
                <a:schemeClr val="accent6">
                  <a:lumMod val="75000"/>
                </a:schemeClr>
              </a:solidFill>
              <a:latin typeface="+mj-lt"/>
            </a:endParaRPr>
          </a:p>
          <a:p>
            <a:r>
              <a:rPr lang="ru-RU" sz="1350"/>
              <a:t>Организовать процесс </a:t>
            </a:r>
            <a:r>
              <a:rPr lang="ru-RU" sz="1350">
                <a:solidFill>
                  <a:schemeClr val="accent6">
                    <a:lumMod val="75000"/>
                  </a:schemeClr>
                </a:solidFill>
                <a:latin typeface="+mj-lt"/>
              </a:rPr>
              <a:t>непрерывного совершенствования</a:t>
            </a:r>
          </a:p>
        </p:txBody>
      </p:sp>
      <p:cxnSp>
        <p:nvCxnSpPr>
          <p:cNvPr id="40" name="Прямая соединительная линия 39">
            <a:extLst>
              <a:ext uri="{FF2B5EF4-FFF2-40B4-BE49-F238E27FC236}">
                <a16:creationId xmlns:a16="http://schemas.microsoft.com/office/drawing/2014/main" id="{527648B9-3948-4615-B11B-5161CEE501D1}"/>
              </a:ext>
            </a:extLst>
          </p:cNvPr>
          <p:cNvCxnSpPr>
            <a:cxnSpLocks/>
          </p:cNvCxnSpPr>
          <p:nvPr/>
        </p:nvCxnSpPr>
        <p:spPr>
          <a:xfrm>
            <a:off x="8765858" y="1955800"/>
            <a:ext cx="0" cy="1147763"/>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40">
            <a:extLst>
              <a:ext uri="{FF2B5EF4-FFF2-40B4-BE49-F238E27FC236}">
                <a16:creationId xmlns:a16="http://schemas.microsoft.com/office/drawing/2014/main" id="{8BC2105D-154D-4C5E-A472-2F838F2AD4FC}"/>
              </a:ext>
            </a:extLst>
          </p:cNvPr>
          <p:cNvCxnSpPr>
            <a:cxnSpLocks/>
          </p:cNvCxnSpPr>
          <p:nvPr/>
        </p:nvCxnSpPr>
        <p:spPr>
          <a:xfrm>
            <a:off x="8765858" y="1860296"/>
            <a:ext cx="0" cy="792000"/>
          </a:xfrm>
          <a:prstGeom prst="line">
            <a:avLst/>
          </a:prstGeom>
          <a:ln w="508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a:extLst>
              <a:ext uri="{FF2B5EF4-FFF2-40B4-BE49-F238E27FC236}">
                <a16:creationId xmlns:a16="http://schemas.microsoft.com/office/drawing/2014/main" id="{DD3BF1C9-581F-444B-A72C-B6A142303578}"/>
              </a:ext>
            </a:extLst>
          </p:cNvPr>
          <p:cNvCxnSpPr>
            <a:cxnSpLocks/>
          </p:cNvCxnSpPr>
          <p:nvPr/>
        </p:nvCxnSpPr>
        <p:spPr>
          <a:xfrm>
            <a:off x="515938" y="1955800"/>
            <a:ext cx="0" cy="1147763"/>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A9BA6E0D-7033-47F9-82A6-5F8273B62FB8}"/>
              </a:ext>
            </a:extLst>
          </p:cNvPr>
          <p:cNvCxnSpPr>
            <a:cxnSpLocks/>
          </p:cNvCxnSpPr>
          <p:nvPr/>
        </p:nvCxnSpPr>
        <p:spPr>
          <a:xfrm>
            <a:off x="3309938" y="1681163"/>
            <a:ext cx="0" cy="142240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Нашивка 2">
            <a:extLst>
              <a:ext uri="{FF2B5EF4-FFF2-40B4-BE49-F238E27FC236}">
                <a16:creationId xmlns:a16="http://schemas.microsoft.com/office/drawing/2014/main" id="{3E097FC2-5562-4CB1-91A7-F8E091D13663}"/>
              </a:ext>
            </a:extLst>
          </p:cNvPr>
          <p:cNvSpPr/>
          <p:nvPr/>
        </p:nvSpPr>
        <p:spPr>
          <a:xfrm>
            <a:off x="10036736" y="3093721"/>
            <a:ext cx="1639327" cy="991956"/>
          </a:xfrm>
          <a:prstGeom prst="chevron">
            <a:avLst>
              <a:gd name="adj" fmla="val 21930"/>
            </a:avLst>
          </a:prstGeom>
          <a:gradFill>
            <a:gsLst>
              <a:gs pos="100000">
                <a:schemeClr val="accent6">
                  <a:lumMod val="40000"/>
                  <a:lumOff val="60000"/>
                </a:schemeClr>
              </a:gs>
              <a:gs pos="0">
                <a:schemeClr val="accent6">
                  <a:lumMod val="60000"/>
                  <a:lumOff val="40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14" name="Нашивка 2">
            <a:extLst>
              <a:ext uri="{FF2B5EF4-FFF2-40B4-BE49-F238E27FC236}">
                <a16:creationId xmlns:a16="http://schemas.microsoft.com/office/drawing/2014/main" id="{82FF4A62-15D4-4B3D-9602-47B4A0119404}"/>
              </a:ext>
            </a:extLst>
          </p:cNvPr>
          <p:cNvSpPr/>
          <p:nvPr/>
        </p:nvSpPr>
        <p:spPr>
          <a:xfrm>
            <a:off x="8708160" y="3093721"/>
            <a:ext cx="1639327" cy="991956"/>
          </a:xfrm>
          <a:prstGeom prst="chevron">
            <a:avLst>
              <a:gd name="adj" fmla="val 21930"/>
            </a:avLst>
          </a:prstGeom>
          <a:gradFill>
            <a:gsLst>
              <a:gs pos="100000">
                <a:schemeClr val="accent6"/>
              </a:gs>
              <a:gs pos="0">
                <a:schemeClr val="accent6">
                  <a:lumMod val="50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13" name="Нашивка 2">
            <a:extLst>
              <a:ext uri="{FF2B5EF4-FFF2-40B4-BE49-F238E27FC236}">
                <a16:creationId xmlns:a16="http://schemas.microsoft.com/office/drawing/2014/main" id="{066171DD-AF45-4AAD-8B45-C740F4622988}"/>
              </a:ext>
            </a:extLst>
          </p:cNvPr>
          <p:cNvSpPr/>
          <p:nvPr/>
        </p:nvSpPr>
        <p:spPr>
          <a:xfrm>
            <a:off x="7342788" y="3093721"/>
            <a:ext cx="1639327" cy="991956"/>
          </a:xfrm>
          <a:prstGeom prst="chevron">
            <a:avLst>
              <a:gd name="adj" fmla="val 21930"/>
            </a:avLst>
          </a:prstGeom>
          <a:gradFill>
            <a:gsLst>
              <a:gs pos="100000">
                <a:schemeClr val="accent5"/>
              </a:gs>
              <a:gs pos="0">
                <a:schemeClr val="accent5">
                  <a:lumMod val="75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endParaRPr lang="ru-RU" sz="1400" b="1">
              <a:solidFill>
                <a:srgbClr val="FFFFFF"/>
              </a:solidFill>
              <a:effectLst>
                <a:outerShdw blurRad="38100" dist="38100" dir="2700000" algn="tl">
                  <a:srgbClr val="000000">
                    <a:alpha val="43137"/>
                  </a:srgbClr>
                </a:outerShdw>
              </a:effectLst>
              <a:latin typeface="Segoe UI Semibold"/>
              <a:sym typeface="+mn-lt"/>
            </a:endParaRPr>
          </a:p>
        </p:txBody>
      </p:sp>
      <p:sp>
        <p:nvSpPr>
          <p:cNvPr id="10" name="Нашивка 2">
            <a:extLst>
              <a:ext uri="{FF2B5EF4-FFF2-40B4-BE49-F238E27FC236}">
                <a16:creationId xmlns:a16="http://schemas.microsoft.com/office/drawing/2014/main" id="{324AAB6A-2D88-4E3A-B5C4-70F95A4EDF68}"/>
              </a:ext>
            </a:extLst>
          </p:cNvPr>
          <p:cNvSpPr/>
          <p:nvPr/>
        </p:nvSpPr>
        <p:spPr>
          <a:xfrm>
            <a:off x="5977418" y="3093721"/>
            <a:ext cx="1639327" cy="991956"/>
          </a:xfrm>
          <a:prstGeom prst="chevron">
            <a:avLst>
              <a:gd name="adj" fmla="val 21930"/>
            </a:avLst>
          </a:prstGeom>
          <a:gradFill>
            <a:gsLst>
              <a:gs pos="0">
                <a:schemeClr val="accent4">
                  <a:lumMod val="75000"/>
                </a:schemeClr>
              </a:gs>
              <a:gs pos="100000">
                <a:schemeClr val="accent4"/>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12" name="Нашивка 2">
            <a:extLst>
              <a:ext uri="{FF2B5EF4-FFF2-40B4-BE49-F238E27FC236}">
                <a16:creationId xmlns:a16="http://schemas.microsoft.com/office/drawing/2014/main" id="{787FFD04-D16E-46D0-8E0F-12D4093F3187}"/>
              </a:ext>
            </a:extLst>
          </p:cNvPr>
          <p:cNvSpPr/>
          <p:nvPr/>
        </p:nvSpPr>
        <p:spPr>
          <a:xfrm>
            <a:off x="4612048" y="3093721"/>
            <a:ext cx="1639327" cy="991956"/>
          </a:xfrm>
          <a:prstGeom prst="chevron">
            <a:avLst>
              <a:gd name="adj" fmla="val 21930"/>
            </a:avLst>
          </a:prstGeom>
          <a:gradFill>
            <a:gsLst>
              <a:gs pos="100000">
                <a:schemeClr val="accent3"/>
              </a:gs>
              <a:gs pos="0">
                <a:schemeClr val="accent3">
                  <a:lumMod val="75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9" name="Нашивка 2">
            <a:extLst>
              <a:ext uri="{FF2B5EF4-FFF2-40B4-BE49-F238E27FC236}">
                <a16:creationId xmlns:a16="http://schemas.microsoft.com/office/drawing/2014/main" id="{49B1162D-A0D8-4F5E-BBC8-0A4B71F63467}"/>
              </a:ext>
            </a:extLst>
          </p:cNvPr>
          <p:cNvSpPr/>
          <p:nvPr/>
        </p:nvSpPr>
        <p:spPr>
          <a:xfrm>
            <a:off x="3246678" y="3093721"/>
            <a:ext cx="1639327" cy="991956"/>
          </a:xfrm>
          <a:prstGeom prst="chevron">
            <a:avLst>
              <a:gd name="adj" fmla="val 21930"/>
            </a:avLst>
          </a:prstGeom>
          <a:gradFill>
            <a:gsLst>
              <a:gs pos="100000">
                <a:schemeClr val="accent2"/>
              </a:gs>
              <a:gs pos="0">
                <a:schemeClr val="accent2">
                  <a:lumMod val="75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11" name="Нашивка 2">
            <a:extLst>
              <a:ext uri="{FF2B5EF4-FFF2-40B4-BE49-F238E27FC236}">
                <a16:creationId xmlns:a16="http://schemas.microsoft.com/office/drawing/2014/main" id="{C22DAF9D-B44E-44D9-AFF5-0C3BECCC6D0F}"/>
              </a:ext>
            </a:extLst>
          </p:cNvPr>
          <p:cNvSpPr/>
          <p:nvPr/>
        </p:nvSpPr>
        <p:spPr>
          <a:xfrm>
            <a:off x="1881308" y="3093721"/>
            <a:ext cx="1639327" cy="991956"/>
          </a:xfrm>
          <a:prstGeom prst="chevron">
            <a:avLst>
              <a:gd name="adj" fmla="val 21930"/>
            </a:avLst>
          </a:prstGeom>
          <a:gradFill>
            <a:gsLst>
              <a:gs pos="100000">
                <a:schemeClr val="accent1"/>
              </a:gs>
              <a:gs pos="0">
                <a:schemeClr val="accent1">
                  <a:lumMod val="75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7" name="Нашивка 2">
            <a:extLst>
              <a:ext uri="{FF2B5EF4-FFF2-40B4-BE49-F238E27FC236}">
                <a16:creationId xmlns:a16="http://schemas.microsoft.com/office/drawing/2014/main" id="{7C8354EB-0118-4BA0-B3EB-CD6F8F930798}"/>
              </a:ext>
            </a:extLst>
          </p:cNvPr>
          <p:cNvSpPr/>
          <p:nvPr/>
        </p:nvSpPr>
        <p:spPr>
          <a:xfrm>
            <a:off x="515938" y="3093721"/>
            <a:ext cx="1639327" cy="991956"/>
          </a:xfrm>
          <a:prstGeom prst="chevron">
            <a:avLst>
              <a:gd name="adj" fmla="val 21930"/>
            </a:avLst>
          </a:prstGeom>
          <a:gradFill>
            <a:gsLst>
              <a:gs pos="100000">
                <a:schemeClr val="tx2"/>
              </a:gs>
              <a:gs pos="0">
                <a:schemeClr val="tx2">
                  <a:lumMod val="75000"/>
                </a:schemeClr>
              </a:gs>
            </a:gsLst>
            <a:lin ang="0" scaled="0"/>
          </a:gradFill>
          <a:ln w="6350">
            <a:noFill/>
          </a:ln>
          <a:effectLst>
            <a:outerShdw blurRad="114300" dist="63500" dir="2700000" algn="ctr" rotWithShape="0">
              <a:srgbClr val="000000">
                <a:alpha val="8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0" rIns="36000" bIns="1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Semibold"/>
              <a:ea typeface="+mn-ea"/>
              <a:cs typeface="+mn-cs"/>
              <a:sym typeface="+mn-lt"/>
            </a:endParaRPr>
          </a:p>
        </p:txBody>
      </p:sp>
      <p:sp>
        <p:nvSpPr>
          <p:cNvPr id="2" name="Заголовок 1">
            <a:extLst>
              <a:ext uri="{FF2B5EF4-FFF2-40B4-BE49-F238E27FC236}">
                <a16:creationId xmlns:a16="http://schemas.microsoft.com/office/drawing/2014/main" id="{C941B302-A658-4D4D-9DCD-2C91D5554809}"/>
              </a:ext>
            </a:extLst>
          </p:cNvPr>
          <p:cNvSpPr>
            <a:spLocks noGrp="1"/>
          </p:cNvSpPr>
          <p:nvPr>
            <p:ph type="title"/>
          </p:nvPr>
        </p:nvSpPr>
        <p:spPr>
          <a:xfrm>
            <a:off x="511847" y="316193"/>
            <a:ext cx="11164215" cy="536128"/>
          </a:xfrm>
        </p:spPr>
        <p:txBody>
          <a:bodyPr>
            <a:normAutofit/>
          </a:bodyPr>
          <a:lstStyle/>
          <a:p>
            <a:r>
              <a:rPr lang="ru-RU" sz="2800"/>
              <a:t>8 шагов, приводящих к успешной трансформации</a:t>
            </a:r>
          </a:p>
        </p:txBody>
      </p:sp>
      <p:sp>
        <p:nvSpPr>
          <p:cNvPr id="15" name="TextBox 14">
            <a:extLst>
              <a:ext uri="{FF2B5EF4-FFF2-40B4-BE49-F238E27FC236}">
                <a16:creationId xmlns:a16="http://schemas.microsoft.com/office/drawing/2014/main" id="{D4849255-D4AB-4FA8-8958-831A16D61FCB}"/>
              </a:ext>
            </a:extLst>
          </p:cNvPr>
          <p:cNvSpPr txBox="1"/>
          <p:nvPr/>
        </p:nvSpPr>
        <p:spPr>
          <a:xfrm>
            <a:off x="515938" y="1608011"/>
            <a:ext cx="1766412" cy="1146468"/>
          </a:xfrm>
          <a:prstGeom prst="rect">
            <a:avLst/>
          </a:prstGeom>
          <a:noFill/>
        </p:spPr>
        <p:txBody>
          <a:bodyPr wrap="square" lIns="108000" rtlCol="0">
            <a:spAutoFit/>
          </a:bodyPr>
          <a:lstStyle/>
          <a:p>
            <a:r>
              <a:rPr lang="ru-RU" sz="1400">
                <a:solidFill>
                  <a:schemeClr val="tx2"/>
                </a:solidFill>
                <a:latin typeface="+mj-lt"/>
              </a:rPr>
              <a:t>ШАГ </a:t>
            </a:r>
            <a:r>
              <a:rPr lang="ru-RU" sz="2800">
                <a:solidFill>
                  <a:schemeClr val="tx2"/>
                </a:solidFill>
                <a:latin typeface="+mj-lt"/>
              </a:rPr>
              <a:t>1</a:t>
            </a:r>
            <a:endParaRPr lang="ru-RU" sz="1400">
              <a:solidFill>
                <a:schemeClr val="tx2"/>
              </a:solidFill>
              <a:latin typeface="+mj-lt"/>
            </a:endParaRPr>
          </a:p>
          <a:p>
            <a:r>
              <a:rPr lang="ru-RU" sz="1350"/>
              <a:t>Создать атмосферу профессионального развития</a:t>
            </a:r>
          </a:p>
        </p:txBody>
      </p:sp>
      <p:sp>
        <p:nvSpPr>
          <p:cNvPr id="17" name="TextBox 16">
            <a:extLst>
              <a:ext uri="{FF2B5EF4-FFF2-40B4-BE49-F238E27FC236}">
                <a16:creationId xmlns:a16="http://schemas.microsoft.com/office/drawing/2014/main" id="{8A661642-8DAF-444A-A5A3-47AB0EA32601}"/>
              </a:ext>
            </a:extLst>
          </p:cNvPr>
          <p:cNvSpPr txBox="1"/>
          <p:nvPr/>
        </p:nvSpPr>
        <p:spPr>
          <a:xfrm>
            <a:off x="3309938" y="967581"/>
            <a:ext cx="2735262" cy="1769715"/>
          </a:xfrm>
          <a:prstGeom prst="rect">
            <a:avLst/>
          </a:prstGeom>
          <a:noFill/>
        </p:spPr>
        <p:txBody>
          <a:bodyPr wrap="square" lIns="108000" rtlCol="0">
            <a:spAutoFit/>
          </a:bodyPr>
          <a:lstStyle/>
          <a:p>
            <a:r>
              <a:rPr lang="ru-RU" sz="1400">
                <a:solidFill>
                  <a:schemeClr val="accent2"/>
                </a:solidFill>
                <a:latin typeface="+mj-lt"/>
              </a:rPr>
              <a:t>ШАГ </a:t>
            </a:r>
            <a:r>
              <a:rPr lang="ru-RU" sz="2800">
                <a:solidFill>
                  <a:schemeClr val="accent2"/>
                </a:solidFill>
                <a:latin typeface="+mj-lt"/>
              </a:rPr>
              <a:t>3</a:t>
            </a:r>
            <a:endParaRPr lang="ru-RU" sz="1400">
              <a:solidFill>
                <a:schemeClr val="accent2"/>
              </a:solidFill>
              <a:latin typeface="+mj-lt"/>
            </a:endParaRPr>
          </a:p>
          <a:p>
            <a:r>
              <a:rPr lang="ru-RU" sz="1350" spc="-20"/>
              <a:t>Определить вектор развития и разработать Программу трансформации</a:t>
            </a:r>
            <a:r>
              <a:rPr lang="ru-RU" sz="1350" spc="-20">
                <a:solidFill>
                  <a:schemeClr val="accent2"/>
                </a:solidFill>
              </a:rPr>
              <a:t>, </a:t>
            </a:r>
            <a:r>
              <a:rPr lang="ru-RU" sz="1350" spc="-20" err="1">
                <a:solidFill>
                  <a:schemeClr val="accent2"/>
                </a:solidFill>
                <a:latin typeface="+mj-lt"/>
              </a:rPr>
              <a:t>приоритези-ровав</a:t>
            </a:r>
            <a:r>
              <a:rPr lang="ru-RU" sz="1350" spc="-20">
                <a:solidFill>
                  <a:schemeClr val="accent2"/>
                </a:solidFill>
                <a:latin typeface="+mj-lt"/>
              </a:rPr>
              <a:t> изменения по степени важности и скорости </a:t>
            </a:r>
            <a:r>
              <a:rPr lang="ru-RU" sz="1350" spc="-20" err="1">
                <a:solidFill>
                  <a:schemeClr val="accent2"/>
                </a:solidFill>
                <a:latin typeface="+mj-lt"/>
              </a:rPr>
              <a:t>получе-ния</a:t>
            </a:r>
            <a:r>
              <a:rPr lang="ru-RU" sz="1350" spc="-20">
                <a:solidFill>
                  <a:schemeClr val="accent2"/>
                </a:solidFill>
                <a:latin typeface="+mj-lt"/>
              </a:rPr>
              <a:t> благоприятного эффекта</a:t>
            </a:r>
          </a:p>
        </p:txBody>
      </p:sp>
      <p:sp>
        <p:nvSpPr>
          <p:cNvPr id="18" name="TextBox 17">
            <a:extLst>
              <a:ext uri="{FF2B5EF4-FFF2-40B4-BE49-F238E27FC236}">
                <a16:creationId xmlns:a16="http://schemas.microsoft.com/office/drawing/2014/main" id="{FC126E1E-2FBC-4882-B9AB-82C45E81DE71}"/>
              </a:ext>
            </a:extLst>
          </p:cNvPr>
          <p:cNvSpPr txBox="1"/>
          <p:nvPr/>
        </p:nvSpPr>
        <p:spPr>
          <a:xfrm>
            <a:off x="6022658" y="1608011"/>
            <a:ext cx="2201862" cy="1146468"/>
          </a:xfrm>
          <a:prstGeom prst="rect">
            <a:avLst/>
          </a:prstGeom>
          <a:noFill/>
        </p:spPr>
        <p:txBody>
          <a:bodyPr wrap="square" lIns="108000" rtlCol="0">
            <a:spAutoFit/>
          </a:bodyPr>
          <a:lstStyle/>
          <a:p>
            <a:r>
              <a:rPr lang="ru-RU" sz="1400">
                <a:solidFill>
                  <a:schemeClr val="accent4"/>
                </a:solidFill>
                <a:latin typeface="+mj-lt"/>
              </a:rPr>
              <a:t>ШАГ </a:t>
            </a:r>
            <a:r>
              <a:rPr lang="ru-RU" sz="2800">
                <a:solidFill>
                  <a:schemeClr val="accent4"/>
                </a:solidFill>
                <a:latin typeface="+mj-lt"/>
              </a:rPr>
              <a:t>5</a:t>
            </a:r>
            <a:endParaRPr lang="ru-RU" sz="1400">
              <a:solidFill>
                <a:schemeClr val="accent4"/>
              </a:solidFill>
              <a:latin typeface="+mj-lt"/>
            </a:endParaRPr>
          </a:p>
          <a:p>
            <a:r>
              <a:rPr lang="ru-RU" sz="1350"/>
              <a:t>Стимулировать участие </a:t>
            </a:r>
            <a:br>
              <a:rPr lang="ru-RU" sz="1350"/>
            </a:br>
            <a:r>
              <a:rPr lang="ru-RU" sz="1350"/>
              <a:t>в изменениях работников </a:t>
            </a:r>
            <a:r>
              <a:rPr lang="ru-RU" sz="1350">
                <a:solidFill>
                  <a:schemeClr val="accent4"/>
                </a:solidFill>
                <a:latin typeface="+mj-lt"/>
              </a:rPr>
              <a:t>на всех уровнях</a:t>
            </a:r>
          </a:p>
        </p:txBody>
      </p:sp>
      <p:sp>
        <p:nvSpPr>
          <p:cNvPr id="20" name="TextBox 19">
            <a:extLst>
              <a:ext uri="{FF2B5EF4-FFF2-40B4-BE49-F238E27FC236}">
                <a16:creationId xmlns:a16="http://schemas.microsoft.com/office/drawing/2014/main" id="{E85B0827-BB6D-45FD-9356-A901274390B0}"/>
              </a:ext>
            </a:extLst>
          </p:cNvPr>
          <p:cNvSpPr txBox="1"/>
          <p:nvPr/>
        </p:nvSpPr>
        <p:spPr>
          <a:xfrm>
            <a:off x="1937703" y="4333431"/>
            <a:ext cx="1912302" cy="1769715"/>
          </a:xfrm>
          <a:prstGeom prst="rect">
            <a:avLst/>
          </a:prstGeom>
          <a:noFill/>
        </p:spPr>
        <p:txBody>
          <a:bodyPr wrap="square" lIns="108000" rtlCol="0">
            <a:spAutoFit/>
          </a:bodyPr>
          <a:lstStyle/>
          <a:p>
            <a:r>
              <a:rPr lang="ru-RU" sz="1400">
                <a:solidFill>
                  <a:schemeClr val="accent1"/>
                </a:solidFill>
                <a:latin typeface="+mj-lt"/>
              </a:rPr>
              <a:t>ШАГ </a:t>
            </a:r>
            <a:r>
              <a:rPr lang="ru-RU" sz="2800">
                <a:solidFill>
                  <a:schemeClr val="accent1"/>
                </a:solidFill>
                <a:latin typeface="+mj-lt"/>
              </a:rPr>
              <a:t>2</a:t>
            </a:r>
            <a:endParaRPr lang="ru-RU" sz="1400">
              <a:solidFill>
                <a:schemeClr val="accent1"/>
              </a:solidFill>
              <a:latin typeface="+mj-lt"/>
            </a:endParaRPr>
          </a:p>
          <a:p>
            <a:r>
              <a:rPr lang="ru-RU" sz="1350"/>
              <a:t>Сформировать влиятельную </a:t>
            </a:r>
            <a:br>
              <a:rPr lang="ru-RU" sz="1350"/>
            </a:br>
            <a:r>
              <a:rPr lang="ru-RU" sz="1350"/>
              <a:t>команду перемен </a:t>
            </a:r>
            <a:r>
              <a:rPr lang="ru-RU" sz="1350">
                <a:solidFill>
                  <a:schemeClr val="accent1"/>
                </a:solidFill>
                <a:latin typeface="+mj-lt"/>
              </a:rPr>
              <a:t>с привлечением внешних отраслевых экспертов</a:t>
            </a:r>
          </a:p>
        </p:txBody>
      </p:sp>
      <p:sp>
        <p:nvSpPr>
          <p:cNvPr id="21" name="TextBox 20">
            <a:extLst>
              <a:ext uri="{FF2B5EF4-FFF2-40B4-BE49-F238E27FC236}">
                <a16:creationId xmlns:a16="http://schemas.microsoft.com/office/drawing/2014/main" id="{53565E6E-6D17-4FBC-AED3-C991676A7C23}"/>
              </a:ext>
            </a:extLst>
          </p:cNvPr>
          <p:cNvSpPr txBox="1"/>
          <p:nvPr/>
        </p:nvSpPr>
        <p:spPr>
          <a:xfrm>
            <a:off x="4680903" y="4333431"/>
            <a:ext cx="2230913" cy="1769715"/>
          </a:xfrm>
          <a:prstGeom prst="rect">
            <a:avLst/>
          </a:prstGeom>
          <a:noFill/>
        </p:spPr>
        <p:txBody>
          <a:bodyPr wrap="square" lIns="108000" rtlCol="0">
            <a:spAutoFit/>
          </a:bodyPr>
          <a:lstStyle/>
          <a:p>
            <a:r>
              <a:rPr lang="ru-RU" sz="1400">
                <a:solidFill>
                  <a:schemeClr val="accent3"/>
                </a:solidFill>
                <a:latin typeface="+mj-lt"/>
              </a:rPr>
              <a:t>ШАГ </a:t>
            </a:r>
            <a:r>
              <a:rPr lang="ru-RU" sz="2800">
                <a:solidFill>
                  <a:schemeClr val="accent3"/>
                </a:solidFill>
                <a:latin typeface="+mj-lt"/>
              </a:rPr>
              <a:t>4</a:t>
            </a:r>
            <a:endParaRPr lang="ru-RU" sz="1400">
              <a:solidFill>
                <a:schemeClr val="accent3"/>
              </a:solidFill>
              <a:latin typeface="+mj-lt"/>
            </a:endParaRPr>
          </a:p>
          <a:p>
            <a:r>
              <a:rPr lang="ru-RU" sz="1350"/>
              <a:t>Пропагандировать </a:t>
            </a:r>
            <a:br>
              <a:rPr lang="ru-RU" sz="1350"/>
            </a:br>
            <a:r>
              <a:rPr lang="ru-RU" sz="1350"/>
              <a:t>новое видение </a:t>
            </a:r>
            <a:r>
              <a:rPr lang="ru-RU" sz="1350">
                <a:solidFill>
                  <a:schemeClr val="accent3"/>
                </a:solidFill>
                <a:latin typeface="+mj-lt"/>
              </a:rPr>
              <a:t>и информировать работников о ключевых результатах Программы трансформации </a:t>
            </a:r>
          </a:p>
        </p:txBody>
      </p:sp>
      <p:sp>
        <p:nvSpPr>
          <p:cNvPr id="22" name="TextBox 21">
            <a:extLst>
              <a:ext uri="{FF2B5EF4-FFF2-40B4-BE49-F238E27FC236}">
                <a16:creationId xmlns:a16="http://schemas.microsoft.com/office/drawing/2014/main" id="{5FFA3A4C-6FF1-45B3-9438-A764470972F1}"/>
              </a:ext>
            </a:extLst>
          </p:cNvPr>
          <p:cNvSpPr txBox="1"/>
          <p:nvPr/>
        </p:nvSpPr>
        <p:spPr>
          <a:xfrm>
            <a:off x="7405814" y="4333431"/>
            <a:ext cx="2378265" cy="1561966"/>
          </a:xfrm>
          <a:prstGeom prst="rect">
            <a:avLst/>
          </a:prstGeom>
          <a:noFill/>
        </p:spPr>
        <p:txBody>
          <a:bodyPr wrap="square" lIns="108000" rtlCol="0">
            <a:spAutoFit/>
          </a:bodyPr>
          <a:lstStyle/>
          <a:p>
            <a:r>
              <a:rPr lang="ru-RU" sz="1400">
                <a:solidFill>
                  <a:schemeClr val="accent5"/>
                </a:solidFill>
                <a:latin typeface="+mj-lt"/>
              </a:rPr>
              <a:t>ШАГ </a:t>
            </a:r>
            <a:r>
              <a:rPr lang="ru-RU" sz="2800">
                <a:solidFill>
                  <a:schemeClr val="accent5"/>
                </a:solidFill>
                <a:latin typeface="+mj-lt"/>
              </a:rPr>
              <a:t>6</a:t>
            </a:r>
            <a:endParaRPr lang="ru-RU" sz="1400">
              <a:solidFill>
                <a:schemeClr val="accent5"/>
              </a:solidFill>
              <a:latin typeface="+mj-lt"/>
            </a:endParaRPr>
          </a:p>
          <a:p>
            <a:r>
              <a:rPr lang="ru-RU" sz="1350"/>
              <a:t>Показать «быстрые победы» и организовать процесс </a:t>
            </a:r>
            <a:r>
              <a:rPr lang="ru-RU" sz="1350">
                <a:solidFill>
                  <a:schemeClr val="accent5"/>
                </a:solidFill>
                <a:latin typeface="+mj-lt"/>
              </a:rPr>
              <a:t>мониторинга эффекта </a:t>
            </a:r>
            <a:br>
              <a:rPr lang="ru-RU" sz="1350">
                <a:solidFill>
                  <a:schemeClr val="accent5"/>
                </a:solidFill>
                <a:latin typeface="+mj-lt"/>
              </a:rPr>
            </a:br>
            <a:r>
              <a:rPr lang="ru-RU" sz="1350">
                <a:solidFill>
                  <a:schemeClr val="accent5"/>
                </a:solidFill>
                <a:latin typeface="+mj-lt"/>
              </a:rPr>
              <a:t>от реализованных мероприятий</a:t>
            </a:r>
          </a:p>
        </p:txBody>
      </p:sp>
      <p:sp>
        <p:nvSpPr>
          <p:cNvPr id="23" name="TextBox 22">
            <a:extLst>
              <a:ext uri="{FF2B5EF4-FFF2-40B4-BE49-F238E27FC236}">
                <a16:creationId xmlns:a16="http://schemas.microsoft.com/office/drawing/2014/main" id="{5EACEBAF-1614-43AD-8EE1-4CFD61AA6E23}"/>
              </a:ext>
            </a:extLst>
          </p:cNvPr>
          <p:cNvSpPr txBox="1"/>
          <p:nvPr/>
        </p:nvSpPr>
        <p:spPr>
          <a:xfrm>
            <a:off x="10130727" y="4333431"/>
            <a:ext cx="1878393" cy="1354217"/>
          </a:xfrm>
          <a:prstGeom prst="rect">
            <a:avLst/>
          </a:prstGeom>
          <a:noFill/>
        </p:spPr>
        <p:txBody>
          <a:bodyPr wrap="square" lIns="108000" rtlCol="0">
            <a:spAutoFit/>
          </a:bodyPr>
          <a:lstStyle/>
          <a:p>
            <a:r>
              <a:rPr lang="ru-RU" sz="1400">
                <a:solidFill>
                  <a:schemeClr val="accent6"/>
                </a:solidFill>
                <a:latin typeface="+mj-lt"/>
              </a:rPr>
              <a:t>ШАГ </a:t>
            </a:r>
            <a:r>
              <a:rPr lang="ru-RU" sz="2800">
                <a:solidFill>
                  <a:schemeClr val="accent6"/>
                </a:solidFill>
                <a:latin typeface="+mj-lt"/>
              </a:rPr>
              <a:t>8</a:t>
            </a:r>
            <a:endParaRPr lang="ru-RU" sz="1400">
              <a:solidFill>
                <a:schemeClr val="accent6"/>
              </a:solidFill>
              <a:latin typeface="+mj-lt"/>
            </a:endParaRPr>
          </a:p>
          <a:p>
            <a:r>
              <a:rPr lang="ru-RU" sz="1350" spc="-20"/>
              <a:t>Сформировать </a:t>
            </a:r>
            <a:r>
              <a:rPr lang="ru-RU" sz="1350" spc="-20">
                <a:solidFill>
                  <a:schemeClr val="accent6"/>
                </a:solidFill>
                <a:latin typeface="+mj-lt"/>
              </a:rPr>
              <a:t>Корпоративную культуру </a:t>
            </a:r>
            <a:r>
              <a:rPr lang="ru-RU" sz="1350" spc="-20" err="1">
                <a:solidFill>
                  <a:schemeClr val="accent6"/>
                </a:solidFill>
                <a:latin typeface="+mj-lt"/>
              </a:rPr>
              <a:t>совер</a:t>
            </a:r>
            <a:r>
              <a:rPr lang="ru-RU" sz="1350" spc="-20">
                <a:solidFill>
                  <a:schemeClr val="accent6"/>
                </a:solidFill>
                <a:latin typeface="+mj-lt"/>
              </a:rPr>
              <a:t>-</a:t>
            </a:r>
            <a:br>
              <a:rPr lang="ru-RU" sz="1350" spc="-20">
                <a:solidFill>
                  <a:schemeClr val="accent6"/>
                </a:solidFill>
                <a:latin typeface="+mj-lt"/>
              </a:rPr>
            </a:br>
            <a:r>
              <a:rPr lang="ru-RU" sz="1350" spc="-20" err="1">
                <a:solidFill>
                  <a:schemeClr val="accent6"/>
                </a:solidFill>
                <a:latin typeface="+mj-lt"/>
              </a:rPr>
              <a:t>шенствования</a:t>
            </a:r>
            <a:endParaRPr lang="ru-RU" sz="1350" spc="-20">
              <a:solidFill>
                <a:schemeClr val="accent6"/>
              </a:solidFill>
              <a:latin typeface="+mj-lt"/>
            </a:endParaRPr>
          </a:p>
        </p:txBody>
      </p:sp>
      <p:cxnSp>
        <p:nvCxnSpPr>
          <p:cNvPr id="27" name="Прямая соединительная линия 26">
            <a:extLst>
              <a:ext uri="{FF2B5EF4-FFF2-40B4-BE49-F238E27FC236}">
                <a16:creationId xmlns:a16="http://schemas.microsoft.com/office/drawing/2014/main" id="{6A67D773-110E-4363-838C-C22A788CF6E9}"/>
              </a:ext>
            </a:extLst>
          </p:cNvPr>
          <p:cNvCxnSpPr>
            <a:cxnSpLocks/>
          </p:cNvCxnSpPr>
          <p:nvPr/>
        </p:nvCxnSpPr>
        <p:spPr>
          <a:xfrm>
            <a:off x="515938" y="1860296"/>
            <a:ext cx="0" cy="79200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a:extLst>
              <a:ext uri="{FF2B5EF4-FFF2-40B4-BE49-F238E27FC236}">
                <a16:creationId xmlns:a16="http://schemas.microsoft.com/office/drawing/2014/main" id="{4E3BC45E-4EE3-4A8E-97AF-1C0843DE1CA4}"/>
              </a:ext>
            </a:extLst>
          </p:cNvPr>
          <p:cNvCxnSpPr>
            <a:cxnSpLocks/>
          </p:cNvCxnSpPr>
          <p:nvPr/>
        </p:nvCxnSpPr>
        <p:spPr>
          <a:xfrm>
            <a:off x="3309938" y="1227253"/>
            <a:ext cx="0" cy="143256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a16="http://schemas.microsoft.com/office/drawing/2014/main" id="{28A3B75A-6544-45F4-9B86-3117838E8DB0}"/>
              </a:ext>
            </a:extLst>
          </p:cNvPr>
          <p:cNvCxnSpPr>
            <a:cxnSpLocks/>
          </p:cNvCxnSpPr>
          <p:nvPr/>
        </p:nvCxnSpPr>
        <p:spPr>
          <a:xfrm>
            <a:off x="6022658" y="1955800"/>
            <a:ext cx="0" cy="1147763"/>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a16="http://schemas.microsoft.com/office/drawing/2014/main" id="{9F1FD186-3050-4AF3-94F5-4AE8F9BF41BA}"/>
              </a:ext>
            </a:extLst>
          </p:cNvPr>
          <p:cNvCxnSpPr>
            <a:cxnSpLocks/>
          </p:cNvCxnSpPr>
          <p:nvPr/>
        </p:nvCxnSpPr>
        <p:spPr>
          <a:xfrm>
            <a:off x="6022658" y="1860296"/>
            <a:ext cx="0" cy="792000"/>
          </a:xfrm>
          <a:prstGeom prst="line">
            <a:avLst/>
          </a:prstGeom>
          <a:ln w="508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a:extLst>
              <a:ext uri="{FF2B5EF4-FFF2-40B4-BE49-F238E27FC236}">
                <a16:creationId xmlns:a16="http://schemas.microsoft.com/office/drawing/2014/main" id="{4B417C37-A755-463D-8884-1EF32508A549}"/>
              </a:ext>
            </a:extLst>
          </p:cNvPr>
          <p:cNvCxnSpPr>
            <a:cxnSpLocks/>
          </p:cNvCxnSpPr>
          <p:nvPr/>
        </p:nvCxnSpPr>
        <p:spPr>
          <a:xfrm>
            <a:off x="1937703" y="4089400"/>
            <a:ext cx="0" cy="1768475"/>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a:extLst>
              <a:ext uri="{FF2B5EF4-FFF2-40B4-BE49-F238E27FC236}">
                <a16:creationId xmlns:a16="http://schemas.microsoft.com/office/drawing/2014/main" id="{B0D988BD-6217-469C-A787-2DED42A6DFA3}"/>
              </a:ext>
            </a:extLst>
          </p:cNvPr>
          <p:cNvCxnSpPr>
            <a:cxnSpLocks/>
          </p:cNvCxnSpPr>
          <p:nvPr/>
        </p:nvCxnSpPr>
        <p:spPr>
          <a:xfrm>
            <a:off x="1937703" y="4586447"/>
            <a:ext cx="0" cy="1394745"/>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a:extLst>
              <a:ext uri="{FF2B5EF4-FFF2-40B4-BE49-F238E27FC236}">
                <a16:creationId xmlns:a16="http://schemas.microsoft.com/office/drawing/2014/main" id="{759E5BC8-B437-433B-8B51-595B2E7D4E51}"/>
              </a:ext>
            </a:extLst>
          </p:cNvPr>
          <p:cNvCxnSpPr>
            <a:cxnSpLocks/>
          </p:cNvCxnSpPr>
          <p:nvPr/>
        </p:nvCxnSpPr>
        <p:spPr>
          <a:xfrm>
            <a:off x="4680903" y="4089400"/>
            <a:ext cx="0" cy="1768475"/>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a:extLst>
              <a:ext uri="{FF2B5EF4-FFF2-40B4-BE49-F238E27FC236}">
                <a16:creationId xmlns:a16="http://schemas.microsoft.com/office/drawing/2014/main" id="{75864969-B4B5-4EE9-8516-EFCC891D9D3E}"/>
              </a:ext>
            </a:extLst>
          </p:cNvPr>
          <p:cNvCxnSpPr>
            <a:cxnSpLocks/>
          </p:cNvCxnSpPr>
          <p:nvPr/>
        </p:nvCxnSpPr>
        <p:spPr>
          <a:xfrm>
            <a:off x="4680903" y="4586447"/>
            <a:ext cx="0" cy="1394745"/>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a:extLst>
              <a:ext uri="{FF2B5EF4-FFF2-40B4-BE49-F238E27FC236}">
                <a16:creationId xmlns:a16="http://schemas.microsoft.com/office/drawing/2014/main" id="{0B950DB8-F6AD-4E4F-8A41-F5833A8D2704}"/>
              </a:ext>
            </a:extLst>
          </p:cNvPr>
          <p:cNvCxnSpPr>
            <a:cxnSpLocks/>
          </p:cNvCxnSpPr>
          <p:nvPr/>
        </p:nvCxnSpPr>
        <p:spPr>
          <a:xfrm>
            <a:off x="7405815" y="4089400"/>
            <a:ext cx="0" cy="158242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4" name="Прямая соединительная линия 53">
            <a:extLst>
              <a:ext uri="{FF2B5EF4-FFF2-40B4-BE49-F238E27FC236}">
                <a16:creationId xmlns:a16="http://schemas.microsoft.com/office/drawing/2014/main" id="{C39DF212-1F89-488D-A11B-A18F60B474F1}"/>
              </a:ext>
            </a:extLst>
          </p:cNvPr>
          <p:cNvCxnSpPr>
            <a:cxnSpLocks/>
          </p:cNvCxnSpPr>
          <p:nvPr/>
        </p:nvCxnSpPr>
        <p:spPr>
          <a:xfrm>
            <a:off x="7405815" y="4586447"/>
            <a:ext cx="0" cy="1184433"/>
          </a:xfrm>
          <a:prstGeom prst="line">
            <a:avLst/>
          </a:prstGeom>
          <a:ln w="508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54">
            <a:extLst>
              <a:ext uri="{FF2B5EF4-FFF2-40B4-BE49-F238E27FC236}">
                <a16:creationId xmlns:a16="http://schemas.microsoft.com/office/drawing/2014/main" id="{829DEAD1-D70D-44FB-A096-D116B6A0CD4A}"/>
              </a:ext>
            </a:extLst>
          </p:cNvPr>
          <p:cNvCxnSpPr>
            <a:cxnSpLocks/>
          </p:cNvCxnSpPr>
          <p:nvPr/>
        </p:nvCxnSpPr>
        <p:spPr>
          <a:xfrm>
            <a:off x="10130727" y="4089400"/>
            <a:ext cx="0" cy="143002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55">
            <a:extLst>
              <a:ext uri="{FF2B5EF4-FFF2-40B4-BE49-F238E27FC236}">
                <a16:creationId xmlns:a16="http://schemas.microsoft.com/office/drawing/2014/main" id="{2B94629F-3F73-4D19-9EF0-AD53D571429A}"/>
              </a:ext>
            </a:extLst>
          </p:cNvPr>
          <p:cNvCxnSpPr>
            <a:cxnSpLocks/>
          </p:cNvCxnSpPr>
          <p:nvPr/>
        </p:nvCxnSpPr>
        <p:spPr>
          <a:xfrm>
            <a:off x="10130727" y="4586447"/>
            <a:ext cx="0" cy="986313"/>
          </a:xfrm>
          <a:prstGeom prst="line">
            <a:avLst/>
          </a:prstGeom>
          <a:ln w="5080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61" name="Группа 60">
            <a:extLst>
              <a:ext uri="{FF2B5EF4-FFF2-40B4-BE49-F238E27FC236}">
                <a16:creationId xmlns:a16="http://schemas.microsoft.com/office/drawing/2014/main" id="{46DCBA80-C9A1-4DE5-B7EA-4020A18807EB}"/>
              </a:ext>
            </a:extLst>
          </p:cNvPr>
          <p:cNvGrpSpPr/>
          <p:nvPr/>
        </p:nvGrpSpPr>
        <p:grpSpPr>
          <a:xfrm>
            <a:off x="1073683" y="3344355"/>
            <a:ext cx="523836" cy="490689"/>
            <a:chOff x="7333408" y="1875773"/>
            <a:chExt cx="523836" cy="490689"/>
          </a:xfrm>
          <a:solidFill>
            <a:schemeClr val="bg1"/>
          </a:solidFill>
          <a:effectLst>
            <a:outerShdw blurRad="63500" sx="102000" sy="102000" algn="ctr" rotWithShape="0">
              <a:prstClr val="black">
                <a:alpha val="40000"/>
              </a:prstClr>
            </a:outerShdw>
          </a:effectLst>
        </p:grpSpPr>
        <p:sp>
          <p:nvSpPr>
            <p:cNvPr id="62" name="Полилиния: фигура 61">
              <a:extLst>
                <a:ext uri="{FF2B5EF4-FFF2-40B4-BE49-F238E27FC236}">
                  <a16:creationId xmlns:a16="http://schemas.microsoft.com/office/drawing/2014/main" id="{86E48CC5-D9AB-468D-A841-D9A702984D80}"/>
                </a:ext>
              </a:extLst>
            </p:cNvPr>
            <p:cNvSpPr/>
            <p:nvPr/>
          </p:nvSpPr>
          <p:spPr>
            <a:xfrm>
              <a:off x="7333408" y="1990309"/>
              <a:ext cx="268811" cy="376153"/>
            </a:xfrm>
            <a:custGeom>
              <a:avLst/>
              <a:gdLst>
                <a:gd name="connsiteX0" fmla="*/ 85623 w 268811"/>
                <a:gd name="connsiteY0" fmla="*/ 376153 h 376153"/>
                <a:gd name="connsiteX1" fmla="*/ 82969 w 268811"/>
                <a:gd name="connsiteY1" fmla="*/ 375594 h 376153"/>
                <a:gd name="connsiteX2" fmla="*/ 79058 w 268811"/>
                <a:gd name="connsiteY2" fmla="*/ 371823 h 376153"/>
                <a:gd name="connsiteX3" fmla="*/ 78918 w 268811"/>
                <a:gd name="connsiteY3" fmla="*/ 366376 h 376153"/>
                <a:gd name="connsiteX4" fmla="*/ 118168 w 268811"/>
                <a:gd name="connsiteY4" fmla="*/ 265388 h 376153"/>
                <a:gd name="connsiteX5" fmla="*/ 83807 w 268811"/>
                <a:gd name="connsiteY5" fmla="*/ 265388 h 376153"/>
                <a:gd name="connsiteX6" fmla="*/ 48189 w 268811"/>
                <a:gd name="connsiteY6" fmla="*/ 371264 h 376153"/>
                <a:gd name="connsiteX7" fmla="*/ 41345 w 268811"/>
                <a:gd name="connsiteY7" fmla="*/ 376153 h 376153"/>
                <a:gd name="connsiteX8" fmla="*/ 39110 w 268811"/>
                <a:gd name="connsiteY8" fmla="*/ 375734 h 376153"/>
                <a:gd name="connsiteX9" fmla="*/ 34920 w 268811"/>
                <a:gd name="connsiteY9" fmla="*/ 372102 h 376153"/>
                <a:gd name="connsiteX10" fmla="*/ 34501 w 268811"/>
                <a:gd name="connsiteY10" fmla="*/ 366655 h 376153"/>
                <a:gd name="connsiteX11" fmla="*/ 68582 w 268811"/>
                <a:gd name="connsiteY11" fmla="*/ 265388 h 376153"/>
                <a:gd name="connsiteX12" fmla="*/ 7124 w 268811"/>
                <a:gd name="connsiteY12" fmla="*/ 265388 h 376153"/>
                <a:gd name="connsiteX13" fmla="*/ 0 w 268811"/>
                <a:gd name="connsiteY13" fmla="*/ 258265 h 376153"/>
                <a:gd name="connsiteX14" fmla="*/ 0 w 268811"/>
                <a:gd name="connsiteY14" fmla="*/ 158535 h 376153"/>
                <a:gd name="connsiteX15" fmla="*/ 7124 w 268811"/>
                <a:gd name="connsiteY15" fmla="*/ 151411 h 376153"/>
                <a:gd name="connsiteX16" fmla="*/ 44278 w 268811"/>
                <a:gd name="connsiteY16" fmla="*/ 151411 h 376153"/>
                <a:gd name="connsiteX17" fmla="*/ 44278 w 268811"/>
                <a:gd name="connsiteY17" fmla="*/ 52379 h 376153"/>
                <a:gd name="connsiteX18" fmla="*/ 58386 w 268811"/>
                <a:gd name="connsiteY18" fmla="*/ 23187 h 376153"/>
                <a:gd name="connsiteX19" fmla="*/ 81852 w 268811"/>
                <a:gd name="connsiteY19" fmla="*/ 8381 h 376153"/>
                <a:gd name="connsiteX20" fmla="*/ 112301 w 268811"/>
                <a:gd name="connsiteY20" fmla="*/ 0 h 376153"/>
                <a:gd name="connsiteX21" fmla="*/ 143729 w 268811"/>
                <a:gd name="connsiteY21" fmla="*/ 8241 h 376153"/>
                <a:gd name="connsiteX22" fmla="*/ 151830 w 268811"/>
                <a:gd name="connsiteY22" fmla="*/ 12152 h 376153"/>
                <a:gd name="connsiteX23" fmla="*/ 180325 w 268811"/>
                <a:gd name="connsiteY23" fmla="*/ 47770 h 376153"/>
                <a:gd name="connsiteX24" fmla="*/ 180325 w 268811"/>
                <a:gd name="connsiteY24" fmla="*/ 87858 h 376153"/>
                <a:gd name="connsiteX25" fmla="*/ 243040 w 268811"/>
                <a:gd name="connsiteY25" fmla="*/ 122498 h 376153"/>
                <a:gd name="connsiteX26" fmla="*/ 245834 w 268811"/>
                <a:gd name="connsiteY26" fmla="*/ 132275 h 376153"/>
                <a:gd name="connsiteX27" fmla="*/ 239548 w 268811"/>
                <a:gd name="connsiteY27" fmla="*/ 136046 h 376153"/>
                <a:gd name="connsiteX28" fmla="*/ 236056 w 268811"/>
                <a:gd name="connsiteY28" fmla="*/ 135208 h 376153"/>
                <a:gd name="connsiteX29" fmla="*/ 180325 w 268811"/>
                <a:gd name="connsiteY29" fmla="*/ 104479 h 376153"/>
                <a:gd name="connsiteX30" fmla="*/ 180325 w 268811"/>
                <a:gd name="connsiteY30" fmla="*/ 154624 h 376153"/>
                <a:gd name="connsiteX31" fmla="*/ 253795 w 268811"/>
                <a:gd name="connsiteY31" fmla="*/ 196806 h 376153"/>
                <a:gd name="connsiteX32" fmla="*/ 257287 w 268811"/>
                <a:gd name="connsiteY32" fmla="*/ 202254 h 376153"/>
                <a:gd name="connsiteX33" fmla="*/ 268741 w 268811"/>
                <a:gd name="connsiteY33" fmla="*/ 301984 h 376153"/>
                <a:gd name="connsiteX34" fmla="*/ 267204 w 268811"/>
                <a:gd name="connsiteY34" fmla="*/ 307292 h 376153"/>
                <a:gd name="connsiteX35" fmla="*/ 262455 w 268811"/>
                <a:gd name="connsiteY35" fmla="*/ 309946 h 376153"/>
                <a:gd name="connsiteX36" fmla="*/ 262316 w 268811"/>
                <a:gd name="connsiteY36" fmla="*/ 309946 h 376153"/>
                <a:gd name="connsiteX37" fmla="*/ 254494 w 268811"/>
                <a:gd name="connsiteY37" fmla="*/ 303660 h 376153"/>
                <a:gd name="connsiteX38" fmla="*/ 243459 w 268811"/>
                <a:gd name="connsiteY38" fmla="*/ 207562 h 376153"/>
                <a:gd name="connsiteX39" fmla="*/ 169569 w 268811"/>
                <a:gd name="connsiteY39" fmla="*/ 165100 h 376153"/>
                <a:gd name="connsiteX40" fmla="*/ 165938 w 268811"/>
                <a:gd name="connsiteY40" fmla="*/ 158954 h 376153"/>
                <a:gd name="connsiteX41" fmla="*/ 165938 w 268811"/>
                <a:gd name="connsiteY41" fmla="*/ 47910 h 376153"/>
                <a:gd name="connsiteX42" fmla="*/ 145545 w 268811"/>
                <a:gd name="connsiteY42" fmla="*/ 25282 h 376153"/>
                <a:gd name="connsiteX43" fmla="*/ 137024 w 268811"/>
                <a:gd name="connsiteY43" fmla="*/ 21091 h 376153"/>
                <a:gd name="connsiteX44" fmla="*/ 112162 w 268811"/>
                <a:gd name="connsiteY44" fmla="*/ 14387 h 376153"/>
                <a:gd name="connsiteX45" fmla="*/ 88556 w 268811"/>
                <a:gd name="connsiteY45" fmla="*/ 20952 h 376153"/>
                <a:gd name="connsiteX46" fmla="*/ 66906 w 268811"/>
                <a:gd name="connsiteY46" fmla="*/ 34640 h 376153"/>
                <a:gd name="connsiteX47" fmla="*/ 58386 w 268811"/>
                <a:gd name="connsiteY47" fmla="*/ 52379 h 376153"/>
                <a:gd name="connsiteX48" fmla="*/ 58386 w 268811"/>
                <a:gd name="connsiteY48" fmla="*/ 151411 h 376153"/>
                <a:gd name="connsiteX49" fmla="*/ 88277 w 268811"/>
                <a:gd name="connsiteY49" fmla="*/ 151411 h 376153"/>
                <a:gd name="connsiteX50" fmla="*/ 88277 w 268811"/>
                <a:gd name="connsiteY50" fmla="*/ 65090 h 376153"/>
                <a:gd name="connsiteX51" fmla="*/ 95400 w 268811"/>
                <a:gd name="connsiteY51" fmla="*/ 57966 h 376153"/>
                <a:gd name="connsiteX52" fmla="*/ 102524 w 268811"/>
                <a:gd name="connsiteY52" fmla="*/ 65090 h 376153"/>
                <a:gd name="connsiteX53" fmla="*/ 102524 w 268811"/>
                <a:gd name="connsiteY53" fmla="*/ 151271 h 376153"/>
                <a:gd name="connsiteX54" fmla="*/ 139678 w 268811"/>
                <a:gd name="connsiteY54" fmla="*/ 151271 h 376153"/>
                <a:gd name="connsiteX55" fmla="*/ 146802 w 268811"/>
                <a:gd name="connsiteY55" fmla="*/ 158395 h 376153"/>
                <a:gd name="connsiteX56" fmla="*/ 146802 w 268811"/>
                <a:gd name="connsiteY56" fmla="*/ 199879 h 376153"/>
                <a:gd name="connsiteX57" fmla="*/ 208400 w 268811"/>
                <a:gd name="connsiteY57" fmla="*/ 223625 h 376153"/>
                <a:gd name="connsiteX58" fmla="*/ 212870 w 268811"/>
                <a:gd name="connsiteY58" fmla="*/ 229212 h 376153"/>
                <a:gd name="connsiteX59" fmla="*/ 223625 w 268811"/>
                <a:gd name="connsiteY59" fmla="*/ 301146 h 376153"/>
                <a:gd name="connsiteX60" fmla="*/ 222228 w 268811"/>
                <a:gd name="connsiteY60" fmla="*/ 306454 h 376153"/>
                <a:gd name="connsiteX61" fmla="*/ 217479 w 268811"/>
                <a:gd name="connsiteY61" fmla="*/ 309247 h 376153"/>
                <a:gd name="connsiteX62" fmla="*/ 216362 w 268811"/>
                <a:gd name="connsiteY62" fmla="*/ 309387 h 376153"/>
                <a:gd name="connsiteX63" fmla="*/ 209238 w 268811"/>
                <a:gd name="connsiteY63" fmla="*/ 303241 h 376153"/>
                <a:gd name="connsiteX64" fmla="*/ 199181 w 268811"/>
                <a:gd name="connsiteY64" fmla="*/ 235358 h 376153"/>
                <a:gd name="connsiteX65" fmla="*/ 147361 w 268811"/>
                <a:gd name="connsiteY65" fmla="*/ 215523 h 376153"/>
                <a:gd name="connsiteX66" fmla="*/ 147361 w 268811"/>
                <a:gd name="connsiteY66" fmla="*/ 258265 h 376153"/>
                <a:gd name="connsiteX67" fmla="*/ 140237 w 268811"/>
                <a:gd name="connsiteY67" fmla="*/ 265388 h 376153"/>
                <a:gd name="connsiteX68" fmla="*/ 133672 w 268811"/>
                <a:gd name="connsiteY68" fmla="*/ 265388 h 376153"/>
                <a:gd name="connsiteX69" fmla="*/ 92467 w 268811"/>
                <a:gd name="connsiteY69" fmla="*/ 371544 h 376153"/>
                <a:gd name="connsiteX70" fmla="*/ 85623 w 268811"/>
                <a:gd name="connsiteY70" fmla="*/ 376153 h 376153"/>
                <a:gd name="connsiteX71" fmla="*/ 14387 w 268811"/>
                <a:gd name="connsiteY71" fmla="*/ 251002 h 376153"/>
                <a:gd name="connsiteX72" fmla="*/ 132834 w 268811"/>
                <a:gd name="connsiteY72" fmla="*/ 251002 h 376153"/>
                <a:gd name="connsiteX73" fmla="*/ 132834 w 268811"/>
                <a:gd name="connsiteY73" fmla="*/ 165658 h 376153"/>
                <a:gd name="connsiteX74" fmla="*/ 96797 w 268811"/>
                <a:gd name="connsiteY74" fmla="*/ 165658 h 376153"/>
                <a:gd name="connsiteX75" fmla="*/ 95680 w 268811"/>
                <a:gd name="connsiteY75" fmla="*/ 165658 h 376153"/>
                <a:gd name="connsiteX76" fmla="*/ 14247 w 268811"/>
                <a:gd name="connsiteY76" fmla="*/ 165658 h 376153"/>
                <a:gd name="connsiteX77" fmla="*/ 14247 w 268811"/>
                <a:gd name="connsiteY77" fmla="*/ 251002 h 37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68811" h="376153">
                  <a:moveTo>
                    <a:pt x="85623" y="376153"/>
                  </a:moveTo>
                  <a:cubicBezTo>
                    <a:pt x="84785" y="376153"/>
                    <a:pt x="83807" y="376013"/>
                    <a:pt x="82969" y="375594"/>
                  </a:cubicBezTo>
                  <a:cubicBezTo>
                    <a:pt x="81153" y="374896"/>
                    <a:pt x="79757" y="373499"/>
                    <a:pt x="79058" y="371823"/>
                  </a:cubicBezTo>
                  <a:cubicBezTo>
                    <a:pt x="78220" y="370007"/>
                    <a:pt x="78220" y="368192"/>
                    <a:pt x="78918" y="366376"/>
                  </a:cubicBezTo>
                  <a:lnTo>
                    <a:pt x="118168" y="265388"/>
                  </a:lnTo>
                  <a:lnTo>
                    <a:pt x="83807" y="265388"/>
                  </a:lnTo>
                  <a:lnTo>
                    <a:pt x="48189" y="371264"/>
                  </a:lnTo>
                  <a:cubicBezTo>
                    <a:pt x="47211" y="374198"/>
                    <a:pt x="44418" y="376153"/>
                    <a:pt x="41345" y="376153"/>
                  </a:cubicBezTo>
                  <a:cubicBezTo>
                    <a:pt x="40507" y="376153"/>
                    <a:pt x="39808" y="376013"/>
                    <a:pt x="39110" y="375734"/>
                  </a:cubicBezTo>
                  <a:cubicBezTo>
                    <a:pt x="37294" y="375175"/>
                    <a:pt x="35758" y="373779"/>
                    <a:pt x="34920" y="372102"/>
                  </a:cubicBezTo>
                  <a:cubicBezTo>
                    <a:pt x="34081" y="370426"/>
                    <a:pt x="33942" y="368471"/>
                    <a:pt x="34501" y="366655"/>
                  </a:cubicBezTo>
                  <a:lnTo>
                    <a:pt x="68582" y="265388"/>
                  </a:lnTo>
                  <a:lnTo>
                    <a:pt x="7124" y="265388"/>
                  </a:lnTo>
                  <a:cubicBezTo>
                    <a:pt x="3213" y="265388"/>
                    <a:pt x="0" y="262176"/>
                    <a:pt x="0" y="258265"/>
                  </a:cubicBezTo>
                  <a:lnTo>
                    <a:pt x="0" y="158535"/>
                  </a:lnTo>
                  <a:cubicBezTo>
                    <a:pt x="0" y="154624"/>
                    <a:pt x="3213" y="151411"/>
                    <a:pt x="7124" y="151411"/>
                  </a:cubicBezTo>
                  <a:lnTo>
                    <a:pt x="44278" y="151411"/>
                  </a:lnTo>
                  <a:lnTo>
                    <a:pt x="44278" y="52379"/>
                  </a:lnTo>
                  <a:cubicBezTo>
                    <a:pt x="44278" y="40646"/>
                    <a:pt x="48887" y="31148"/>
                    <a:pt x="58386" y="23187"/>
                  </a:cubicBezTo>
                  <a:cubicBezTo>
                    <a:pt x="58525" y="23047"/>
                    <a:pt x="69560" y="15085"/>
                    <a:pt x="81852" y="8381"/>
                  </a:cubicBezTo>
                  <a:cubicBezTo>
                    <a:pt x="92048" y="2794"/>
                    <a:pt x="101965" y="0"/>
                    <a:pt x="112301" y="0"/>
                  </a:cubicBezTo>
                  <a:cubicBezTo>
                    <a:pt x="122498" y="0"/>
                    <a:pt x="132974" y="2794"/>
                    <a:pt x="143729" y="8241"/>
                  </a:cubicBezTo>
                  <a:cubicBezTo>
                    <a:pt x="146523" y="9638"/>
                    <a:pt x="149316" y="11035"/>
                    <a:pt x="151830" y="12152"/>
                  </a:cubicBezTo>
                  <a:cubicBezTo>
                    <a:pt x="166497" y="19136"/>
                    <a:pt x="180325" y="25701"/>
                    <a:pt x="180325" y="47770"/>
                  </a:cubicBezTo>
                  <a:lnTo>
                    <a:pt x="180325" y="87858"/>
                  </a:lnTo>
                  <a:lnTo>
                    <a:pt x="243040" y="122498"/>
                  </a:lnTo>
                  <a:cubicBezTo>
                    <a:pt x="246532" y="124453"/>
                    <a:pt x="247789" y="128783"/>
                    <a:pt x="245834" y="132275"/>
                  </a:cubicBezTo>
                  <a:cubicBezTo>
                    <a:pt x="244577" y="134510"/>
                    <a:pt x="242202" y="136046"/>
                    <a:pt x="239548" y="136046"/>
                  </a:cubicBezTo>
                  <a:cubicBezTo>
                    <a:pt x="238291" y="136046"/>
                    <a:pt x="237174" y="135767"/>
                    <a:pt x="236056" y="135208"/>
                  </a:cubicBezTo>
                  <a:lnTo>
                    <a:pt x="180325" y="104479"/>
                  </a:lnTo>
                  <a:lnTo>
                    <a:pt x="180325" y="154624"/>
                  </a:lnTo>
                  <a:lnTo>
                    <a:pt x="253795" y="196806"/>
                  </a:lnTo>
                  <a:cubicBezTo>
                    <a:pt x="255751" y="197924"/>
                    <a:pt x="257147" y="199879"/>
                    <a:pt x="257287" y="202254"/>
                  </a:cubicBezTo>
                  <a:lnTo>
                    <a:pt x="268741" y="301984"/>
                  </a:lnTo>
                  <a:cubicBezTo>
                    <a:pt x="269020" y="303940"/>
                    <a:pt x="268461" y="305755"/>
                    <a:pt x="267204" y="307292"/>
                  </a:cubicBezTo>
                  <a:cubicBezTo>
                    <a:pt x="265947" y="308828"/>
                    <a:pt x="264271" y="309666"/>
                    <a:pt x="262455" y="309946"/>
                  </a:cubicBezTo>
                  <a:cubicBezTo>
                    <a:pt x="262455" y="309946"/>
                    <a:pt x="262316" y="309946"/>
                    <a:pt x="262316" y="309946"/>
                  </a:cubicBezTo>
                  <a:cubicBezTo>
                    <a:pt x="257846" y="309946"/>
                    <a:pt x="254913" y="307292"/>
                    <a:pt x="254494" y="303660"/>
                  </a:cubicBezTo>
                  <a:lnTo>
                    <a:pt x="243459" y="207562"/>
                  </a:lnTo>
                  <a:lnTo>
                    <a:pt x="169569" y="165100"/>
                  </a:lnTo>
                  <a:cubicBezTo>
                    <a:pt x="167335" y="163842"/>
                    <a:pt x="165938" y="161468"/>
                    <a:pt x="165938" y="158954"/>
                  </a:cubicBezTo>
                  <a:lnTo>
                    <a:pt x="165938" y="47910"/>
                  </a:lnTo>
                  <a:cubicBezTo>
                    <a:pt x="165938" y="35478"/>
                    <a:pt x="160770" y="32405"/>
                    <a:pt x="145545" y="25282"/>
                  </a:cubicBezTo>
                  <a:cubicBezTo>
                    <a:pt x="142612" y="23885"/>
                    <a:pt x="139958" y="22628"/>
                    <a:pt x="137024" y="21091"/>
                  </a:cubicBezTo>
                  <a:cubicBezTo>
                    <a:pt x="128225" y="16622"/>
                    <a:pt x="120123" y="14387"/>
                    <a:pt x="112162" y="14387"/>
                  </a:cubicBezTo>
                  <a:cubicBezTo>
                    <a:pt x="104340" y="14387"/>
                    <a:pt x="96657" y="16622"/>
                    <a:pt x="88556" y="20952"/>
                  </a:cubicBezTo>
                  <a:cubicBezTo>
                    <a:pt x="77522" y="27098"/>
                    <a:pt x="67046" y="34500"/>
                    <a:pt x="66906" y="34640"/>
                  </a:cubicBezTo>
                  <a:cubicBezTo>
                    <a:pt x="61039" y="39529"/>
                    <a:pt x="58386" y="45116"/>
                    <a:pt x="58386" y="52379"/>
                  </a:cubicBezTo>
                  <a:lnTo>
                    <a:pt x="58386" y="151411"/>
                  </a:lnTo>
                  <a:lnTo>
                    <a:pt x="88277" y="151411"/>
                  </a:lnTo>
                  <a:lnTo>
                    <a:pt x="88277" y="65090"/>
                  </a:lnTo>
                  <a:cubicBezTo>
                    <a:pt x="88277" y="61179"/>
                    <a:pt x="91489" y="57966"/>
                    <a:pt x="95400" y="57966"/>
                  </a:cubicBezTo>
                  <a:cubicBezTo>
                    <a:pt x="99311" y="57966"/>
                    <a:pt x="102524" y="61179"/>
                    <a:pt x="102524" y="65090"/>
                  </a:cubicBezTo>
                  <a:lnTo>
                    <a:pt x="102524" y="151271"/>
                  </a:lnTo>
                  <a:lnTo>
                    <a:pt x="139678" y="151271"/>
                  </a:lnTo>
                  <a:cubicBezTo>
                    <a:pt x="143589" y="151271"/>
                    <a:pt x="146802" y="154484"/>
                    <a:pt x="146802" y="158395"/>
                  </a:cubicBezTo>
                  <a:lnTo>
                    <a:pt x="146802" y="199879"/>
                  </a:lnTo>
                  <a:lnTo>
                    <a:pt x="208400" y="223625"/>
                  </a:lnTo>
                  <a:cubicBezTo>
                    <a:pt x="210774" y="224602"/>
                    <a:pt x="212590" y="226698"/>
                    <a:pt x="212870" y="229212"/>
                  </a:cubicBezTo>
                  <a:lnTo>
                    <a:pt x="223625" y="301146"/>
                  </a:lnTo>
                  <a:cubicBezTo>
                    <a:pt x="223904" y="303102"/>
                    <a:pt x="223485" y="304917"/>
                    <a:pt x="222228" y="306454"/>
                  </a:cubicBezTo>
                  <a:cubicBezTo>
                    <a:pt x="221111" y="307990"/>
                    <a:pt x="219435" y="308968"/>
                    <a:pt x="217479" y="309247"/>
                  </a:cubicBezTo>
                  <a:cubicBezTo>
                    <a:pt x="217060" y="309247"/>
                    <a:pt x="216781" y="309387"/>
                    <a:pt x="216362" y="309387"/>
                  </a:cubicBezTo>
                  <a:cubicBezTo>
                    <a:pt x="212870" y="309387"/>
                    <a:pt x="209797" y="306733"/>
                    <a:pt x="209238" y="303241"/>
                  </a:cubicBezTo>
                  <a:lnTo>
                    <a:pt x="199181" y="235358"/>
                  </a:lnTo>
                  <a:lnTo>
                    <a:pt x="147361" y="215523"/>
                  </a:lnTo>
                  <a:lnTo>
                    <a:pt x="147361" y="258265"/>
                  </a:lnTo>
                  <a:cubicBezTo>
                    <a:pt x="147361" y="262176"/>
                    <a:pt x="144148" y="265388"/>
                    <a:pt x="140237" y="265388"/>
                  </a:cubicBezTo>
                  <a:lnTo>
                    <a:pt x="133672" y="265388"/>
                  </a:lnTo>
                  <a:lnTo>
                    <a:pt x="92467" y="371544"/>
                  </a:lnTo>
                  <a:cubicBezTo>
                    <a:pt x="91210" y="374337"/>
                    <a:pt x="88556" y="376153"/>
                    <a:pt x="85623" y="376153"/>
                  </a:cubicBezTo>
                  <a:close/>
                  <a:moveTo>
                    <a:pt x="14387" y="251002"/>
                  </a:moveTo>
                  <a:lnTo>
                    <a:pt x="132834" y="251002"/>
                  </a:lnTo>
                  <a:lnTo>
                    <a:pt x="132834" y="165658"/>
                  </a:lnTo>
                  <a:lnTo>
                    <a:pt x="96797" y="165658"/>
                  </a:lnTo>
                  <a:lnTo>
                    <a:pt x="95680" y="165658"/>
                  </a:lnTo>
                  <a:lnTo>
                    <a:pt x="14247" y="165658"/>
                  </a:lnTo>
                  <a:lnTo>
                    <a:pt x="14247" y="251002"/>
                  </a:lnTo>
                  <a:close/>
                </a:path>
              </a:pathLst>
            </a:custGeom>
            <a:grpFill/>
            <a:ln w="13961" cap="flat">
              <a:noFill/>
              <a:prstDash val="solid"/>
              <a:miter/>
            </a:ln>
          </p:spPr>
          <p:txBody>
            <a:bodyPr rtlCol="0" anchor="ctr"/>
            <a:lstStyle/>
            <a:p>
              <a:endParaRPr lang="ru-RU"/>
            </a:p>
          </p:txBody>
        </p:sp>
        <p:sp>
          <p:nvSpPr>
            <p:cNvPr id="63" name="Полилиния: фигура 62">
              <a:extLst>
                <a:ext uri="{FF2B5EF4-FFF2-40B4-BE49-F238E27FC236}">
                  <a16:creationId xmlns:a16="http://schemas.microsoft.com/office/drawing/2014/main" id="{1DEEF568-4C8B-4492-A5D7-56A1F1C06E48}"/>
                </a:ext>
              </a:extLst>
            </p:cNvPr>
            <p:cNvSpPr/>
            <p:nvPr/>
          </p:nvSpPr>
          <p:spPr>
            <a:xfrm>
              <a:off x="7445011" y="1875773"/>
              <a:ext cx="103082" cy="103082"/>
            </a:xfrm>
            <a:custGeom>
              <a:avLst/>
              <a:gdLst>
                <a:gd name="connsiteX0" fmla="*/ 51541 w 103082"/>
                <a:gd name="connsiteY0" fmla="*/ 103082 h 103082"/>
                <a:gd name="connsiteX1" fmla="*/ 0 w 103082"/>
                <a:gd name="connsiteY1" fmla="*/ 51541 h 103082"/>
                <a:gd name="connsiteX2" fmla="*/ 51541 w 103082"/>
                <a:gd name="connsiteY2" fmla="*/ 0 h 103082"/>
                <a:gd name="connsiteX3" fmla="*/ 103082 w 103082"/>
                <a:gd name="connsiteY3" fmla="*/ 51541 h 103082"/>
                <a:gd name="connsiteX4" fmla="*/ 51541 w 103082"/>
                <a:gd name="connsiteY4" fmla="*/ 103082 h 103082"/>
                <a:gd name="connsiteX5" fmla="*/ 51541 w 103082"/>
                <a:gd name="connsiteY5" fmla="*/ 14527 h 103082"/>
                <a:gd name="connsiteX6" fmla="*/ 14387 w 103082"/>
                <a:gd name="connsiteY6" fmla="*/ 51681 h 103082"/>
                <a:gd name="connsiteX7" fmla="*/ 51541 w 103082"/>
                <a:gd name="connsiteY7" fmla="*/ 88835 h 103082"/>
                <a:gd name="connsiteX8" fmla="*/ 88695 w 103082"/>
                <a:gd name="connsiteY8" fmla="*/ 51681 h 103082"/>
                <a:gd name="connsiteX9" fmla="*/ 51541 w 103082"/>
                <a:gd name="connsiteY9" fmla="*/ 14527 h 10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082" h="103082">
                  <a:moveTo>
                    <a:pt x="51541" y="103082"/>
                  </a:moveTo>
                  <a:cubicBezTo>
                    <a:pt x="23186" y="103082"/>
                    <a:pt x="0" y="80036"/>
                    <a:pt x="0" y="51541"/>
                  </a:cubicBezTo>
                  <a:cubicBezTo>
                    <a:pt x="0" y="23047"/>
                    <a:pt x="23047" y="0"/>
                    <a:pt x="51541" y="0"/>
                  </a:cubicBezTo>
                  <a:cubicBezTo>
                    <a:pt x="79896" y="0"/>
                    <a:pt x="103082" y="23047"/>
                    <a:pt x="103082" y="51541"/>
                  </a:cubicBezTo>
                  <a:cubicBezTo>
                    <a:pt x="103082" y="80036"/>
                    <a:pt x="79896" y="103082"/>
                    <a:pt x="51541" y="103082"/>
                  </a:cubicBezTo>
                  <a:close/>
                  <a:moveTo>
                    <a:pt x="51541" y="14527"/>
                  </a:moveTo>
                  <a:cubicBezTo>
                    <a:pt x="31009" y="14527"/>
                    <a:pt x="14387" y="31148"/>
                    <a:pt x="14387" y="51681"/>
                  </a:cubicBezTo>
                  <a:cubicBezTo>
                    <a:pt x="14387" y="72214"/>
                    <a:pt x="31009" y="88835"/>
                    <a:pt x="51541" y="88835"/>
                  </a:cubicBezTo>
                  <a:cubicBezTo>
                    <a:pt x="72074" y="88835"/>
                    <a:pt x="88695" y="72214"/>
                    <a:pt x="88695" y="51681"/>
                  </a:cubicBezTo>
                  <a:cubicBezTo>
                    <a:pt x="88695" y="31148"/>
                    <a:pt x="72074" y="14527"/>
                    <a:pt x="51541" y="14527"/>
                  </a:cubicBezTo>
                  <a:close/>
                </a:path>
              </a:pathLst>
            </a:custGeom>
            <a:grpFill/>
            <a:ln w="13961" cap="flat">
              <a:noFill/>
              <a:prstDash val="solid"/>
              <a:miter/>
            </a:ln>
          </p:spPr>
          <p:txBody>
            <a:bodyPr rtlCol="0" anchor="ctr"/>
            <a:lstStyle/>
            <a:p>
              <a:endParaRPr lang="ru-RU"/>
            </a:p>
          </p:txBody>
        </p:sp>
        <p:sp>
          <p:nvSpPr>
            <p:cNvPr id="64" name="Полилиния: фигура 63">
              <a:extLst>
                <a:ext uri="{FF2B5EF4-FFF2-40B4-BE49-F238E27FC236}">
                  <a16:creationId xmlns:a16="http://schemas.microsoft.com/office/drawing/2014/main" id="{0A9FDEFE-FBF7-464A-A3F6-4BAEBA75A96C}"/>
                </a:ext>
              </a:extLst>
            </p:cNvPr>
            <p:cNvSpPr/>
            <p:nvPr/>
          </p:nvSpPr>
          <p:spPr>
            <a:xfrm>
              <a:off x="7454911" y="2119372"/>
              <a:ext cx="402333" cy="247090"/>
            </a:xfrm>
            <a:custGeom>
              <a:avLst/>
              <a:gdLst>
                <a:gd name="connsiteX0" fmla="*/ 222804 w 402333"/>
                <a:gd name="connsiteY0" fmla="*/ 247091 h 247090"/>
                <a:gd name="connsiteX1" fmla="*/ 215820 w 402333"/>
                <a:gd name="connsiteY1" fmla="*/ 241643 h 247090"/>
                <a:gd name="connsiteX2" fmla="*/ 216659 w 402333"/>
                <a:gd name="connsiteY2" fmla="*/ 236196 h 247090"/>
                <a:gd name="connsiteX3" fmla="*/ 221128 w 402333"/>
                <a:gd name="connsiteY3" fmla="*/ 232843 h 247090"/>
                <a:gd name="connsiteX4" fmla="*/ 328122 w 402333"/>
                <a:gd name="connsiteY4" fmla="*/ 138700 h 247090"/>
                <a:gd name="connsiteX5" fmla="*/ 332870 w 402333"/>
                <a:gd name="connsiteY5" fmla="*/ 135208 h 247090"/>
                <a:gd name="connsiteX6" fmla="*/ 334407 w 402333"/>
                <a:gd name="connsiteY6" fmla="*/ 135069 h 247090"/>
                <a:gd name="connsiteX7" fmla="*/ 338598 w 402333"/>
                <a:gd name="connsiteY7" fmla="*/ 136466 h 247090"/>
                <a:gd name="connsiteX8" fmla="*/ 371422 w 402333"/>
                <a:gd name="connsiteY8" fmla="*/ 160350 h 247090"/>
                <a:gd name="connsiteX9" fmla="*/ 386786 w 402333"/>
                <a:gd name="connsiteY9" fmla="*/ 18298 h 247090"/>
                <a:gd name="connsiteX10" fmla="*/ 258841 w 402333"/>
                <a:gd name="connsiteY10" fmla="*/ 68442 h 247090"/>
                <a:gd name="connsiteX11" fmla="*/ 285659 w 402333"/>
                <a:gd name="connsiteY11" fmla="*/ 91070 h 247090"/>
                <a:gd name="connsiteX12" fmla="*/ 286917 w 402333"/>
                <a:gd name="connsiteY12" fmla="*/ 92607 h 247090"/>
                <a:gd name="connsiteX13" fmla="*/ 287615 w 402333"/>
                <a:gd name="connsiteY13" fmla="*/ 93724 h 247090"/>
                <a:gd name="connsiteX14" fmla="*/ 288034 w 402333"/>
                <a:gd name="connsiteY14" fmla="*/ 94981 h 247090"/>
                <a:gd name="connsiteX15" fmla="*/ 288174 w 402333"/>
                <a:gd name="connsiteY15" fmla="*/ 96378 h 247090"/>
                <a:gd name="connsiteX16" fmla="*/ 288034 w 402333"/>
                <a:gd name="connsiteY16" fmla="*/ 97635 h 247090"/>
                <a:gd name="connsiteX17" fmla="*/ 287615 w 402333"/>
                <a:gd name="connsiteY17" fmla="*/ 99032 h 247090"/>
                <a:gd name="connsiteX18" fmla="*/ 7560 w 402333"/>
                <a:gd name="connsiteY18" fmla="*/ 246811 h 247090"/>
                <a:gd name="connsiteX19" fmla="*/ 7560 w 402333"/>
                <a:gd name="connsiteY19" fmla="*/ 246811 h 247090"/>
                <a:gd name="connsiteX20" fmla="*/ 18 w 402333"/>
                <a:gd name="connsiteY20" fmla="*/ 240107 h 247090"/>
                <a:gd name="connsiteX21" fmla="*/ 6722 w 402333"/>
                <a:gd name="connsiteY21" fmla="*/ 232564 h 247090"/>
                <a:gd name="connsiteX22" fmla="*/ 271831 w 402333"/>
                <a:gd name="connsiteY22" fmla="*/ 98194 h 247090"/>
                <a:gd name="connsiteX23" fmla="*/ 240264 w 402333"/>
                <a:gd name="connsiteY23" fmla="*/ 71515 h 247090"/>
                <a:gd name="connsiteX24" fmla="*/ 237889 w 402333"/>
                <a:gd name="connsiteY24" fmla="*/ 64811 h 247090"/>
                <a:gd name="connsiteX25" fmla="*/ 242359 w 402333"/>
                <a:gd name="connsiteY25" fmla="*/ 59363 h 247090"/>
                <a:gd name="connsiteX26" fmla="*/ 392513 w 402333"/>
                <a:gd name="connsiteY26" fmla="*/ 559 h 247090"/>
                <a:gd name="connsiteX27" fmla="*/ 395167 w 402333"/>
                <a:gd name="connsiteY27" fmla="*/ 0 h 247090"/>
                <a:gd name="connsiteX28" fmla="*/ 399497 w 402333"/>
                <a:gd name="connsiteY28" fmla="*/ 1536 h 247090"/>
                <a:gd name="connsiteX29" fmla="*/ 402291 w 402333"/>
                <a:gd name="connsiteY29" fmla="*/ 7962 h 247090"/>
                <a:gd name="connsiteX30" fmla="*/ 384272 w 402333"/>
                <a:gd name="connsiteY30" fmla="*/ 174039 h 247090"/>
                <a:gd name="connsiteX31" fmla="*/ 380082 w 402333"/>
                <a:gd name="connsiteY31" fmla="*/ 179766 h 247090"/>
                <a:gd name="connsiteX32" fmla="*/ 377148 w 402333"/>
                <a:gd name="connsiteY32" fmla="*/ 180324 h 247090"/>
                <a:gd name="connsiteX33" fmla="*/ 372958 w 402333"/>
                <a:gd name="connsiteY33" fmla="*/ 178928 h 247090"/>
                <a:gd name="connsiteX34" fmla="*/ 336362 w 402333"/>
                <a:gd name="connsiteY34" fmla="*/ 152389 h 247090"/>
                <a:gd name="connsiteX35" fmla="*/ 224620 w 402333"/>
                <a:gd name="connsiteY35" fmla="*/ 246532 h 247090"/>
                <a:gd name="connsiteX36" fmla="*/ 222804 w 402333"/>
                <a:gd name="connsiteY36" fmla="*/ 247091 h 247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02333" h="247090">
                  <a:moveTo>
                    <a:pt x="222804" y="247091"/>
                  </a:moveTo>
                  <a:cubicBezTo>
                    <a:pt x="219452" y="247091"/>
                    <a:pt x="216659" y="244856"/>
                    <a:pt x="215820" y="241643"/>
                  </a:cubicBezTo>
                  <a:cubicBezTo>
                    <a:pt x="215401" y="239827"/>
                    <a:pt x="215681" y="237872"/>
                    <a:pt x="216659" y="236196"/>
                  </a:cubicBezTo>
                  <a:cubicBezTo>
                    <a:pt x="217636" y="234520"/>
                    <a:pt x="219173" y="233402"/>
                    <a:pt x="221128" y="232843"/>
                  </a:cubicBezTo>
                  <a:cubicBezTo>
                    <a:pt x="282587" y="217339"/>
                    <a:pt x="327563" y="139538"/>
                    <a:pt x="328122" y="138700"/>
                  </a:cubicBezTo>
                  <a:cubicBezTo>
                    <a:pt x="329099" y="136885"/>
                    <a:pt x="330915" y="135627"/>
                    <a:pt x="332870" y="135208"/>
                  </a:cubicBezTo>
                  <a:cubicBezTo>
                    <a:pt x="333430" y="135069"/>
                    <a:pt x="333848" y="135069"/>
                    <a:pt x="334407" y="135069"/>
                  </a:cubicBezTo>
                  <a:cubicBezTo>
                    <a:pt x="335944" y="135069"/>
                    <a:pt x="337480" y="135488"/>
                    <a:pt x="338598" y="136466"/>
                  </a:cubicBezTo>
                  <a:lnTo>
                    <a:pt x="371422" y="160350"/>
                  </a:lnTo>
                  <a:lnTo>
                    <a:pt x="386786" y="18298"/>
                  </a:lnTo>
                  <a:lnTo>
                    <a:pt x="258841" y="68442"/>
                  </a:lnTo>
                  <a:lnTo>
                    <a:pt x="285659" y="91070"/>
                  </a:lnTo>
                  <a:cubicBezTo>
                    <a:pt x="286358" y="91769"/>
                    <a:pt x="286637" y="92188"/>
                    <a:pt x="286917" y="92607"/>
                  </a:cubicBezTo>
                  <a:cubicBezTo>
                    <a:pt x="287196" y="93026"/>
                    <a:pt x="287475" y="93305"/>
                    <a:pt x="287615" y="93724"/>
                  </a:cubicBezTo>
                  <a:cubicBezTo>
                    <a:pt x="287755" y="94143"/>
                    <a:pt x="287894" y="94562"/>
                    <a:pt x="288034" y="94981"/>
                  </a:cubicBezTo>
                  <a:cubicBezTo>
                    <a:pt x="288174" y="95400"/>
                    <a:pt x="288174" y="95819"/>
                    <a:pt x="288174" y="96378"/>
                  </a:cubicBezTo>
                  <a:cubicBezTo>
                    <a:pt x="288174" y="96797"/>
                    <a:pt x="288174" y="97216"/>
                    <a:pt x="288034" y="97635"/>
                  </a:cubicBezTo>
                  <a:cubicBezTo>
                    <a:pt x="287894" y="98054"/>
                    <a:pt x="287894" y="98613"/>
                    <a:pt x="287615" y="99032"/>
                  </a:cubicBezTo>
                  <a:cubicBezTo>
                    <a:pt x="222944" y="232983"/>
                    <a:pt x="16360" y="246392"/>
                    <a:pt x="7560" y="246811"/>
                  </a:cubicBezTo>
                  <a:cubicBezTo>
                    <a:pt x="7560" y="246811"/>
                    <a:pt x="7560" y="246811"/>
                    <a:pt x="7560" y="246811"/>
                  </a:cubicBezTo>
                  <a:cubicBezTo>
                    <a:pt x="3370" y="246811"/>
                    <a:pt x="157" y="243878"/>
                    <a:pt x="18" y="240107"/>
                  </a:cubicBezTo>
                  <a:cubicBezTo>
                    <a:pt x="-262" y="236196"/>
                    <a:pt x="2811" y="232704"/>
                    <a:pt x="6722" y="232564"/>
                  </a:cubicBezTo>
                  <a:cubicBezTo>
                    <a:pt x="8678" y="232424"/>
                    <a:pt x="207719" y="220272"/>
                    <a:pt x="271831" y="98194"/>
                  </a:cubicBezTo>
                  <a:lnTo>
                    <a:pt x="240264" y="71515"/>
                  </a:lnTo>
                  <a:cubicBezTo>
                    <a:pt x="238308" y="69839"/>
                    <a:pt x="237470" y="67325"/>
                    <a:pt x="237889" y="64811"/>
                  </a:cubicBezTo>
                  <a:cubicBezTo>
                    <a:pt x="238308" y="62296"/>
                    <a:pt x="239985" y="60201"/>
                    <a:pt x="242359" y="59363"/>
                  </a:cubicBezTo>
                  <a:lnTo>
                    <a:pt x="392513" y="559"/>
                  </a:lnTo>
                  <a:cubicBezTo>
                    <a:pt x="393351" y="279"/>
                    <a:pt x="394189" y="0"/>
                    <a:pt x="395167" y="0"/>
                  </a:cubicBezTo>
                  <a:cubicBezTo>
                    <a:pt x="396703" y="0"/>
                    <a:pt x="398240" y="559"/>
                    <a:pt x="399497" y="1536"/>
                  </a:cubicBezTo>
                  <a:cubicBezTo>
                    <a:pt x="401453" y="3073"/>
                    <a:pt x="402570" y="5587"/>
                    <a:pt x="402291" y="7962"/>
                  </a:cubicBezTo>
                  <a:lnTo>
                    <a:pt x="384272" y="174039"/>
                  </a:lnTo>
                  <a:cubicBezTo>
                    <a:pt x="383993" y="176553"/>
                    <a:pt x="382317" y="178788"/>
                    <a:pt x="380082" y="179766"/>
                  </a:cubicBezTo>
                  <a:cubicBezTo>
                    <a:pt x="379104" y="180185"/>
                    <a:pt x="378126" y="180324"/>
                    <a:pt x="377148" y="180324"/>
                  </a:cubicBezTo>
                  <a:cubicBezTo>
                    <a:pt x="375612" y="180324"/>
                    <a:pt x="374215" y="179905"/>
                    <a:pt x="372958" y="178928"/>
                  </a:cubicBezTo>
                  <a:lnTo>
                    <a:pt x="336362" y="152389"/>
                  </a:lnTo>
                  <a:cubicBezTo>
                    <a:pt x="324769" y="170826"/>
                    <a:pt x="282307" y="232005"/>
                    <a:pt x="224620" y="246532"/>
                  </a:cubicBezTo>
                  <a:cubicBezTo>
                    <a:pt x="224061" y="247091"/>
                    <a:pt x="223363" y="247091"/>
                    <a:pt x="222804" y="247091"/>
                  </a:cubicBezTo>
                  <a:close/>
                </a:path>
              </a:pathLst>
            </a:custGeom>
            <a:grpFill/>
            <a:ln w="13961" cap="flat">
              <a:noFill/>
              <a:prstDash val="solid"/>
              <a:miter/>
            </a:ln>
          </p:spPr>
          <p:txBody>
            <a:bodyPr rtlCol="0" anchor="ctr"/>
            <a:lstStyle/>
            <a:p>
              <a:endParaRPr lang="ru-RU"/>
            </a:p>
          </p:txBody>
        </p:sp>
      </p:grpSp>
      <p:grpSp>
        <p:nvGrpSpPr>
          <p:cNvPr id="65" name="Группа 64">
            <a:extLst>
              <a:ext uri="{FF2B5EF4-FFF2-40B4-BE49-F238E27FC236}">
                <a16:creationId xmlns:a16="http://schemas.microsoft.com/office/drawing/2014/main" id="{23284C66-2EF3-4A8F-AACE-8CFBD9CD1AFE}"/>
              </a:ext>
            </a:extLst>
          </p:cNvPr>
          <p:cNvGrpSpPr/>
          <p:nvPr/>
        </p:nvGrpSpPr>
        <p:grpSpPr>
          <a:xfrm>
            <a:off x="2536151" y="3329723"/>
            <a:ext cx="505872" cy="519953"/>
            <a:chOff x="606135" y="2861582"/>
            <a:chExt cx="505872" cy="519953"/>
          </a:xfrm>
          <a:solidFill>
            <a:schemeClr val="bg1"/>
          </a:solidFill>
          <a:effectLst>
            <a:outerShdw blurRad="63500" dist="12700" algn="ctr" rotWithShape="0">
              <a:prstClr val="black">
                <a:alpha val="40000"/>
              </a:prstClr>
            </a:outerShdw>
          </a:effectLst>
        </p:grpSpPr>
        <p:sp>
          <p:nvSpPr>
            <p:cNvPr id="66" name="Полилиния: фигура 65">
              <a:extLst>
                <a:ext uri="{FF2B5EF4-FFF2-40B4-BE49-F238E27FC236}">
                  <a16:creationId xmlns:a16="http://schemas.microsoft.com/office/drawing/2014/main" id="{63258BC7-CAF3-46AE-99CD-7CDB079FE21F}"/>
                </a:ext>
              </a:extLst>
            </p:cNvPr>
            <p:cNvSpPr/>
            <p:nvPr/>
          </p:nvSpPr>
          <p:spPr>
            <a:xfrm>
              <a:off x="757250" y="2861582"/>
              <a:ext cx="354757" cy="519952"/>
            </a:xfrm>
            <a:custGeom>
              <a:avLst/>
              <a:gdLst>
                <a:gd name="connsiteX0" fmla="*/ 225361 w 354757"/>
                <a:gd name="connsiteY0" fmla="*/ 519953 h 519952"/>
                <a:gd name="connsiteX1" fmla="*/ 223565 w 354757"/>
                <a:gd name="connsiteY1" fmla="*/ 519677 h 519952"/>
                <a:gd name="connsiteX2" fmla="*/ 219145 w 354757"/>
                <a:gd name="connsiteY2" fmla="*/ 516361 h 519952"/>
                <a:gd name="connsiteX3" fmla="*/ 218316 w 354757"/>
                <a:gd name="connsiteY3" fmla="*/ 510974 h 519952"/>
                <a:gd name="connsiteX4" fmla="*/ 238898 w 354757"/>
                <a:gd name="connsiteY4" fmla="*/ 429610 h 519952"/>
                <a:gd name="connsiteX5" fmla="*/ 205469 w 354757"/>
                <a:gd name="connsiteY5" fmla="*/ 439833 h 519952"/>
                <a:gd name="connsiteX6" fmla="*/ 203397 w 354757"/>
                <a:gd name="connsiteY6" fmla="*/ 440109 h 519952"/>
                <a:gd name="connsiteX7" fmla="*/ 196628 w 354757"/>
                <a:gd name="connsiteY7" fmla="*/ 435136 h 519952"/>
                <a:gd name="connsiteX8" fmla="*/ 197181 w 354757"/>
                <a:gd name="connsiteY8" fmla="*/ 429749 h 519952"/>
                <a:gd name="connsiteX9" fmla="*/ 201325 w 354757"/>
                <a:gd name="connsiteY9" fmla="*/ 426295 h 519952"/>
                <a:gd name="connsiteX10" fmla="*/ 272052 w 354757"/>
                <a:gd name="connsiteY10" fmla="*/ 404607 h 519952"/>
                <a:gd name="connsiteX11" fmla="*/ 317913 w 354757"/>
                <a:gd name="connsiteY11" fmla="*/ 353496 h 519952"/>
                <a:gd name="connsiteX12" fmla="*/ 322886 w 354757"/>
                <a:gd name="connsiteY12" fmla="*/ 299208 h 519952"/>
                <a:gd name="connsiteX13" fmla="*/ 264868 w 354757"/>
                <a:gd name="connsiteY13" fmla="*/ 351562 h 519952"/>
                <a:gd name="connsiteX14" fmla="*/ 261415 w 354757"/>
                <a:gd name="connsiteY14" fmla="*/ 353220 h 519952"/>
                <a:gd name="connsiteX15" fmla="*/ 172730 w 354757"/>
                <a:gd name="connsiteY15" fmla="*/ 369796 h 519952"/>
                <a:gd name="connsiteX16" fmla="*/ 137781 w 354757"/>
                <a:gd name="connsiteY16" fmla="*/ 398667 h 519952"/>
                <a:gd name="connsiteX17" fmla="*/ 110153 w 354757"/>
                <a:gd name="connsiteY17" fmla="*/ 514151 h 519952"/>
                <a:gd name="connsiteX18" fmla="*/ 103246 w 354757"/>
                <a:gd name="connsiteY18" fmla="*/ 519538 h 519952"/>
                <a:gd name="connsiteX19" fmla="*/ 101589 w 354757"/>
                <a:gd name="connsiteY19" fmla="*/ 519400 h 519952"/>
                <a:gd name="connsiteX20" fmla="*/ 97168 w 354757"/>
                <a:gd name="connsiteY20" fmla="*/ 516223 h 519952"/>
                <a:gd name="connsiteX21" fmla="*/ 96340 w 354757"/>
                <a:gd name="connsiteY21" fmla="*/ 510836 h 519952"/>
                <a:gd name="connsiteX22" fmla="*/ 123967 w 354757"/>
                <a:gd name="connsiteY22" fmla="*/ 395490 h 519952"/>
                <a:gd name="connsiteX23" fmla="*/ 170105 w 354757"/>
                <a:gd name="connsiteY23" fmla="*/ 355844 h 519952"/>
                <a:gd name="connsiteX24" fmla="*/ 256856 w 354757"/>
                <a:gd name="connsiteY24" fmla="*/ 339544 h 519952"/>
                <a:gd name="connsiteX25" fmla="*/ 306172 w 354757"/>
                <a:gd name="connsiteY25" fmla="*/ 295064 h 519952"/>
                <a:gd name="connsiteX26" fmla="*/ 249121 w 354757"/>
                <a:gd name="connsiteY26" fmla="*/ 132060 h 519952"/>
                <a:gd name="connsiteX27" fmla="*/ 151180 w 354757"/>
                <a:gd name="connsiteY27" fmla="*/ 132060 h 519952"/>
                <a:gd name="connsiteX28" fmla="*/ 155463 w 354757"/>
                <a:gd name="connsiteY28" fmla="*/ 144769 h 519952"/>
                <a:gd name="connsiteX29" fmla="*/ 154496 w 354757"/>
                <a:gd name="connsiteY29" fmla="*/ 151261 h 519952"/>
                <a:gd name="connsiteX30" fmla="*/ 148694 w 354757"/>
                <a:gd name="connsiteY30" fmla="*/ 154301 h 519952"/>
                <a:gd name="connsiteX31" fmla="*/ 38045 w 354757"/>
                <a:gd name="connsiteY31" fmla="*/ 154301 h 519952"/>
                <a:gd name="connsiteX32" fmla="*/ 32658 w 354757"/>
                <a:gd name="connsiteY32" fmla="*/ 151814 h 519952"/>
                <a:gd name="connsiteX33" fmla="*/ 31138 w 354757"/>
                <a:gd name="connsiteY33" fmla="*/ 146012 h 519952"/>
                <a:gd name="connsiteX34" fmla="*/ 38321 w 354757"/>
                <a:gd name="connsiteY34" fmla="*/ 104985 h 519952"/>
                <a:gd name="connsiteX35" fmla="*/ 1715 w 354757"/>
                <a:gd name="connsiteY35" fmla="*/ 63267 h 519952"/>
                <a:gd name="connsiteX36" fmla="*/ 610 w 354757"/>
                <a:gd name="connsiteY36" fmla="*/ 55670 h 519952"/>
                <a:gd name="connsiteX37" fmla="*/ 7102 w 354757"/>
                <a:gd name="connsiteY37" fmla="*/ 51526 h 519952"/>
                <a:gd name="connsiteX38" fmla="*/ 81282 w 354757"/>
                <a:gd name="connsiteY38" fmla="*/ 51526 h 519952"/>
                <a:gd name="connsiteX39" fmla="*/ 88327 w 354757"/>
                <a:gd name="connsiteY39" fmla="*/ 58571 h 519952"/>
                <a:gd name="connsiteX40" fmla="*/ 81282 w 354757"/>
                <a:gd name="connsiteY40" fmla="*/ 65616 h 519952"/>
                <a:gd name="connsiteX41" fmla="*/ 22712 w 354757"/>
                <a:gd name="connsiteY41" fmla="*/ 65616 h 519952"/>
                <a:gd name="connsiteX42" fmla="*/ 51168 w 354757"/>
                <a:gd name="connsiteY42" fmla="*/ 98216 h 519952"/>
                <a:gd name="connsiteX43" fmla="*/ 52826 w 354757"/>
                <a:gd name="connsiteY43" fmla="*/ 104156 h 519952"/>
                <a:gd name="connsiteX44" fmla="*/ 46610 w 354757"/>
                <a:gd name="connsiteY44" fmla="*/ 140210 h 519952"/>
                <a:gd name="connsiteX45" fmla="*/ 138886 w 354757"/>
                <a:gd name="connsiteY45" fmla="*/ 140210 h 519952"/>
                <a:gd name="connsiteX46" fmla="*/ 103385 w 354757"/>
                <a:gd name="connsiteY46" fmla="*/ 38817 h 519952"/>
                <a:gd name="connsiteX47" fmla="*/ 104352 w 354757"/>
                <a:gd name="connsiteY47" fmla="*/ 32324 h 519952"/>
                <a:gd name="connsiteX48" fmla="*/ 110153 w 354757"/>
                <a:gd name="connsiteY48" fmla="*/ 29285 h 519952"/>
                <a:gd name="connsiteX49" fmla="*/ 213205 w 354757"/>
                <a:gd name="connsiteY49" fmla="*/ 29285 h 519952"/>
                <a:gd name="connsiteX50" fmla="*/ 206298 w 354757"/>
                <a:gd name="connsiteY50" fmla="*/ 9393 h 519952"/>
                <a:gd name="connsiteX51" fmla="*/ 210718 w 354757"/>
                <a:gd name="connsiteY51" fmla="*/ 414 h 519952"/>
                <a:gd name="connsiteX52" fmla="*/ 213066 w 354757"/>
                <a:gd name="connsiteY52" fmla="*/ 0 h 519952"/>
                <a:gd name="connsiteX53" fmla="*/ 219835 w 354757"/>
                <a:gd name="connsiteY53" fmla="*/ 4697 h 519952"/>
                <a:gd name="connsiteX54" fmla="*/ 318052 w 354757"/>
                <a:gd name="connsiteY54" fmla="*/ 285256 h 519952"/>
                <a:gd name="connsiteX55" fmla="*/ 321781 w 354757"/>
                <a:gd name="connsiteY55" fmla="*/ 281940 h 519952"/>
                <a:gd name="connsiteX56" fmla="*/ 326616 w 354757"/>
                <a:gd name="connsiteY56" fmla="*/ 280145 h 519952"/>
                <a:gd name="connsiteX57" fmla="*/ 328136 w 354757"/>
                <a:gd name="connsiteY57" fmla="*/ 280283 h 519952"/>
                <a:gd name="connsiteX58" fmla="*/ 333109 w 354757"/>
                <a:gd name="connsiteY58" fmla="*/ 284289 h 519952"/>
                <a:gd name="connsiteX59" fmla="*/ 339601 w 354757"/>
                <a:gd name="connsiteY59" fmla="*/ 346313 h 519952"/>
                <a:gd name="connsiteX60" fmla="*/ 354382 w 354757"/>
                <a:gd name="connsiteY60" fmla="*/ 388583 h 519952"/>
                <a:gd name="connsiteX61" fmla="*/ 349962 w 354757"/>
                <a:gd name="connsiteY61" fmla="*/ 397562 h 519952"/>
                <a:gd name="connsiteX62" fmla="*/ 347613 w 354757"/>
                <a:gd name="connsiteY62" fmla="*/ 397977 h 519952"/>
                <a:gd name="connsiteX63" fmla="*/ 340844 w 354757"/>
                <a:gd name="connsiteY63" fmla="*/ 393280 h 519952"/>
                <a:gd name="connsiteX64" fmla="*/ 329932 w 354757"/>
                <a:gd name="connsiteY64" fmla="*/ 362061 h 519952"/>
                <a:gd name="connsiteX65" fmla="*/ 281859 w 354757"/>
                <a:gd name="connsiteY65" fmla="*/ 415658 h 519952"/>
                <a:gd name="connsiteX66" fmla="*/ 278682 w 354757"/>
                <a:gd name="connsiteY66" fmla="*/ 417730 h 519952"/>
                <a:gd name="connsiteX67" fmla="*/ 255337 w 354757"/>
                <a:gd name="connsiteY67" fmla="*/ 424914 h 519952"/>
                <a:gd name="connsiteX68" fmla="*/ 232544 w 354757"/>
                <a:gd name="connsiteY68" fmla="*/ 514565 h 519952"/>
                <a:gd name="connsiteX69" fmla="*/ 225361 w 354757"/>
                <a:gd name="connsiteY69" fmla="*/ 519953 h 519952"/>
                <a:gd name="connsiteX70" fmla="*/ 146069 w 354757"/>
                <a:gd name="connsiteY70" fmla="*/ 117832 h 519952"/>
                <a:gd name="connsiteX71" fmla="*/ 244009 w 354757"/>
                <a:gd name="connsiteY71" fmla="*/ 117832 h 519952"/>
                <a:gd name="connsiteX72" fmla="*/ 217901 w 354757"/>
                <a:gd name="connsiteY72" fmla="*/ 43375 h 519952"/>
                <a:gd name="connsiteX73" fmla="*/ 119961 w 354757"/>
                <a:gd name="connsiteY73" fmla="*/ 43375 h 519952"/>
                <a:gd name="connsiteX74" fmla="*/ 146069 w 354757"/>
                <a:gd name="connsiteY74" fmla="*/ 117832 h 51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54757" h="519952">
                  <a:moveTo>
                    <a:pt x="225361" y="519953"/>
                  </a:moveTo>
                  <a:cubicBezTo>
                    <a:pt x="224808" y="519953"/>
                    <a:pt x="224118" y="519815"/>
                    <a:pt x="223565" y="519677"/>
                  </a:cubicBezTo>
                  <a:cubicBezTo>
                    <a:pt x="221769" y="519262"/>
                    <a:pt x="220112" y="518019"/>
                    <a:pt x="219145" y="516361"/>
                  </a:cubicBezTo>
                  <a:cubicBezTo>
                    <a:pt x="218178" y="514704"/>
                    <a:pt x="217901" y="512770"/>
                    <a:pt x="218316" y="510974"/>
                  </a:cubicBezTo>
                  <a:lnTo>
                    <a:pt x="238898" y="429610"/>
                  </a:lnTo>
                  <a:lnTo>
                    <a:pt x="205469" y="439833"/>
                  </a:lnTo>
                  <a:cubicBezTo>
                    <a:pt x="204778" y="440109"/>
                    <a:pt x="204087" y="440109"/>
                    <a:pt x="203397" y="440109"/>
                  </a:cubicBezTo>
                  <a:cubicBezTo>
                    <a:pt x="200358" y="440109"/>
                    <a:pt x="197595" y="438037"/>
                    <a:pt x="196628" y="435136"/>
                  </a:cubicBezTo>
                  <a:cubicBezTo>
                    <a:pt x="196075" y="433340"/>
                    <a:pt x="196214" y="431406"/>
                    <a:pt x="197181" y="429749"/>
                  </a:cubicBezTo>
                  <a:cubicBezTo>
                    <a:pt x="198009" y="428091"/>
                    <a:pt x="199529" y="426848"/>
                    <a:pt x="201325" y="426295"/>
                  </a:cubicBezTo>
                  <a:lnTo>
                    <a:pt x="272052" y="404607"/>
                  </a:lnTo>
                  <a:lnTo>
                    <a:pt x="317913" y="353496"/>
                  </a:lnTo>
                  <a:cubicBezTo>
                    <a:pt x="332556" y="339682"/>
                    <a:pt x="327307" y="313574"/>
                    <a:pt x="322886" y="299208"/>
                  </a:cubicBezTo>
                  <a:lnTo>
                    <a:pt x="264868" y="351562"/>
                  </a:lnTo>
                  <a:cubicBezTo>
                    <a:pt x="263901" y="352391"/>
                    <a:pt x="262658" y="353082"/>
                    <a:pt x="261415" y="353220"/>
                  </a:cubicBezTo>
                  <a:lnTo>
                    <a:pt x="172730" y="369796"/>
                  </a:lnTo>
                  <a:cubicBezTo>
                    <a:pt x="152009" y="373664"/>
                    <a:pt x="141234" y="382505"/>
                    <a:pt x="137781" y="398667"/>
                  </a:cubicBezTo>
                  <a:lnTo>
                    <a:pt x="110153" y="514151"/>
                  </a:lnTo>
                  <a:cubicBezTo>
                    <a:pt x="109325" y="517328"/>
                    <a:pt x="106562" y="519538"/>
                    <a:pt x="103246" y="519538"/>
                  </a:cubicBezTo>
                  <a:cubicBezTo>
                    <a:pt x="102694" y="519538"/>
                    <a:pt x="102141" y="519400"/>
                    <a:pt x="101589" y="519400"/>
                  </a:cubicBezTo>
                  <a:cubicBezTo>
                    <a:pt x="99793" y="518986"/>
                    <a:pt x="98135" y="517881"/>
                    <a:pt x="97168" y="516223"/>
                  </a:cubicBezTo>
                  <a:cubicBezTo>
                    <a:pt x="96201" y="514565"/>
                    <a:pt x="95925" y="512632"/>
                    <a:pt x="96340" y="510836"/>
                  </a:cubicBezTo>
                  <a:lnTo>
                    <a:pt x="123967" y="395490"/>
                  </a:lnTo>
                  <a:cubicBezTo>
                    <a:pt x="128664" y="373802"/>
                    <a:pt x="143721" y="360817"/>
                    <a:pt x="170105" y="355844"/>
                  </a:cubicBezTo>
                  <a:lnTo>
                    <a:pt x="256856" y="339544"/>
                  </a:lnTo>
                  <a:lnTo>
                    <a:pt x="306172" y="295064"/>
                  </a:lnTo>
                  <a:lnTo>
                    <a:pt x="249121" y="132060"/>
                  </a:lnTo>
                  <a:lnTo>
                    <a:pt x="151180" y="132060"/>
                  </a:lnTo>
                  <a:lnTo>
                    <a:pt x="155463" y="144769"/>
                  </a:lnTo>
                  <a:cubicBezTo>
                    <a:pt x="156292" y="146979"/>
                    <a:pt x="155877" y="149328"/>
                    <a:pt x="154496" y="151261"/>
                  </a:cubicBezTo>
                  <a:cubicBezTo>
                    <a:pt x="153114" y="153195"/>
                    <a:pt x="151042" y="154301"/>
                    <a:pt x="148694" y="154301"/>
                  </a:cubicBezTo>
                  <a:lnTo>
                    <a:pt x="38045" y="154301"/>
                  </a:lnTo>
                  <a:cubicBezTo>
                    <a:pt x="35973" y="154301"/>
                    <a:pt x="33901" y="153334"/>
                    <a:pt x="32658" y="151814"/>
                  </a:cubicBezTo>
                  <a:cubicBezTo>
                    <a:pt x="31276" y="150156"/>
                    <a:pt x="30724" y="148084"/>
                    <a:pt x="31138" y="146012"/>
                  </a:cubicBezTo>
                  <a:lnTo>
                    <a:pt x="38321" y="104985"/>
                  </a:lnTo>
                  <a:lnTo>
                    <a:pt x="1715" y="63267"/>
                  </a:lnTo>
                  <a:cubicBezTo>
                    <a:pt x="-81" y="61195"/>
                    <a:pt x="-496" y="58156"/>
                    <a:pt x="610" y="55670"/>
                  </a:cubicBezTo>
                  <a:cubicBezTo>
                    <a:pt x="1715" y="53183"/>
                    <a:pt x="4339" y="51526"/>
                    <a:pt x="7102" y="51526"/>
                  </a:cubicBezTo>
                  <a:lnTo>
                    <a:pt x="81282" y="51526"/>
                  </a:lnTo>
                  <a:cubicBezTo>
                    <a:pt x="85150" y="51526"/>
                    <a:pt x="88327" y="54703"/>
                    <a:pt x="88327" y="58571"/>
                  </a:cubicBezTo>
                  <a:cubicBezTo>
                    <a:pt x="88327" y="62439"/>
                    <a:pt x="85150" y="65616"/>
                    <a:pt x="81282" y="65616"/>
                  </a:cubicBezTo>
                  <a:lnTo>
                    <a:pt x="22712" y="65616"/>
                  </a:lnTo>
                  <a:lnTo>
                    <a:pt x="51168" y="98216"/>
                  </a:lnTo>
                  <a:cubicBezTo>
                    <a:pt x="52550" y="99874"/>
                    <a:pt x="53240" y="101946"/>
                    <a:pt x="52826" y="104156"/>
                  </a:cubicBezTo>
                  <a:lnTo>
                    <a:pt x="46610" y="140210"/>
                  </a:lnTo>
                  <a:lnTo>
                    <a:pt x="138886" y="140210"/>
                  </a:lnTo>
                  <a:lnTo>
                    <a:pt x="103385" y="38817"/>
                  </a:lnTo>
                  <a:cubicBezTo>
                    <a:pt x="102694" y="36607"/>
                    <a:pt x="102970" y="34258"/>
                    <a:pt x="104352" y="32324"/>
                  </a:cubicBezTo>
                  <a:cubicBezTo>
                    <a:pt x="105733" y="30390"/>
                    <a:pt x="107805" y="29285"/>
                    <a:pt x="110153" y="29285"/>
                  </a:cubicBezTo>
                  <a:lnTo>
                    <a:pt x="213205" y="29285"/>
                  </a:lnTo>
                  <a:lnTo>
                    <a:pt x="206298" y="9393"/>
                  </a:lnTo>
                  <a:cubicBezTo>
                    <a:pt x="205054" y="5664"/>
                    <a:pt x="206988" y="1658"/>
                    <a:pt x="210718" y="414"/>
                  </a:cubicBezTo>
                  <a:cubicBezTo>
                    <a:pt x="211409" y="138"/>
                    <a:pt x="212238" y="0"/>
                    <a:pt x="213066" y="0"/>
                  </a:cubicBezTo>
                  <a:cubicBezTo>
                    <a:pt x="216105" y="0"/>
                    <a:pt x="218868" y="1934"/>
                    <a:pt x="219835" y="4697"/>
                  </a:cubicBezTo>
                  <a:lnTo>
                    <a:pt x="318052" y="285256"/>
                  </a:lnTo>
                  <a:lnTo>
                    <a:pt x="321781" y="281940"/>
                  </a:lnTo>
                  <a:cubicBezTo>
                    <a:pt x="323025" y="280835"/>
                    <a:pt x="324820" y="280145"/>
                    <a:pt x="326616" y="280145"/>
                  </a:cubicBezTo>
                  <a:cubicBezTo>
                    <a:pt x="327169" y="280145"/>
                    <a:pt x="327583" y="280145"/>
                    <a:pt x="328136" y="280283"/>
                  </a:cubicBezTo>
                  <a:cubicBezTo>
                    <a:pt x="330346" y="280697"/>
                    <a:pt x="332280" y="282217"/>
                    <a:pt x="333109" y="284289"/>
                  </a:cubicBezTo>
                  <a:cubicBezTo>
                    <a:pt x="333799" y="285670"/>
                    <a:pt x="348442" y="319652"/>
                    <a:pt x="339601" y="346313"/>
                  </a:cubicBezTo>
                  <a:lnTo>
                    <a:pt x="354382" y="388583"/>
                  </a:lnTo>
                  <a:cubicBezTo>
                    <a:pt x="355625" y="392313"/>
                    <a:pt x="353691" y="396319"/>
                    <a:pt x="349962" y="397562"/>
                  </a:cubicBezTo>
                  <a:cubicBezTo>
                    <a:pt x="349133" y="397838"/>
                    <a:pt x="348442" y="397977"/>
                    <a:pt x="347613" y="397977"/>
                  </a:cubicBezTo>
                  <a:cubicBezTo>
                    <a:pt x="344574" y="397977"/>
                    <a:pt x="341950" y="396043"/>
                    <a:pt x="340844" y="393280"/>
                  </a:cubicBezTo>
                  <a:lnTo>
                    <a:pt x="329932" y="362061"/>
                  </a:lnTo>
                  <a:cubicBezTo>
                    <a:pt x="329103" y="363028"/>
                    <a:pt x="281859" y="415658"/>
                    <a:pt x="281859" y="415658"/>
                  </a:cubicBezTo>
                  <a:cubicBezTo>
                    <a:pt x="281031" y="416625"/>
                    <a:pt x="279925" y="417316"/>
                    <a:pt x="278682" y="417730"/>
                  </a:cubicBezTo>
                  <a:lnTo>
                    <a:pt x="255337" y="424914"/>
                  </a:lnTo>
                  <a:lnTo>
                    <a:pt x="232544" y="514565"/>
                  </a:lnTo>
                  <a:cubicBezTo>
                    <a:pt x="231439" y="517743"/>
                    <a:pt x="228538" y="519953"/>
                    <a:pt x="225361" y="519953"/>
                  </a:cubicBezTo>
                  <a:close/>
                  <a:moveTo>
                    <a:pt x="146069" y="117832"/>
                  </a:moveTo>
                  <a:lnTo>
                    <a:pt x="244009" y="117832"/>
                  </a:lnTo>
                  <a:lnTo>
                    <a:pt x="217901" y="43375"/>
                  </a:lnTo>
                  <a:lnTo>
                    <a:pt x="119961" y="43375"/>
                  </a:lnTo>
                  <a:lnTo>
                    <a:pt x="146069" y="117832"/>
                  </a:lnTo>
                  <a:close/>
                </a:path>
              </a:pathLst>
            </a:custGeom>
            <a:grpFill/>
            <a:ln w="13803" cap="flat">
              <a:noFill/>
              <a:prstDash val="solid"/>
              <a:miter/>
            </a:ln>
          </p:spPr>
          <p:txBody>
            <a:bodyPr rtlCol="0" anchor="ctr"/>
            <a:lstStyle/>
            <a:p>
              <a:endParaRPr lang="ru-RU"/>
            </a:p>
          </p:txBody>
        </p:sp>
        <p:sp>
          <p:nvSpPr>
            <p:cNvPr id="67" name="Полилиния: фигура 66">
              <a:extLst>
                <a:ext uri="{FF2B5EF4-FFF2-40B4-BE49-F238E27FC236}">
                  <a16:creationId xmlns:a16="http://schemas.microsoft.com/office/drawing/2014/main" id="{C2D16990-E76E-4C68-8352-DD1F41BC675C}"/>
                </a:ext>
              </a:extLst>
            </p:cNvPr>
            <p:cNvSpPr/>
            <p:nvPr/>
          </p:nvSpPr>
          <p:spPr>
            <a:xfrm>
              <a:off x="897932" y="3057048"/>
              <a:ext cx="102774" cy="125015"/>
            </a:xfrm>
            <a:custGeom>
              <a:avLst/>
              <a:gdLst>
                <a:gd name="connsiteX0" fmla="*/ 51387 w 102774"/>
                <a:gd name="connsiteY0" fmla="*/ 125015 h 125015"/>
                <a:gd name="connsiteX1" fmla="*/ 0 w 102774"/>
                <a:gd name="connsiteY1" fmla="*/ 70451 h 125015"/>
                <a:gd name="connsiteX2" fmla="*/ 0 w 102774"/>
                <a:gd name="connsiteY2" fmla="*/ 54565 h 125015"/>
                <a:gd name="connsiteX3" fmla="*/ 51387 w 102774"/>
                <a:gd name="connsiteY3" fmla="*/ 0 h 125015"/>
                <a:gd name="connsiteX4" fmla="*/ 102775 w 102774"/>
                <a:gd name="connsiteY4" fmla="*/ 54565 h 125015"/>
                <a:gd name="connsiteX5" fmla="*/ 102775 w 102774"/>
                <a:gd name="connsiteY5" fmla="*/ 70451 h 125015"/>
                <a:gd name="connsiteX6" fmla="*/ 51387 w 102774"/>
                <a:gd name="connsiteY6" fmla="*/ 125015 h 125015"/>
                <a:gd name="connsiteX7" fmla="*/ 51387 w 102774"/>
                <a:gd name="connsiteY7" fmla="*/ 14090 h 125015"/>
                <a:gd name="connsiteX8" fmla="*/ 14090 w 102774"/>
                <a:gd name="connsiteY8" fmla="*/ 54427 h 125015"/>
                <a:gd name="connsiteX9" fmla="*/ 14090 w 102774"/>
                <a:gd name="connsiteY9" fmla="*/ 70312 h 125015"/>
                <a:gd name="connsiteX10" fmla="*/ 51387 w 102774"/>
                <a:gd name="connsiteY10" fmla="*/ 110649 h 125015"/>
                <a:gd name="connsiteX11" fmla="*/ 88685 w 102774"/>
                <a:gd name="connsiteY11" fmla="*/ 70312 h 125015"/>
                <a:gd name="connsiteX12" fmla="*/ 88685 w 102774"/>
                <a:gd name="connsiteY12" fmla="*/ 54427 h 125015"/>
                <a:gd name="connsiteX13" fmla="*/ 51387 w 102774"/>
                <a:gd name="connsiteY13" fmla="*/ 14090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774" h="125015">
                  <a:moveTo>
                    <a:pt x="51387" y="125015"/>
                  </a:moveTo>
                  <a:cubicBezTo>
                    <a:pt x="22517" y="125015"/>
                    <a:pt x="0" y="100979"/>
                    <a:pt x="0" y="70451"/>
                  </a:cubicBezTo>
                  <a:lnTo>
                    <a:pt x="0" y="54565"/>
                  </a:lnTo>
                  <a:cubicBezTo>
                    <a:pt x="0" y="23898"/>
                    <a:pt x="22655" y="0"/>
                    <a:pt x="51387" y="0"/>
                  </a:cubicBezTo>
                  <a:cubicBezTo>
                    <a:pt x="80120" y="0"/>
                    <a:pt x="102775" y="24036"/>
                    <a:pt x="102775" y="54565"/>
                  </a:cubicBezTo>
                  <a:lnTo>
                    <a:pt x="102775" y="70451"/>
                  </a:lnTo>
                  <a:cubicBezTo>
                    <a:pt x="102775" y="100979"/>
                    <a:pt x="80258" y="125015"/>
                    <a:pt x="51387" y="125015"/>
                  </a:cubicBezTo>
                  <a:close/>
                  <a:moveTo>
                    <a:pt x="51387" y="14090"/>
                  </a:moveTo>
                  <a:cubicBezTo>
                    <a:pt x="30529" y="14090"/>
                    <a:pt x="14090" y="31772"/>
                    <a:pt x="14090" y="54427"/>
                  </a:cubicBezTo>
                  <a:lnTo>
                    <a:pt x="14090" y="70312"/>
                  </a:lnTo>
                  <a:cubicBezTo>
                    <a:pt x="14090" y="92967"/>
                    <a:pt x="30390" y="110649"/>
                    <a:pt x="51387" y="110649"/>
                  </a:cubicBezTo>
                  <a:cubicBezTo>
                    <a:pt x="72385" y="110649"/>
                    <a:pt x="88685" y="92967"/>
                    <a:pt x="88685" y="70312"/>
                  </a:cubicBezTo>
                  <a:lnTo>
                    <a:pt x="88685" y="54427"/>
                  </a:lnTo>
                  <a:cubicBezTo>
                    <a:pt x="88685" y="31910"/>
                    <a:pt x="72246" y="14090"/>
                    <a:pt x="51387" y="14090"/>
                  </a:cubicBezTo>
                  <a:close/>
                </a:path>
              </a:pathLst>
            </a:custGeom>
            <a:grpFill/>
            <a:ln w="13803" cap="flat">
              <a:noFill/>
              <a:prstDash val="solid"/>
              <a:miter/>
            </a:ln>
          </p:spPr>
          <p:txBody>
            <a:bodyPr rtlCol="0" anchor="ctr"/>
            <a:lstStyle/>
            <a:p>
              <a:endParaRPr lang="ru-RU"/>
            </a:p>
          </p:txBody>
        </p:sp>
        <p:sp>
          <p:nvSpPr>
            <p:cNvPr id="68" name="Полилиния: фигура 67">
              <a:extLst>
                <a:ext uri="{FF2B5EF4-FFF2-40B4-BE49-F238E27FC236}">
                  <a16:creationId xmlns:a16="http://schemas.microsoft.com/office/drawing/2014/main" id="{2890ECCF-3322-4EA7-B96C-93851267F206}"/>
                </a:ext>
              </a:extLst>
            </p:cNvPr>
            <p:cNvSpPr/>
            <p:nvPr/>
          </p:nvSpPr>
          <p:spPr>
            <a:xfrm>
              <a:off x="731151" y="3251961"/>
              <a:ext cx="125497" cy="129573"/>
            </a:xfrm>
            <a:custGeom>
              <a:avLst/>
              <a:gdLst>
                <a:gd name="connsiteX0" fmla="*/ 7093 w 125497"/>
                <a:gd name="connsiteY0" fmla="*/ 129574 h 129573"/>
                <a:gd name="connsiteX1" fmla="*/ 5436 w 125497"/>
                <a:gd name="connsiteY1" fmla="*/ 129436 h 129573"/>
                <a:gd name="connsiteX2" fmla="*/ 1015 w 125497"/>
                <a:gd name="connsiteY2" fmla="*/ 126258 h 129573"/>
                <a:gd name="connsiteX3" fmla="*/ 186 w 125497"/>
                <a:gd name="connsiteY3" fmla="*/ 120871 h 129573"/>
                <a:gd name="connsiteX4" fmla="*/ 17178 w 125497"/>
                <a:gd name="connsiteY4" fmla="*/ 49868 h 129573"/>
                <a:gd name="connsiteX5" fmla="*/ 63316 w 125497"/>
                <a:gd name="connsiteY5" fmla="*/ 10222 h 129573"/>
                <a:gd name="connsiteX6" fmla="*/ 117052 w 125497"/>
                <a:gd name="connsiteY6" fmla="*/ 138 h 129573"/>
                <a:gd name="connsiteX7" fmla="*/ 118295 w 125497"/>
                <a:gd name="connsiteY7" fmla="*/ 0 h 129573"/>
                <a:gd name="connsiteX8" fmla="*/ 125340 w 125497"/>
                <a:gd name="connsiteY8" fmla="*/ 5802 h 129573"/>
                <a:gd name="connsiteX9" fmla="*/ 124235 w 125497"/>
                <a:gd name="connsiteY9" fmla="*/ 11189 h 129573"/>
                <a:gd name="connsiteX10" fmla="*/ 119676 w 125497"/>
                <a:gd name="connsiteY10" fmla="*/ 14090 h 129573"/>
                <a:gd name="connsiteX11" fmla="*/ 65940 w 125497"/>
                <a:gd name="connsiteY11" fmla="*/ 24174 h 129573"/>
                <a:gd name="connsiteX12" fmla="*/ 30991 w 125497"/>
                <a:gd name="connsiteY12" fmla="*/ 53045 h 129573"/>
                <a:gd name="connsiteX13" fmla="*/ 14000 w 125497"/>
                <a:gd name="connsiteY13" fmla="*/ 124186 h 129573"/>
                <a:gd name="connsiteX14" fmla="*/ 7093 w 125497"/>
                <a:gd name="connsiteY14" fmla="*/ 129574 h 129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5497" h="129573">
                  <a:moveTo>
                    <a:pt x="7093" y="129574"/>
                  </a:moveTo>
                  <a:cubicBezTo>
                    <a:pt x="6541" y="129574"/>
                    <a:pt x="5988" y="129436"/>
                    <a:pt x="5436" y="129436"/>
                  </a:cubicBezTo>
                  <a:cubicBezTo>
                    <a:pt x="3640" y="129021"/>
                    <a:pt x="1982" y="127916"/>
                    <a:pt x="1015" y="126258"/>
                  </a:cubicBezTo>
                  <a:cubicBezTo>
                    <a:pt x="48" y="124601"/>
                    <a:pt x="-228" y="122667"/>
                    <a:pt x="186" y="120871"/>
                  </a:cubicBezTo>
                  <a:lnTo>
                    <a:pt x="17178" y="49868"/>
                  </a:lnTo>
                  <a:cubicBezTo>
                    <a:pt x="21874" y="28180"/>
                    <a:pt x="36931" y="15195"/>
                    <a:pt x="63316" y="10222"/>
                  </a:cubicBezTo>
                  <a:lnTo>
                    <a:pt x="117052" y="138"/>
                  </a:lnTo>
                  <a:cubicBezTo>
                    <a:pt x="117466" y="0"/>
                    <a:pt x="117880" y="0"/>
                    <a:pt x="118295" y="0"/>
                  </a:cubicBezTo>
                  <a:cubicBezTo>
                    <a:pt x="121748" y="0"/>
                    <a:pt x="124649" y="2486"/>
                    <a:pt x="125340" y="5802"/>
                  </a:cubicBezTo>
                  <a:cubicBezTo>
                    <a:pt x="125754" y="7736"/>
                    <a:pt x="125340" y="9532"/>
                    <a:pt x="124235" y="11189"/>
                  </a:cubicBezTo>
                  <a:cubicBezTo>
                    <a:pt x="123130" y="12709"/>
                    <a:pt x="121610" y="13814"/>
                    <a:pt x="119676" y="14090"/>
                  </a:cubicBezTo>
                  <a:lnTo>
                    <a:pt x="65940" y="24174"/>
                  </a:lnTo>
                  <a:cubicBezTo>
                    <a:pt x="45220" y="28042"/>
                    <a:pt x="34445" y="36883"/>
                    <a:pt x="30991" y="53045"/>
                  </a:cubicBezTo>
                  <a:lnTo>
                    <a:pt x="14000" y="124186"/>
                  </a:lnTo>
                  <a:cubicBezTo>
                    <a:pt x="13310" y="127364"/>
                    <a:pt x="10409" y="129574"/>
                    <a:pt x="7093" y="129574"/>
                  </a:cubicBezTo>
                  <a:close/>
                </a:path>
              </a:pathLst>
            </a:custGeom>
            <a:grpFill/>
            <a:ln w="13803" cap="flat">
              <a:noFill/>
              <a:prstDash val="solid"/>
              <a:miter/>
            </a:ln>
          </p:spPr>
          <p:txBody>
            <a:bodyPr rtlCol="0" anchor="ctr"/>
            <a:lstStyle/>
            <a:p>
              <a:endParaRPr lang="ru-RU"/>
            </a:p>
          </p:txBody>
        </p:sp>
        <p:sp>
          <p:nvSpPr>
            <p:cNvPr id="69" name="Полилиния: фигура 68">
              <a:extLst>
                <a:ext uri="{FF2B5EF4-FFF2-40B4-BE49-F238E27FC236}">
                  <a16:creationId xmlns:a16="http://schemas.microsoft.com/office/drawing/2014/main" id="{7CB049B3-31C0-4101-80F5-53661F1BD4E9}"/>
                </a:ext>
              </a:extLst>
            </p:cNvPr>
            <p:cNvSpPr/>
            <p:nvPr/>
          </p:nvSpPr>
          <p:spPr>
            <a:xfrm>
              <a:off x="764905" y="3101391"/>
              <a:ext cx="102775" cy="125015"/>
            </a:xfrm>
            <a:custGeom>
              <a:avLst/>
              <a:gdLst>
                <a:gd name="connsiteX0" fmla="*/ 51387 w 102775"/>
                <a:gd name="connsiteY0" fmla="*/ 125015 h 125015"/>
                <a:gd name="connsiteX1" fmla="*/ 0 w 102775"/>
                <a:gd name="connsiteY1" fmla="*/ 70451 h 125015"/>
                <a:gd name="connsiteX2" fmla="*/ 0 w 102775"/>
                <a:gd name="connsiteY2" fmla="*/ 54565 h 125015"/>
                <a:gd name="connsiteX3" fmla="*/ 51387 w 102775"/>
                <a:gd name="connsiteY3" fmla="*/ 0 h 125015"/>
                <a:gd name="connsiteX4" fmla="*/ 102775 w 102775"/>
                <a:gd name="connsiteY4" fmla="*/ 54565 h 125015"/>
                <a:gd name="connsiteX5" fmla="*/ 102775 w 102775"/>
                <a:gd name="connsiteY5" fmla="*/ 70451 h 125015"/>
                <a:gd name="connsiteX6" fmla="*/ 51387 w 102775"/>
                <a:gd name="connsiteY6" fmla="*/ 125015 h 125015"/>
                <a:gd name="connsiteX7" fmla="*/ 51387 w 102775"/>
                <a:gd name="connsiteY7" fmla="*/ 14090 h 125015"/>
                <a:gd name="connsiteX8" fmla="*/ 14228 w 102775"/>
                <a:gd name="connsiteY8" fmla="*/ 54426 h 125015"/>
                <a:gd name="connsiteX9" fmla="*/ 14228 w 102775"/>
                <a:gd name="connsiteY9" fmla="*/ 70312 h 125015"/>
                <a:gd name="connsiteX10" fmla="*/ 51387 w 102775"/>
                <a:gd name="connsiteY10" fmla="*/ 110649 h 125015"/>
                <a:gd name="connsiteX11" fmla="*/ 88685 w 102775"/>
                <a:gd name="connsiteY11" fmla="*/ 70312 h 125015"/>
                <a:gd name="connsiteX12" fmla="*/ 88685 w 102775"/>
                <a:gd name="connsiteY12" fmla="*/ 54426 h 125015"/>
                <a:gd name="connsiteX13" fmla="*/ 51387 w 102775"/>
                <a:gd name="connsiteY13" fmla="*/ 14090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775" h="125015">
                  <a:moveTo>
                    <a:pt x="51387" y="125015"/>
                  </a:moveTo>
                  <a:cubicBezTo>
                    <a:pt x="22517" y="125015"/>
                    <a:pt x="0" y="100979"/>
                    <a:pt x="0" y="70451"/>
                  </a:cubicBezTo>
                  <a:lnTo>
                    <a:pt x="0" y="54565"/>
                  </a:lnTo>
                  <a:cubicBezTo>
                    <a:pt x="0" y="23898"/>
                    <a:pt x="22517" y="0"/>
                    <a:pt x="51387" y="0"/>
                  </a:cubicBezTo>
                  <a:cubicBezTo>
                    <a:pt x="80258" y="0"/>
                    <a:pt x="102775" y="24036"/>
                    <a:pt x="102775" y="54565"/>
                  </a:cubicBezTo>
                  <a:lnTo>
                    <a:pt x="102775" y="70451"/>
                  </a:lnTo>
                  <a:cubicBezTo>
                    <a:pt x="102913" y="100979"/>
                    <a:pt x="80258" y="125015"/>
                    <a:pt x="51387" y="125015"/>
                  </a:cubicBezTo>
                  <a:close/>
                  <a:moveTo>
                    <a:pt x="51387" y="14090"/>
                  </a:moveTo>
                  <a:cubicBezTo>
                    <a:pt x="30529" y="14090"/>
                    <a:pt x="14228" y="31772"/>
                    <a:pt x="14228" y="54426"/>
                  </a:cubicBezTo>
                  <a:lnTo>
                    <a:pt x="14228" y="70312"/>
                  </a:lnTo>
                  <a:cubicBezTo>
                    <a:pt x="14228" y="92967"/>
                    <a:pt x="30529" y="110649"/>
                    <a:pt x="51387" y="110649"/>
                  </a:cubicBezTo>
                  <a:cubicBezTo>
                    <a:pt x="72246" y="110649"/>
                    <a:pt x="88685" y="92967"/>
                    <a:pt x="88685" y="70312"/>
                  </a:cubicBezTo>
                  <a:lnTo>
                    <a:pt x="88685" y="54426"/>
                  </a:lnTo>
                  <a:cubicBezTo>
                    <a:pt x="88685" y="31910"/>
                    <a:pt x="72385" y="14090"/>
                    <a:pt x="51387" y="14090"/>
                  </a:cubicBezTo>
                  <a:close/>
                </a:path>
              </a:pathLst>
            </a:custGeom>
            <a:grpFill/>
            <a:ln w="13803" cap="flat">
              <a:noFill/>
              <a:prstDash val="solid"/>
              <a:miter/>
            </a:ln>
          </p:spPr>
          <p:txBody>
            <a:bodyPr rtlCol="0" anchor="ctr"/>
            <a:lstStyle/>
            <a:p>
              <a:endParaRPr lang="ru-RU"/>
            </a:p>
          </p:txBody>
        </p:sp>
        <p:sp>
          <p:nvSpPr>
            <p:cNvPr id="70" name="Полилиния: фигура 69">
              <a:extLst>
                <a:ext uri="{FF2B5EF4-FFF2-40B4-BE49-F238E27FC236}">
                  <a16:creationId xmlns:a16="http://schemas.microsoft.com/office/drawing/2014/main" id="{4269387D-7D44-4E4A-9545-1DBE152EB965}"/>
                </a:ext>
              </a:extLst>
            </p:cNvPr>
            <p:cNvSpPr/>
            <p:nvPr/>
          </p:nvSpPr>
          <p:spPr>
            <a:xfrm>
              <a:off x="606135" y="3285253"/>
              <a:ext cx="117304" cy="96282"/>
            </a:xfrm>
            <a:custGeom>
              <a:avLst/>
              <a:gdLst>
                <a:gd name="connsiteX0" fmla="*/ 7093 w 117304"/>
                <a:gd name="connsiteY0" fmla="*/ 96282 h 96282"/>
                <a:gd name="connsiteX1" fmla="*/ 5436 w 117304"/>
                <a:gd name="connsiteY1" fmla="*/ 96144 h 96282"/>
                <a:gd name="connsiteX2" fmla="*/ 1015 w 117304"/>
                <a:gd name="connsiteY2" fmla="*/ 92967 h 96282"/>
                <a:gd name="connsiteX3" fmla="*/ 186 w 117304"/>
                <a:gd name="connsiteY3" fmla="*/ 87580 h 96282"/>
                <a:gd name="connsiteX4" fmla="*/ 9165 w 117304"/>
                <a:gd name="connsiteY4" fmla="*/ 49868 h 96282"/>
                <a:gd name="connsiteX5" fmla="*/ 55304 w 117304"/>
                <a:gd name="connsiteY5" fmla="*/ 10222 h 96282"/>
                <a:gd name="connsiteX6" fmla="*/ 108901 w 117304"/>
                <a:gd name="connsiteY6" fmla="*/ 138 h 96282"/>
                <a:gd name="connsiteX7" fmla="*/ 110145 w 117304"/>
                <a:gd name="connsiteY7" fmla="*/ 0 h 96282"/>
                <a:gd name="connsiteX8" fmla="*/ 117190 w 117304"/>
                <a:gd name="connsiteY8" fmla="*/ 5802 h 96282"/>
                <a:gd name="connsiteX9" fmla="*/ 111526 w 117304"/>
                <a:gd name="connsiteY9" fmla="*/ 14090 h 96282"/>
                <a:gd name="connsiteX10" fmla="*/ 57928 w 117304"/>
                <a:gd name="connsiteY10" fmla="*/ 24174 h 96282"/>
                <a:gd name="connsiteX11" fmla="*/ 22979 w 117304"/>
                <a:gd name="connsiteY11" fmla="*/ 53045 h 96282"/>
                <a:gd name="connsiteX12" fmla="*/ 13862 w 117304"/>
                <a:gd name="connsiteY12" fmla="*/ 90895 h 96282"/>
                <a:gd name="connsiteX13" fmla="*/ 7093 w 117304"/>
                <a:gd name="connsiteY13" fmla="*/ 96282 h 9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304" h="96282">
                  <a:moveTo>
                    <a:pt x="7093" y="96282"/>
                  </a:moveTo>
                  <a:cubicBezTo>
                    <a:pt x="6541" y="96282"/>
                    <a:pt x="5988" y="96144"/>
                    <a:pt x="5436" y="96144"/>
                  </a:cubicBezTo>
                  <a:cubicBezTo>
                    <a:pt x="3640" y="95730"/>
                    <a:pt x="1982" y="94625"/>
                    <a:pt x="1015" y="92967"/>
                  </a:cubicBezTo>
                  <a:cubicBezTo>
                    <a:pt x="48" y="91309"/>
                    <a:pt x="-228" y="89376"/>
                    <a:pt x="186" y="87580"/>
                  </a:cubicBezTo>
                  <a:lnTo>
                    <a:pt x="9165" y="49868"/>
                  </a:lnTo>
                  <a:cubicBezTo>
                    <a:pt x="13862" y="28180"/>
                    <a:pt x="28919" y="15195"/>
                    <a:pt x="55304" y="10222"/>
                  </a:cubicBezTo>
                  <a:lnTo>
                    <a:pt x="108901" y="138"/>
                  </a:lnTo>
                  <a:cubicBezTo>
                    <a:pt x="109316" y="0"/>
                    <a:pt x="109730" y="0"/>
                    <a:pt x="110145" y="0"/>
                  </a:cubicBezTo>
                  <a:cubicBezTo>
                    <a:pt x="113598" y="0"/>
                    <a:pt x="116499" y="2486"/>
                    <a:pt x="117190" y="5802"/>
                  </a:cubicBezTo>
                  <a:cubicBezTo>
                    <a:pt x="117880" y="9670"/>
                    <a:pt x="115394" y="13399"/>
                    <a:pt x="111526" y="14090"/>
                  </a:cubicBezTo>
                  <a:lnTo>
                    <a:pt x="57928" y="24174"/>
                  </a:lnTo>
                  <a:cubicBezTo>
                    <a:pt x="37208" y="28042"/>
                    <a:pt x="26433" y="36883"/>
                    <a:pt x="22979" y="53045"/>
                  </a:cubicBezTo>
                  <a:lnTo>
                    <a:pt x="13862" y="90895"/>
                  </a:lnTo>
                  <a:cubicBezTo>
                    <a:pt x="13310" y="94072"/>
                    <a:pt x="10409" y="96282"/>
                    <a:pt x="7093" y="96282"/>
                  </a:cubicBezTo>
                  <a:close/>
                </a:path>
              </a:pathLst>
            </a:custGeom>
            <a:grpFill/>
            <a:ln w="13803" cap="flat">
              <a:noFill/>
              <a:prstDash val="solid"/>
              <a:miter/>
            </a:ln>
          </p:spPr>
          <p:txBody>
            <a:bodyPr rtlCol="0" anchor="ctr"/>
            <a:lstStyle/>
            <a:p>
              <a:endParaRPr lang="ru-RU"/>
            </a:p>
          </p:txBody>
        </p:sp>
        <p:sp>
          <p:nvSpPr>
            <p:cNvPr id="71" name="Полилиния: фигура 70">
              <a:extLst>
                <a:ext uri="{FF2B5EF4-FFF2-40B4-BE49-F238E27FC236}">
                  <a16:creationId xmlns:a16="http://schemas.microsoft.com/office/drawing/2014/main" id="{497A64EC-DB7A-470B-9CE6-7B45BB4DA43F}"/>
                </a:ext>
              </a:extLst>
            </p:cNvPr>
            <p:cNvSpPr/>
            <p:nvPr/>
          </p:nvSpPr>
          <p:spPr>
            <a:xfrm>
              <a:off x="632016" y="3134544"/>
              <a:ext cx="102774" cy="125015"/>
            </a:xfrm>
            <a:custGeom>
              <a:avLst/>
              <a:gdLst>
                <a:gd name="connsiteX0" fmla="*/ 51387 w 102774"/>
                <a:gd name="connsiteY0" fmla="*/ 125015 h 125015"/>
                <a:gd name="connsiteX1" fmla="*/ 0 w 102774"/>
                <a:gd name="connsiteY1" fmla="*/ 70451 h 125015"/>
                <a:gd name="connsiteX2" fmla="*/ 0 w 102774"/>
                <a:gd name="connsiteY2" fmla="*/ 54565 h 125015"/>
                <a:gd name="connsiteX3" fmla="*/ 51387 w 102774"/>
                <a:gd name="connsiteY3" fmla="*/ 0 h 125015"/>
                <a:gd name="connsiteX4" fmla="*/ 102775 w 102774"/>
                <a:gd name="connsiteY4" fmla="*/ 54565 h 125015"/>
                <a:gd name="connsiteX5" fmla="*/ 102775 w 102774"/>
                <a:gd name="connsiteY5" fmla="*/ 70451 h 125015"/>
                <a:gd name="connsiteX6" fmla="*/ 51387 w 102774"/>
                <a:gd name="connsiteY6" fmla="*/ 125015 h 125015"/>
                <a:gd name="connsiteX7" fmla="*/ 51387 w 102774"/>
                <a:gd name="connsiteY7" fmla="*/ 14228 h 125015"/>
                <a:gd name="connsiteX8" fmla="*/ 14228 w 102774"/>
                <a:gd name="connsiteY8" fmla="*/ 54565 h 125015"/>
                <a:gd name="connsiteX9" fmla="*/ 14228 w 102774"/>
                <a:gd name="connsiteY9" fmla="*/ 70451 h 125015"/>
                <a:gd name="connsiteX10" fmla="*/ 51387 w 102774"/>
                <a:gd name="connsiteY10" fmla="*/ 110787 h 125015"/>
                <a:gd name="connsiteX11" fmla="*/ 88685 w 102774"/>
                <a:gd name="connsiteY11" fmla="*/ 70451 h 125015"/>
                <a:gd name="connsiteX12" fmla="*/ 88685 w 102774"/>
                <a:gd name="connsiteY12" fmla="*/ 54565 h 125015"/>
                <a:gd name="connsiteX13" fmla="*/ 51387 w 102774"/>
                <a:gd name="connsiteY13" fmla="*/ 14228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774" h="125015">
                  <a:moveTo>
                    <a:pt x="51387" y="125015"/>
                  </a:moveTo>
                  <a:cubicBezTo>
                    <a:pt x="22517" y="125015"/>
                    <a:pt x="0" y="100979"/>
                    <a:pt x="0" y="70451"/>
                  </a:cubicBezTo>
                  <a:lnTo>
                    <a:pt x="0" y="54565"/>
                  </a:lnTo>
                  <a:cubicBezTo>
                    <a:pt x="0" y="23898"/>
                    <a:pt x="22517" y="0"/>
                    <a:pt x="51387" y="0"/>
                  </a:cubicBezTo>
                  <a:cubicBezTo>
                    <a:pt x="80258" y="0"/>
                    <a:pt x="102775" y="24036"/>
                    <a:pt x="102775" y="54565"/>
                  </a:cubicBezTo>
                  <a:lnTo>
                    <a:pt x="102775" y="70451"/>
                  </a:lnTo>
                  <a:cubicBezTo>
                    <a:pt x="102775" y="101117"/>
                    <a:pt x="80258" y="125015"/>
                    <a:pt x="51387" y="125015"/>
                  </a:cubicBezTo>
                  <a:close/>
                  <a:moveTo>
                    <a:pt x="51387" y="14228"/>
                  </a:moveTo>
                  <a:cubicBezTo>
                    <a:pt x="30529" y="14228"/>
                    <a:pt x="14228" y="31910"/>
                    <a:pt x="14228" y="54565"/>
                  </a:cubicBezTo>
                  <a:lnTo>
                    <a:pt x="14228" y="70451"/>
                  </a:lnTo>
                  <a:cubicBezTo>
                    <a:pt x="14228" y="93105"/>
                    <a:pt x="30529" y="110787"/>
                    <a:pt x="51387" y="110787"/>
                  </a:cubicBezTo>
                  <a:cubicBezTo>
                    <a:pt x="72246" y="110787"/>
                    <a:pt x="88685" y="93105"/>
                    <a:pt x="88685" y="70451"/>
                  </a:cubicBezTo>
                  <a:lnTo>
                    <a:pt x="88685" y="54565"/>
                  </a:lnTo>
                  <a:cubicBezTo>
                    <a:pt x="88547" y="32048"/>
                    <a:pt x="72246" y="14228"/>
                    <a:pt x="51387" y="14228"/>
                  </a:cubicBezTo>
                  <a:close/>
                </a:path>
              </a:pathLst>
            </a:custGeom>
            <a:grpFill/>
            <a:ln w="13803" cap="flat">
              <a:noFill/>
              <a:prstDash val="solid"/>
              <a:miter/>
            </a:ln>
          </p:spPr>
          <p:txBody>
            <a:bodyPr rtlCol="0" anchor="ctr"/>
            <a:lstStyle/>
            <a:p>
              <a:endParaRPr lang="ru-RU"/>
            </a:p>
          </p:txBody>
        </p:sp>
      </p:grpSp>
      <p:grpSp>
        <p:nvGrpSpPr>
          <p:cNvPr id="72" name="Группа 71">
            <a:extLst>
              <a:ext uri="{FF2B5EF4-FFF2-40B4-BE49-F238E27FC236}">
                <a16:creationId xmlns:a16="http://schemas.microsoft.com/office/drawing/2014/main" id="{E382C3B9-D997-4B68-91AC-0E0241D3A866}"/>
              </a:ext>
            </a:extLst>
          </p:cNvPr>
          <p:cNvGrpSpPr/>
          <p:nvPr/>
        </p:nvGrpSpPr>
        <p:grpSpPr>
          <a:xfrm>
            <a:off x="3900191" y="3365001"/>
            <a:ext cx="530467" cy="449398"/>
            <a:chOff x="9398467" y="4850273"/>
            <a:chExt cx="412503" cy="349463"/>
          </a:xfrm>
          <a:solidFill>
            <a:schemeClr val="bg1"/>
          </a:solidFill>
          <a:effectLst>
            <a:outerShdw blurRad="50800" dist="12700" sx="102000" sy="102000" algn="ctr" rotWithShape="0">
              <a:schemeClr val="tx2">
                <a:alpha val="40000"/>
              </a:schemeClr>
            </a:outerShdw>
          </a:effectLst>
        </p:grpSpPr>
        <p:sp>
          <p:nvSpPr>
            <p:cNvPr id="73" name="Полилиния: фигура 72">
              <a:extLst>
                <a:ext uri="{FF2B5EF4-FFF2-40B4-BE49-F238E27FC236}">
                  <a16:creationId xmlns:a16="http://schemas.microsoft.com/office/drawing/2014/main" id="{0A447C57-13C0-4297-9B46-AED52F176F64}"/>
                </a:ext>
              </a:extLst>
            </p:cNvPr>
            <p:cNvSpPr/>
            <p:nvPr/>
          </p:nvSpPr>
          <p:spPr>
            <a:xfrm>
              <a:off x="9398467" y="4850273"/>
              <a:ext cx="279799" cy="349463"/>
            </a:xfrm>
            <a:custGeom>
              <a:avLst/>
              <a:gdLst>
                <a:gd name="connsiteX0" fmla="*/ 6240 w 279799"/>
                <a:gd name="connsiteY0" fmla="*/ 349336 h 349463"/>
                <a:gd name="connsiteX1" fmla="*/ 0 w 279799"/>
                <a:gd name="connsiteY1" fmla="*/ 343095 h 349463"/>
                <a:gd name="connsiteX2" fmla="*/ 0 w 279799"/>
                <a:gd name="connsiteY2" fmla="*/ 6240 h 349463"/>
                <a:gd name="connsiteX3" fmla="*/ 6240 w 279799"/>
                <a:gd name="connsiteY3" fmla="*/ 0 h 349463"/>
                <a:gd name="connsiteX4" fmla="*/ 273559 w 279799"/>
                <a:gd name="connsiteY4" fmla="*/ 0 h 349463"/>
                <a:gd name="connsiteX5" fmla="*/ 279799 w 279799"/>
                <a:gd name="connsiteY5" fmla="*/ 6240 h 349463"/>
                <a:gd name="connsiteX6" fmla="*/ 279799 w 279799"/>
                <a:gd name="connsiteY6" fmla="*/ 114238 h 349463"/>
                <a:gd name="connsiteX7" fmla="*/ 273559 w 279799"/>
                <a:gd name="connsiteY7" fmla="*/ 120478 h 349463"/>
                <a:gd name="connsiteX8" fmla="*/ 267191 w 279799"/>
                <a:gd name="connsiteY8" fmla="*/ 114238 h 349463"/>
                <a:gd name="connsiteX9" fmla="*/ 267191 w 279799"/>
                <a:gd name="connsiteY9" fmla="*/ 12863 h 349463"/>
                <a:gd name="connsiteX10" fmla="*/ 12736 w 279799"/>
                <a:gd name="connsiteY10" fmla="*/ 12608 h 349463"/>
                <a:gd name="connsiteX11" fmla="*/ 12481 w 279799"/>
                <a:gd name="connsiteY11" fmla="*/ 336600 h 349463"/>
                <a:gd name="connsiteX12" fmla="*/ 266936 w 279799"/>
                <a:gd name="connsiteY12" fmla="*/ 336855 h 349463"/>
                <a:gd name="connsiteX13" fmla="*/ 267191 w 279799"/>
                <a:gd name="connsiteY13" fmla="*/ 204915 h 349463"/>
                <a:gd name="connsiteX14" fmla="*/ 273559 w 279799"/>
                <a:gd name="connsiteY14" fmla="*/ 198674 h 349463"/>
                <a:gd name="connsiteX15" fmla="*/ 279799 w 279799"/>
                <a:gd name="connsiteY15" fmla="*/ 204915 h 349463"/>
                <a:gd name="connsiteX16" fmla="*/ 279799 w 279799"/>
                <a:gd name="connsiteY16" fmla="*/ 343223 h 349463"/>
                <a:gd name="connsiteX17" fmla="*/ 273559 w 279799"/>
                <a:gd name="connsiteY17" fmla="*/ 349463 h 349463"/>
                <a:gd name="connsiteX18" fmla="*/ 6240 w 279799"/>
                <a:gd name="connsiteY18" fmla="*/ 349463 h 34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9799" h="349463">
                  <a:moveTo>
                    <a:pt x="6240" y="349336"/>
                  </a:moveTo>
                  <a:cubicBezTo>
                    <a:pt x="2801" y="349336"/>
                    <a:pt x="0" y="346534"/>
                    <a:pt x="0" y="343095"/>
                  </a:cubicBezTo>
                  <a:lnTo>
                    <a:pt x="0" y="6240"/>
                  </a:lnTo>
                  <a:cubicBezTo>
                    <a:pt x="0" y="2802"/>
                    <a:pt x="2801" y="0"/>
                    <a:pt x="6240" y="0"/>
                  </a:cubicBezTo>
                  <a:lnTo>
                    <a:pt x="273559" y="0"/>
                  </a:lnTo>
                  <a:cubicBezTo>
                    <a:pt x="276998" y="0"/>
                    <a:pt x="279799" y="2802"/>
                    <a:pt x="279799" y="6240"/>
                  </a:cubicBezTo>
                  <a:lnTo>
                    <a:pt x="279799" y="114238"/>
                  </a:lnTo>
                  <a:cubicBezTo>
                    <a:pt x="279799" y="117676"/>
                    <a:pt x="276998" y="120478"/>
                    <a:pt x="273559" y="120478"/>
                  </a:cubicBezTo>
                  <a:cubicBezTo>
                    <a:pt x="270120" y="120478"/>
                    <a:pt x="267191" y="117676"/>
                    <a:pt x="267191" y="114238"/>
                  </a:cubicBezTo>
                  <a:lnTo>
                    <a:pt x="267191" y="12863"/>
                  </a:lnTo>
                  <a:lnTo>
                    <a:pt x="12736" y="12608"/>
                  </a:lnTo>
                  <a:lnTo>
                    <a:pt x="12481" y="336600"/>
                  </a:lnTo>
                  <a:lnTo>
                    <a:pt x="266936" y="336855"/>
                  </a:lnTo>
                  <a:lnTo>
                    <a:pt x="267191" y="204915"/>
                  </a:lnTo>
                  <a:cubicBezTo>
                    <a:pt x="267191" y="201476"/>
                    <a:pt x="269993" y="198674"/>
                    <a:pt x="273559" y="198674"/>
                  </a:cubicBezTo>
                  <a:cubicBezTo>
                    <a:pt x="276998" y="198674"/>
                    <a:pt x="279799" y="201476"/>
                    <a:pt x="279799" y="204915"/>
                  </a:cubicBezTo>
                  <a:lnTo>
                    <a:pt x="279799" y="343223"/>
                  </a:lnTo>
                  <a:cubicBezTo>
                    <a:pt x="279799" y="346661"/>
                    <a:pt x="276998" y="349463"/>
                    <a:pt x="273559" y="349463"/>
                  </a:cubicBezTo>
                  <a:lnTo>
                    <a:pt x="6240" y="349463"/>
                  </a:lnTo>
                  <a:close/>
                </a:path>
              </a:pathLst>
            </a:custGeom>
            <a:grpFill/>
            <a:ln w="12733" cap="flat">
              <a:noFill/>
              <a:prstDash val="solid"/>
              <a:miter/>
            </a:ln>
          </p:spPr>
          <p:txBody>
            <a:bodyPr rtlCol="0" anchor="ctr"/>
            <a:lstStyle/>
            <a:p>
              <a:endParaRPr lang="ru-RU"/>
            </a:p>
          </p:txBody>
        </p:sp>
        <p:sp>
          <p:nvSpPr>
            <p:cNvPr id="74" name="Полилиния: фигура 73">
              <a:extLst>
                <a:ext uri="{FF2B5EF4-FFF2-40B4-BE49-F238E27FC236}">
                  <a16:creationId xmlns:a16="http://schemas.microsoft.com/office/drawing/2014/main" id="{A8417563-B9FA-40CA-AFC9-30AC6839C865}"/>
                </a:ext>
              </a:extLst>
            </p:cNvPr>
            <p:cNvSpPr/>
            <p:nvPr/>
          </p:nvSpPr>
          <p:spPr>
            <a:xfrm>
              <a:off x="9453358" y="4937257"/>
              <a:ext cx="65587" cy="65587"/>
            </a:xfrm>
            <a:custGeom>
              <a:avLst/>
              <a:gdLst>
                <a:gd name="connsiteX0" fmla="*/ 6240 w 65587"/>
                <a:gd name="connsiteY0" fmla="*/ 65588 h 65587"/>
                <a:gd name="connsiteX1" fmla="*/ 0 w 65587"/>
                <a:gd name="connsiteY1" fmla="*/ 59348 h 65587"/>
                <a:gd name="connsiteX2" fmla="*/ 0 w 65587"/>
                <a:gd name="connsiteY2" fmla="*/ 6240 h 65587"/>
                <a:gd name="connsiteX3" fmla="*/ 6240 w 65587"/>
                <a:gd name="connsiteY3" fmla="*/ 0 h 65587"/>
                <a:gd name="connsiteX4" fmla="*/ 59347 w 65587"/>
                <a:gd name="connsiteY4" fmla="*/ 0 h 65587"/>
                <a:gd name="connsiteX5" fmla="*/ 65588 w 65587"/>
                <a:gd name="connsiteY5" fmla="*/ 6240 h 65587"/>
                <a:gd name="connsiteX6" fmla="*/ 65588 w 65587"/>
                <a:gd name="connsiteY6" fmla="*/ 59348 h 65587"/>
                <a:gd name="connsiteX7" fmla="*/ 59347 w 65587"/>
                <a:gd name="connsiteY7" fmla="*/ 65588 h 65587"/>
                <a:gd name="connsiteX8" fmla="*/ 6240 w 65587"/>
                <a:gd name="connsiteY8" fmla="*/ 65588 h 65587"/>
                <a:gd name="connsiteX9" fmla="*/ 12481 w 65587"/>
                <a:gd name="connsiteY9" fmla="*/ 52725 h 65587"/>
                <a:gd name="connsiteX10" fmla="*/ 52725 w 65587"/>
                <a:gd name="connsiteY10" fmla="*/ 52980 h 65587"/>
                <a:gd name="connsiteX11" fmla="*/ 52979 w 65587"/>
                <a:gd name="connsiteY11" fmla="*/ 12736 h 65587"/>
                <a:gd name="connsiteX12" fmla="*/ 12481 w 65587"/>
                <a:gd name="connsiteY12" fmla="*/ 12481 h 65587"/>
                <a:gd name="connsiteX13" fmla="*/ 12481 w 65587"/>
                <a:gd name="connsiteY13" fmla="*/ 52725 h 6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87" h="65587">
                  <a:moveTo>
                    <a:pt x="6240" y="65588"/>
                  </a:moveTo>
                  <a:cubicBezTo>
                    <a:pt x="2801" y="65588"/>
                    <a:pt x="0" y="62786"/>
                    <a:pt x="0" y="59348"/>
                  </a:cubicBezTo>
                  <a:lnTo>
                    <a:pt x="0" y="6240"/>
                  </a:lnTo>
                  <a:cubicBezTo>
                    <a:pt x="0" y="2802"/>
                    <a:pt x="2801" y="0"/>
                    <a:pt x="6240" y="0"/>
                  </a:cubicBezTo>
                  <a:lnTo>
                    <a:pt x="59347" y="0"/>
                  </a:lnTo>
                  <a:cubicBezTo>
                    <a:pt x="62786" y="0"/>
                    <a:pt x="65588" y="2802"/>
                    <a:pt x="65588" y="6240"/>
                  </a:cubicBezTo>
                  <a:lnTo>
                    <a:pt x="65588" y="59348"/>
                  </a:lnTo>
                  <a:cubicBezTo>
                    <a:pt x="65588" y="62786"/>
                    <a:pt x="62786" y="65588"/>
                    <a:pt x="59347" y="65588"/>
                  </a:cubicBezTo>
                  <a:lnTo>
                    <a:pt x="6240" y="65588"/>
                  </a:lnTo>
                  <a:close/>
                  <a:moveTo>
                    <a:pt x="12481" y="52725"/>
                  </a:moveTo>
                  <a:lnTo>
                    <a:pt x="52725" y="52980"/>
                  </a:lnTo>
                  <a:lnTo>
                    <a:pt x="52979" y="12736"/>
                  </a:lnTo>
                  <a:lnTo>
                    <a:pt x="12481" y="12481"/>
                  </a:lnTo>
                  <a:lnTo>
                    <a:pt x="12481" y="52725"/>
                  </a:lnTo>
                  <a:close/>
                </a:path>
              </a:pathLst>
            </a:custGeom>
            <a:grpFill/>
            <a:ln w="12733" cap="flat">
              <a:noFill/>
              <a:prstDash val="solid"/>
              <a:miter/>
            </a:ln>
          </p:spPr>
          <p:txBody>
            <a:bodyPr rtlCol="0" anchor="ctr"/>
            <a:lstStyle/>
            <a:p>
              <a:endParaRPr lang="ru-RU"/>
            </a:p>
          </p:txBody>
        </p:sp>
        <p:sp>
          <p:nvSpPr>
            <p:cNvPr id="75" name="Полилиния: фигура 74">
              <a:extLst>
                <a:ext uri="{FF2B5EF4-FFF2-40B4-BE49-F238E27FC236}">
                  <a16:creationId xmlns:a16="http://schemas.microsoft.com/office/drawing/2014/main" id="{F5BD0DE2-AF13-4313-98DD-10797869E7C7}"/>
                </a:ext>
              </a:extLst>
            </p:cNvPr>
            <p:cNvSpPr/>
            <p:nvPr/>
          </p:nvSpPr>
          <p:spPr>
            <a:xfrm>
              <a:off x="9453358" y="5047037"/>
              <a:ext cx="65587" cy="65715"/>
            </a:xfrm>
            <a:custGeom>
              <a:avLst/>
              <a:gdLst>
                <a:gd name="connsiteX0" fmla="*/ 6240 w 65587"/>
                <a:gd name="connsiteY0" fmla="*/ 65715 h 65715"/>
                <a:gd name="connsiteX1" fmla="*/ 0 w 65587"/>
                <a:gd name="connsiteY1" fmla="*/ 59475 h 65715"/>
                <a:gd name="connsiteX2" fmla="*/ 0 w 65587"/>
                <a:gd name="connsiteY2" fmla="*/ 6368 h 65715"/>
                <a:gd name="connsiteX3" fmla="*/ 6240 w 65587"/>
                <a:gd name="connsiteY3" fmla="*/ 0 h 65715"/>
                <a:gd name="connsiteX4" fmla="*/ 59347 w 65587"/>
                <a:gd name="connsiteY4" fmla="*/ 0 h 65715"/>
                <a:gd name="connsiteX5" fmla="*/ 65588 w 65587"/>
                <a:gd name="connsiteY5" fmla="*/ 6368 h 65715"/>
                <a:gd name="connsiteX6" fmla="*/ 65588 w 65587"/>
                <a:gd name="connsiteY6" fmla="*/ 59475 h 65715"/>
                <a:gd name="connsiteX7" fmla="*/ 59347 w 65587"/>
                <a:gd name="connsiteY7" fmla="*/ 65715 h 65715"/>
                <a:gd name="connsiteX8" fmla="*/ 6240 w 65587"/>
                <a:gd name="connsiteY8" fmla="*/ 65715 h 65715"/>
                <a:gd name="connsiteX9" fmla="*/ 12481 w 65587"/>
                <a:gd name="connsiteY9" fmla="*/ 52853 h 65715"/>
                <a:gd name="connsiteX10" fmla="*/ 52725 w 65587"/>
                <a:gd name="connsiteY10" fmla="*/ 53107 h 65715"/>
                <a:gd name="connsiteX11" fmla="*/ 52979 w 65587"/>
                <a:gd name="connsiteY11" fmla="*/ 12863 h 65715"/>
                <a:gd name="connsiteX12" fmla="*/ 12481 w 65587"/>
                <a:gd name="connsiteY12" fmla="*/ 12608 h 65715"/>
                <a:gd name="connsiteX13" fmla="*/ 12481 w 65587"/>
                <a:gd name="connsiteY13" fmla="*/ 52853 h 6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87" h="65715">
                  <a:moveTo>
                    <a:pt x="6240" y="65715"/>
                  </a:moveTo>
                  <a:cubicBezTo>
                    <a:pt x="2801" y="65715"/>
                    <a:pt x="0" y="62914"/>
                    <a:pt x="0" y="59475"/>
                  </a:cubicBezTo>
                  <a:lnTo>
                    <a:pt x="0" y="6368"/>
                  </a:lnTo>
                  <a:cubicBezTo>
                    <a:pt x="0" y="2929"/>
                    <a:pt x="2801" y="0"/>
                    <a:pt x="6240" y="0"/>
                  </a:cubicBezTo>
                  <a:lnTo>
                    <a:pt x="59347" y="0"/>
                  </a:lnTo>
                  <a:cubicBezTo>
                    <a:pt x="62786" y="0"/>
                    <a:pt x="65588" y="2802"/>
                    <a:pt x="65588" y="6368"/>
                  </a:cubicBezTo>
                  <a:lnTo>
                    <a:pt x="65588" y="59475"/>
                  </a:lnTo>
                  <a:cubicBezTo>
                    <a:pt x="65588" y="62914"/>
                    <a:pt x="62786" y="65715"/>
                    <a:pt x="59347" y="65715"/>
                  </a:cubicBezTo>
                  <a:lnTo>
                    <a:pt x="6240" y="65715"/>
                  </a:lnTo>
                  <a:close/>
                  <a:moveTo>
                    <a:pt x="12481" y="52853"/>
                  </a:moveTo>
                  <a:lnTo>
                    <a:pt x="52725" y="53107"/>
                  </a:lnTo>
                  <a:lnTo>
                    <a:pt x="52979" y="12863"/>
                  </a:lnTo>
                  <a:lnTo>
                    <a:pt x="12481" y="12608"/>
                  </a:lnTo>
                  <a:lnTo>
                    <a:pt x="12481" y="52853"/>
                  </a:lnTo>
                  <a:close/>
                </a:path>
              </a:pathLst>
            </a:custGeom>
            <a:grpFill/>
            <a:ln w="12733" cap="flat">
              <a:noFill/>
              <a:prstDash val="solid"/>
              <a:miter/>
            </a:ln>
          </p:spPr>
          <p:txBody>
            <a:bodyPr rtlCol="0" anchor="ctr"/>
            <a:lstStyle/>
            <a:p>
              <a:endParaRPr lang="ru-RU"/>
            </a:p>
          </p:txBody>
        </p:sp>
        <p:sp>
          <p:nvSpPr>
            <p:cNvPr id="76" name="Полилиния: фигура 75">
              <a:extLst>
                <a:ext uri="{FF2B5EF4-FFF2-40B4-BE49-F238E27FC236}">
                  <a16:creationId xmlns:a16="http://schemas.microsoft.com/office/drawing/2014/main" id="{C9FDE079-DCF6-414A-97A9-92DED14BAF29}"/>
                </a:ext>
              </a:extLst>
            </p:cNvPr>
            <p:cNvSpPr/>
            <p:nvPr/>
          </p:nvSpPr>
          <p:spPr>
            <a:xfrm>
              <a:off x="9543525" y="4990364"/>
              <a:ext cx="63296" cy="12480"/>
            </a:xfrm>
            <a:custGeom>
              <a:avLst/>
              <a:gdLst>
                <a:gd name="connsiteX0" fmla="*/ 6240 w 63296"/>
                <a:gd name="connsiteY0" fmla="*/ 12481 h 12480"/>
                <a:gd name="connsiteX1" fmla="*/ 0 w 63296"/>
                <a:gd name="connsiteY1" fmla="*/ 6240 h 12480"/>
                <a:gd name="connsiteX2" fmla="*/ 6240 w 63296"/>
                <a:gd name="connsiteY2" fmla="*/ 0 h 12480"/>
                <a:gd name="connsiteX3" fmla="*/ 57056 w 63296"/>
                <a:gd name="connsiteY3" fmla="*/ 0 h 12480"/>
                <a:gd name="connsiteX4" fmla="*/ 63296 w 63296"/>
                <a:gd name="connsiteY4" fmla="*/ 6240 h 12480"/>
                <a:gd name="connsiteX5" fmla="*/ 57056 w 63296"/>
                <a:gd name="connsiteY5" fmla="*/ 12481 h 12480"/>
                <a:gd name="connsiteX6" fmla="*/ 6240 w 63296"/>
                <a:gd name="connsiteY6" fmla="*/ 12481 h 1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96" h="12480">
                  <a:moveTo>
                    <a:pt x="6240" y="12481"/>
                  </a:moveTo>
                  <a:cubicBezTo>
                    <a:pt x="2802" y="12481"/>
                    <a:pt x="0" y="9679"/>
                    <a:pt x="0" y="6240"/>
                  </a:cubicBezTo>
                  <a:cubicBezTo>
                    <a:pt x="0" y="2802"/>
                    <a:pt x="2802" y="0"/>
                    <a:pt x="6240" y="0"/>
                  </a:cubicBezTo>
                  <a:lnTo>
                    <a:pt x="57056" y="0"/>
                  </a:lnTo>
                  <a:cubicBezTo>
                    <a:pt x="60494" y="0"/>
                    <a:pt x="63296" y="2802"/>
                    <a:pt x="63296" y="6240"/>
                  </a:cubicBezTo>
                  <a:cubicBezTo>
                    <a:pt x="63296" y="9679"/>
                    <a:pt x="60494" y="12481"/>
                    <a:pt x="57056" y="12481"/>
                  </a:cubicBezTo>
                  <a:lnTo>
                    <a:pt x="6240" y="12481"/>
                  </a:lnTo>
                  <a:close/>
                </a:path>
              </a:pathLst>
            </a:custGeom>
            <a:grpFill/>
            <a:ln w="12733" cap="flat">
              <a:noFill/>
              <a:prstDash val="solid"/>
              <a:miter/>
            </a:ln>
          </p:spPr>
          <p:txBody>
            <a:bodyPr rtlCol="0" anchor="ctr"/>
            <a:lstStyle/>
            <a:p>
              <a:endParaRPr lang="ru-RU"/>
            </a:p>
          </p:txBody>
        </p:sp>
        <p:sp>
          <p:nvSpPr>
            <p:cNvPr id="77" name="Полилиния: фигура 76">
              <a:extLst>
                <a:ext uri="{FF2B5EF4-FFF2-40B4-BE49-F238E27FC236}">
                  <a16:creationId xmlns:a16="http://schemas.microsoft.com/office/drawing/2014/main" id="{7C265E43-1228-45DC-8944-F193A43A1112}"/>
                </a:ext>
              </a:extLst>
            </p:cNvPr>
            <p:cNvSpPr/>
            <p:nvPr/>
          </p:nvSpPr>
          <p:spPr>
            <a:xfrm>
              <a:off x="9543525" y="5100272"/>
              <a:ext cx="63296" cy="12480"/>
            </a:xfrm>
            <a:custGeom>
              <a:avLst/>
              <a:gdLst>
                <a:gd name="connsiteX0" fmla="*/ 6240 w 63296"/>
                <a:gd name="connsiteY0" fmla="*/ 12481 h 12480"/>
                <a:gd name="connsiteX1" fmla="*/ 0 w 63296"/>
                <a:gd name="connsiteY1" fmla="*/ 6240 h 12480"/>
                <a:gd name="connsiteX2" fmla="*/ 6240 w 63296"/>
                <a:gd name="connsiteY2" fmla="*/ 0 h 12480"/>
                <a:gd name="connsiteX3" fmla="*/ 57056 w 63296"/>
                <a:gd name="connsiteY3" fmla="*/ 0 h 12480"/>
                <a:gd name="connsiteX4" fmla="*/ 63296 w 63296"/>
                <a:gd name="connsiteY4" fmla="*/ 6240 h 12480"/>
                <a:gd name="connsiteX5" fmla="*/ 57056 w 63296"/>
                <a:gd name="connsiteY5" fmla="*/ 12481 h 12480"/>
                <a:gd name="connsiteX6" fmla="*/ 6240 w 63296"/>
                <a:gd name="connsiteY6" fmla="*/ 12481 h 1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96" h="12480">
                  <a:moveTo>
                    <a:pt x="6240" y="12481"/>
                  </a:moveTo>
                  <a:cubicBezTo>
                    <a:pt x="2802" y="12481"/>
                    <a:pt x="0" y="9679"/>
                    <a:pt x="0" y="6240"/>
                  </a:cubicBezTo>
                  <a:cubicBezTo>
                    <a:pt x="0" y="2802"/>
                    <a:pt x="2802" y="0"/>
                    <a:pt x="6240" y="0"/>
                  </a:cubicBezTo>
                  <a:lnTo>
                    <a:pt x="57056" y="0"/>
                  </a:lnTo>
                  <a:cubicBezTo>
                    <a:pt x="60494" y="0"/>
                    <a:pt x="63296" y="2802"/>
                    <a:pt x="63296" y="6240"/>
                  </a:cubicBezTo>
                  <a:cubicBezTo>
                    <a:pt x="63296" y="9679"/>
                    <a:pt x="60494" y="12481"/>
                    <a:pt x="57056" y="12481"/>
                  </a:cubicBezTo>
                  <a:lnTo>
                    <a:pt x="6240" y="12481"/>
                  </a:lnTo>
                  <a:close/>
                </a:path>
              </a:pathLst>
            </a:custGeom>
            <a:grpFill/>
            <a:ln w="12733" cap="flat">
              <a:noFill/>
              <a:prstDash val="solid"/>
              <a:miter/>
            </a:ln>
          </p:spPr>
          <p:txBody>
            <a:bodyPr rtlCol="0" anchor="ctr"/>
            <a:lstStyle/>
            <a:p>
              <a:endParaRPr lang="ru-RU"/>
            </a:p>
          </p:txBody>
        </p:sp>
        <p:sp>
          <p:nvSpPr>
            <p:cNvPr id="78" name="Полилиния: фигура 77">
              <a:extLst>
                <a:ext uri="{FF2B5EF4-FFF2-40B4-BE49-F238E27FC236}">
                  <a16:creationId xmlns:a16="http://schemas.microsoft.com/office/drawing/2014/main" id="{AC9E1BED-EDEB-4538-B876-1411E555F1FF}"/>
                </a:ext>
              </a:extLst>
            </p:cNvPr>
            <p:cNvSpPr/>
            <p:nvPr/>
          </p:nvSpPr>
          <p:spPr>
            <a:xfrm>
              <a:off x="9594351" y="4897650"/>
              <a:ext cx="187072" cy="187212"/>
            </a:xfrm>
            <a:custGeom>
              <a:avLst/>
              <a:gdLst>
                <a:gd name="connsiteX0" fmla="*/ 6356 w 187072"/>
                <a:gd name="connsiteY0" fmla="*/ 187212 h 187212"/>
                <a:gd name="connsiteX1" fmla="*/ 1899 w 187072"/>
                <a:gd name="connsiteY1" fmla="*/ 185302 h 187212"/>
                <a:gd name="connsiteX2" fmla="*/ 243 w 187072"/>
                <a:gd name="connsiteY2" fmla="*/ 179062 h 187212"/>
                <a:gd name="connsiteX3" fmla="*/ 16290 w 187072"/>
                <a:gd name="connsiteY3" fmla="*/ 123662 h 187212"/>
                <a:gd name="connsiteX4" fmla="*/ 17945 w 187072"/>
                <a:gd name="connsiteY4" fmla="*/ 120988 h 187212"/>
                <a:gd name="connsiteX5" fmla="*/ 137022 w 187072"/>
                <a:gd name="connsiteY5" fmla="*/ 1910 h 187212"/>
                <a:gd name="connsiteX6" fmla="*/ 141480 w 187072"/>
                <a:gd name="connsiteY6" fmla="*/ 0 h 187212"/>
                <a:gd name="connsiteX7" fmla="*/ 145937 w 187072"/>
                <a:gd name="connsiteY7" fmla="*/ 1910 h 187212"/>
                <a:gd name="connsiteX8" fmla="*/ 185291 w 187072"/>
                <a:gd name="connsiteY8" fmla="*/ 41263 h 187212"/>
                <a:gd name="connsiteX9" fmla="*/ 187073 w 187072"/>
                <a:gd name="connsiteY9" fmla="*/ 45721 h 187212"/>
                <a:gd name="connsiteX10" fmla="*/ 185291 w 187072"/>
                <a:gd name="connsiteY10" fmla="*/ 50178 h 187212"/>
                <a:gd name="connsiteX11" fmla="*/ 66213 w 187072"/>
                <a:gd name="connsiteY11" fmla="*/ 169255 h 187212"/>
                <a:gd name="connsiteX12" fmla="*/ 63539 w 187072"/>
                <a:gd name="connsiteY12" fmla="*/ 170911 h 187212"/>
                <a:gd name="connsiteX13" fmla="*/ 8139 w 187072"/>
                <a:gd name="connsiteY13" fmla="*/ 186958 h 187212"/>
                <a:gd name="connsiteX14" fmla="*/ 6356 w 187072"/>
                <a:gd name="connsiteY14" fmla="*/ 187212 h 187212"/>
                <a:gd name="connsiteX15" fmla="*/ 28134 w 187072"/>
                <a:gd name="connsiteY15" fmla="*/ 128756 h 187212"/>
                <a:gd name="connsiteX16" fmla="*/ 15781 w 187072"/>
                <a:gd name="connsiteY16" fmla="*/ 171166 h 187212"/>
                <a:gd name="connsiteX17" fmla="*/ 58444 w 187072"/>
                <a:gd name="connsiteY17" fmla="*/ 159321 h 187212"/>
                <a:gd name="connsiteX18" fmla="*/ 171791 w 187072"/>
                <a:gd name="connsiteY18" fmla="*/ 45975 h 187212"/>
                <a:gd name="connsiteX19" fmla="*/ 141608 w 187072"/>
                <a:gd name="connsiteY19" fmla="*/ 15410 h 187212"/>
                <a:gd name="connsiteX20" fmla="*/ 28134 w 187072"/>
                <a:gd name="connsiteY20" fmla="*/ 128756 h 18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7072" h="187212">
                  <a:moveTo>
                    <a:pt x="6356" y="187212"/>
                  </a:moveTo>
                  <a:cubicBezTo>
                    <a:pt x="4701" y="187212"/>
                    <a:pt x="3045" y="186576"/>
                    <a:pt x="1899" y="185302"/>
                  </a:cubicBezTo>
                  <a:cubicBezTo>
                    <a:pt x="243" y="183646"/>
                    <a:pt x="-394" y="181354"/>
                    <a:pt x="243" y="179062"/>
                  </a:cubicBezTo>
                  <a:lnTo>
                    <a:pt x="16290" y="123662"/>
                  </a:lnTo>
                  <a:cubicBezTo>
                    <a:pt x="16545" y="122643"/>
                    <a:pt x="17181" y="121752"/>
                    <a:pt x="17945" y="120988"/>
                  </a:cubicBezTo>
                  <a:lnTo>
                    <a:pt x="137022" y="1910"/>
                  </a:lnTo>
                  <a:cubicBezTo>
                    <a:pt x="138169" y="764"/>
                    <a:pt x="139825" y="0"/>
                    <a:pt x="141480" y="0"/>
                  </a:cubicBezTo>
                  <a:cubicBezTo>
                    <a:pt x="143136" y="0"/>
                    <a:pt x="144792" y="637"/>
                    <a:pt x="145937" y="1910"/>
                  </a:cubicBezTo>
                  <a:lnTo>
                    <a:pt x="185291" y="41263"/>
                  </a:lnTo>
                  <a:cubicBezTo>
                    <a:pt x="186436" y="42409"/>
                    <a:pt x="187073" y="44065"/>
                    <a:pt x="187073" y="45721"/>
                  </a:cubicBezTo>
                  <a:cubicBezTo>
                    <a:pt x="187073" y="47376"/>
                    <a:pt x="186436" y="49032"/>
                    <a:pt x="185291" y="50178"/>
                  </a:cubicBezTo>
                  <a:lnTo>
                    <a:pt x="66213" y="169255"/>
                  </a:lnTo>
                  <a:cubicBezTo>
                    <a:pt x="65449" y="170019"/>
                    <a:pt x="64557" y="170529"/>
                    <a:pt x="63539" y="170911"/>
                  </a:cubicBezTo>
                  <a:lnTo>
                    <a:pt x="8139" y="186958"/>
                  </a:lnTo>
                  <a:cubicBezTo>
                    <a:pt x="7502" y="187085"/>
                    <a:pt x="6993" y="187212"/>
                    <a:pt x="6356" y="187212"/>
                  </a:cubicBezTo>
                  <a:close/>
                  <a:moveTo>
                    <a:pt x="28134" y="128756"/>
                  </a:moveTo>
                  <a:lnTo>
                    <a:pt x="15781" y="171166"/>
                  </a:lnTo>
                  <a:lnTo>
                    <a:pt x="58444" y="159321"/>
                  </a:lnTo>
                  <a:lnTo>
                    <a:pt x="171791" y="45975"/>
                  </a:lnTo>
                  <a:lnTo>
                    <a:pt x="141608" y="15410"/>
                  </a:lnTo>
                  <a:lnTo>
                    <a:pt x="28134" y="128756"/>
                  </a:lnTo>
                  <a:close/>
                </a:path>
              </a:pathLst>
            </a:custGeom>
            <a:grpFill/>
            <a:ln w="12733" cap="flat">
              <a:noFill/>
              <a:prstDash val="solid"/>
              <a:miter/>
            </a:ln>
          </p:spPr>
          <p:txBody>
            <a:bodyPr rtlCol="0" anchor="ctr"/>
            <a:lstStyle/>
            <a:p>
              <a:endParaRPr lang="ru-RU"/>
            </a:p>
          </p:txBody>
        </p:sp>
        <p:sp>
          <p:nvSpPr>
            <p:cNvPr id="79" name="Полилиния: фигура 78">
              <a:extLst>
                <a:ext uri="{FF2B5EF4-FFF2-40B4-BE49-F238E27FC236}">
                  <a16:creationId xmlns:a16="http://schemas.microsoft.com/office/drawing/2014/main" id="{D25DF46B-7BD7-41A0-AF91-8F86BD597AFB}"/>
                </a:ext>
              </a:extLst>
            </p:cNvPr>
            <p:cNvSpPr/>
            <p:nvPr/>
          </p:nvSpPr>
          <p:spPr>
            <a:xfrm>
              <a:off x="9610514" y="5016727"/>
              <a:ext cx="51833" cy="52088"/>
            </a:xfrm>
            <a:custGeom>
              <a:avLst/>
              <a:gdLst>
                <a:gd name="connsiteX0" fmla="*/ 45593 w 51833"/>
                <a:gd name="connsiteY0" fmla="*/ 52088 h 52088"/>
                <a:gd name="connsiteX1" fmla="*/ 41136 w 51833"/>
                <a:gd name="connsiteY1" fmla="*/ 50178 h 52088"/>
                <a:gd name="connsiteX2" fmla="*/ 1783 w 51833"/>
                <a:gd name="connsiteY2" fmla="*/ 10825 h 52088"/>
                <a:gd name="connsiteX3" fmla="*/ 0 w 51833"/>
                <a:gd name="connsiteY3" fmla="*/ 6368 h 52088"/>
                <a:gd name="connsiteX4" fmla="*/ 1783 w 51833"/>
                <a:gd name="connsiteY4" fmla="*/ 1910 h 52088"/>
                <a:gd name="connsiteX5" fmla="*/ 6240 w 51833"/>
                <a:gd name="connsiteY5" fmla="*/ 0 h 52088"/>
                <a:gd name="connsiteX6" fmla="*/ 10698 w 51833"/>
                <a:gd name="connsiteY6" fmla="*/ 1910 h 52088"/>
                <a:gd name="connsiteX7" fmla="*/ 50051 w 51833"/>
                <a:gd name="connsiteY7" fmla="*/ 41263 h 52088"/>
                <a:gd name="connsiteX8" fmla="*/ 51834 w 51833"/>
                <a:gd name="connsiteY8" fmla="*/ 45721 h 52088"/>
                <a:gd name="connsiteX9" fmla="*/ 50051 w 51833"/>
                <a:gd name="connsiteY9" fmla="*/ 50178 h 52088"/>
                <a:gd name="connsiteX10" fmla="*/ 45593 w 51833"/>
                <a:gd name="connsiteY10" fmla="*/ 52088 h 5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33" h="52088">
                  <a:moveTo>
                    <a:pt x="45593" y="52088"/>
                  </a:moveTo>
                  <a:cubicBezTo>
                    <a:pt x="43938" y="52088"/>
                    <a:pt x="42282" y="51451"/>
                    <a:pt x="41136" y="50178"/>
                  </a:cubicBezTo>
                  <a:lnTo>
                    <a:pt x="1783" y="10825"/>
                  </a:lnTo>
                  <a:cubicBezTo>
                    <a:pt x="637" y="9679"/>
                    <a:pt x="0" y="8023"/>
                    <a:pt x="0" y="6368"/>
                  </a:cubicBezTo>
                  <a:cubicBezTo>
                    <a:pt x="0" y="4712"/>
                    <a:pt x="637" y="3056"/>
                    <a:pt x="1783" y="1910"/>
                  </a:cubicBezTo>
                  <a:cubicBezTo>
                    <a:pt x="2929" y="764"/>
                    <a:pt x="4585" y="0"/>
                    <a:pt x="6240" y="0"/>
                  </a:cubicBezTo>
                  <a:cubicBezTo>
                    <a:pt x="7896" y="0"/>
                    <a:pt x="9552" y="637"/>
                    <a:pt x="10698" y="1910"/>
                  </a:cubicBezTo>
                  <a:lnTo>
                    <a:pt x="50051" y="41263"/>
                  </a:lnTo>
                  <a:cubicBezTo>
                    <a:pt x="51197" y="42409"/>
                    <a:pt x="51834" y="44065"/>
                    <a:pt x="51834" y="45721"/>
                  </a:cubicBezTo>
                  <a:cubicBezTo>
                    <a:pt x="51834" y="47376"/>
                    <a:pt x="51197" y="49032"/>
                    <a:pt x="50051" y="50178"/>
                  </a:cubicBezTo>
                  <a:cubicBezTo>
                    <a:pt x="48777" y="51451"/>
                    <a:pt x="47249" y="52088"/>
                    <a:pt x="45593" y="52088"/>
                  </a:cubicBezTo>
                  <a:close/>
                </a:path>
              </a:pathLst>
            </a:custGeom>
            <a:grpFill/>
            <a:ln w="12733" cap="flat">
              <a:noFill/>
              <a:prstDash val="solid"/>
              <a:miter/>
            </a:ln>
          </p:spPr>
          <p:txBody>
            <a:bodyPr rtlCol="0" anchor="ctr"/>
            <a:lstStyle/>
            <a:p>
              <a:endParaRPr lang="ru-RU"/>
            </a:p>
          </p:txBody>
        </p:sp>
        <p:sp>
          <p:nvSpPr>
            <p:cNvPr id="80" name="Полилиния: фигура 79">
              <a:extLst>
                <a:ext uri="{FF2B5EF4-FFF2-40B4-BE49-F238E27FC236}">
                  <a16:creationId xmlns:a16="http://schemas.microsoft.com/office/drawing/2014/main" id="{4613ABF5-333C-4FD8-8FF4-02EDC965E524}"/>
                </a:ext>
              </a:extLst>
            </p:cNvPr>
            <p:cNvSpPr/>
            <p:nvPr/>
          </p:nvSpPr>
          <p:spPr>
            <a:xfrm>
              <a:off x="9729559" y="4868485"/>
              <a:ext cx="81411" cy="81252"/>
            </a:xfrm>
            <a:custGeom>
              <a:avLst/>
              <a:gdLst>
                <a:gd name="connsiteX0" fmla="*/ 45625 w 81411"/>
                <a:gd name="connsiteY0" fmla="*/ 81253 h 81252"/>
                <a:gd name="connsiteX1" fmla="*/ 41168 w 81411"/>
                <a:gd name="connsiteY1" fmla="*/ 79470 h 81252"/>
                <a:gd name="connsiteX2" fmla="*/ 1815 w 81411"/>
                <a:gd name="connsiteY2" fmla="*/ 40117 h 81252"/>
                <a:gd name="connsiteX3" fmla="*/ 1815 w 81411"/>
                <a:gd name="connsiteY3" fmla="*/ 31202 h 81252"/>
                <a:gd name="connsiteX4" fmla="*/ 31234 w 81411"/>
                <a:gd name="connsiteY4" fmla="*/ 1783 h 81252"/>
                <a:gd name="connsiteX5" fmla="*/ 35692 w 81411"/>
                <a:gd name="connsiteY5" fmla="*/ 0 h 81252"/>
                <a:gd name="connsiteX6" fmla="*/ 40149 w 81411"/>
                <a:gd name="connsiteY6" fmla="*/ 1783 h 81252"/>
                <a:gd name="connsiteX7" fmla="*/ 79502 w 81411"/>
                <a:gd name="connsiteY7" fmla="*/ 41136 h 81252"/>
                <a:gd name="connsiteX8" fmla="*/ 81412 w 81411"/>
                <a:gd name="connsiteY8" fmla="*/ 45593 h 81252"/>
                <a:gd name="connsiteX9" fmla="*/ 79502 w 81411"/>
                <a:gd name="connsiteY9" fmla="*/ 50051 h 81252"/>
                <a:gd name="connsiteX10" fmla="*/ 50083 w 81411"/>
                <a:gd name="connsiteY10" fmla="*/ 79470 h 81252"/>
                <a:gd name="connsiteX11" fmla="*/ 45625 w 81411"/>
                <a:gd name="connsiteY11" fmla="*/ 81253 h 81252"/>
                <a:gd name="connsiteX12" fmla="*/ 15442 w 81411"/>
                <a:gd name="connsiteY12" fmla="*/ 35405 h 81252"/>
                <a:gd name="connsiteX13" fmla="*/ 45371 w 81411"/>
                <a:gd name="connsiteY13" fmla="*/ 65843 h 81252"/>
                <a:gd name="connsiteX14" fmla="*/ 65875 w 81411"/>
                <a:gd name="connsiteY14" fmla="*/ 45721 h 81252"/>
                <a:gd name="connsiteX15" fmla="*/ 35692 w 81411"/>
                <a:gd name="connsiteY15" fmla="*/ 15155 h 81252"/>
                <a:gd name="connsiteX16" fmla="*/ 15442 w 81411"/>
                <a:gd name="connsiteY16" fmla="*/ 35405 h 8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411" h="81252">
                  <a:moveTo>
                    <a:pt x="45625" y="81253"/>
                  </a:moveTo>
                  <a:cubicBezTo>
                    <a:pt x="43969" y="81253"/>
                    <a:pt x="42314" y="80616"/>
                    <a:pt x="41168" y="79470"/>
                  </a:cubicBezTo>
                  <a:lnTo>
                    <a:pt x="1815" y="40117"/>
                  </a:lnTo>
                  <a:cubicBezTo>
                    <a:pt x="-605" y="37697"/>
                    <a:pt x="-605" y="33622"/>
                    <a:pt x="1815" y="31202"/>
                  </a:cubicBezTo>
                  <a:lnTo>
                    <a:pt x="31234" y="1783"/>
                  </a:lnTo>
                  <a:cubicBezTo>
                    <a:pt x="32380" y="637"/>
                    <a:pt x="34036" y="0"/>
                    <a:pt x="35692" y="0"/>
                  </a:cubicBezTo>
                  <a:cubicBezTo>
                    <a:pt x="37347" y="0"/>
                    <a:pt x="39003" y="637"/>
                    <a:pt x="40149" y="1783"/>
                  </a:cubicBezTo>
                  <a:lnTo>
                    <a:pt x="79502" y="41136"/>
                  </a:lnTo>
                  <a:cubicBezTo>
                    <a:pt x="80648" y="42282"/>
                    <a:pt x="81412" y="43938"/>
                    <a:pt x="81412" y="45593"/>
                  </a:cubicBezTo>
                  <a:cubicBezTo>
                    <a:pt x="81412" y="47249"/>
                    <a:pt x="80775" y="48904"/>
                    <a:pt x="79502" y="50051"/>
                  </a:cubicBezTo>
                  <a:lnTo>
                    <a:pt x="50083" y="79470"/>
                  </a:lnTo>
                  <a:cubicBezTo>
                    <a:pt x="48936" y="80616"/>
                    <a:pt x="47281" y="81253"/>
                    <a:pt x="45625" y="81253"/>
                  </a:cubicBezTo>
                  <a:close/>
                  <a:moveTo>
                    <a:pt x="15442" y="35405"/>
                  </a:moveTo>
                  <a:lnTo>
                    <a:pt x="45371" y="65843"/>
                  </a:lnTo>
                  <a:lnTo>
                    <a:pt x="65875" y="45721"/>
                  </a:lnTo>
                  <a:lnTo>
                    <a:pt x="35692" y="15155"/>
                  </a:lnTo>
                  <a:lnTo>
                    <a:pt x="15442" y="35405"/>
                  </a:lnTo>
                  <a:close/>
                </a:path>
              </a:pathLst>
            </a:custGeom>
            <a:grpFill/>
            <a:ln w="12733" cap="flat">
              <a:noFill/>
              <a:prstDash val="solid"/>
              <a:miter/>
            </a:ln>
          </p:spPr>
          <p:txBody>
            <a:bodyPr rtlCol="0" anchor="ctr"/>
            <a:lstStyle/>
            <a:p>
              <a:endParaRPr lang="ru-RU"/>
            </a:p>
          </p:txBody>
        </p:sp>
      </p:grpSp>
      <p:grpSp>
        <p:nvGrpSpPr>
          <p:cNvPr id="81" name="Группа 80">
            <a:extLst>
              <a:ext uri="{FF2B5EF4-FFF2-40B4-BE49-F238E27FC236}">
                <a16:creationId xmlns:a16="http://schemas.microsoft.com/office/drawing/2014/main" id="{3825FFBE-B92E-4D54-B03D-60DA88EC7010}"/>
              </a:ext>
            </a:extLst>
          </p:cNvPr>
          <p:cNvGrpSpPr/>
          <p:nvPr/>
        </p:nvGrpSpPr>
        <p:grpSpPr>
          <a:xfrm>
            <a:off x="5220720" y="3415539"/>
            <a:ext cx="421982" cy="348321"/>
            <a:chOff x="10238793" y="2921594"/>
            <a:chExt cx="421982" cy="348321"/>
          </a:xfrm>
          <a:solidFill>
            <a:schemeClr val="bg1"/>
          </a:solidFill>
          <a:effectLst>
            <a:outerShdw blurRad="50800" dist="12700" sx="102000" sy="102000" algn="ctr" rotWithShape="0">
              <a:schemeClr val="tx2">
                <a:alpha val="40000"/>
              </a:schemeClr>
            </a:outerShdw>
          </a:effectLst>
        </p:grpSpPr>
        <p:sp>
          <p:nvSpPr>
            <p:cNvPr id="82" name="Полилиния: фигура 81">
              <a:extLst>
                <a:ext uri="{FF2B5EF4-FFF2-40B4-BE49-F238E27FC236}">
                  <a16:creationId xmlns:a16="http://schemas.microsoft.com/office/drawing/2014/main" id="{D9828294-71CF-4F56-9499-B69EFE2E2AB3}"/>
                </a:ext>
              </a:extLst>
            </p:cNvPr>
            <p:cNvSpPr/>
            <p:nvPr/>
          </p:nvSpPr>
          <p:spPr>
            <a:xfrm>
              <a:off x="10348262" y="3128788"/>
              <a:ext cx="66623" cy="141127"/>
            </a:xfrm>
            <a:custGeom>
              <a:avLst/>
              <a:gdLst>
                <a:gd name="connsiteX0" fmla="*/ 42465 w 66623"/>
                <a:gd name="connsiteY0" fmla="*/ 141127 h 141127"/>
                <a:gd name="connsiteX1" fmla="*/ 24284 w 66623"/>
                <a:gd name="connsiteY1" fmla="*/ 141127 h 141127"/>
                <a:gd name="connsiteX2" fmla="*/ 0 w 66623"/>
                <a:gd name="connsiteY2" fmla="*/ 116843 h 141127"/>
                <a:gd name="connsiteX3" fmla="*/ 0 w 66623"/>
                <a:gd name="connsiteY3" fmla="*/ 6484 h 141127"/>
                <a:gd name="connsiteX4" fmla="*/ 6484 w 66623"/>
                <a:gd name="connsiteY4" fmla="*/ 0 h 141127"/>
                <a:gd name="connsiteX5" fmla="*/ 60138 w 66623"/>
                <a:gd name="connsiteY5" fmla="*/ 0 h 141127"/>
                <a:gd name="connsiteX6" fmla="*/ 66622 w 66623"/>
                <a:gd name="connsiteY6" fmla="*/ 6484 h 141127"/>
                <a:gd name="connsiteX7" fmla="*/ 66622 w 66623"/>
                <a:gd name="connsiteY7" fmla="*/ 116843 h 141127"/>
                <a:gd name="connsiteX8" fmla="*/ 42465 w 66623"/>
                <a:gd name="connsiteY8" fmla="*/ 141127 h 141127"/>
                <a:gd name="connsiteX9" fmla="*/ 13095 w 66623"/>
                <a:gd name="connsiteY9" fmla="*/ 12968 h 141127"/>
                <a:gd name="connsiteX10" fmla="*/ 13095 w 66623"/>
                <a:gd name="connsiteY10" fmla="*/ 116843 h 141127"/>
                <a:gd name="connsiteX11" fmla="*/ 24284 w 66623"/>
                <a:gd name="connsiteY11" fmla="*/ 128032 h 141127"/>
                <a:gd name="connsiteX12" fmla="*/ 42465 w 66623"/>
                <a:gd name="connsiteY12" fmla="*/ 128032 h 141127"/>
                <a:gd name="connsiteX13" fmla="*/ 53653 w 66623"/>
                <a:gd name="connsiteY13" fmla="*/ 116843 h 141127"/>
                <a:gd name="connsiteX14" fmla="*/ 53653 w 66623"/>
                <a:gd name="connsiteY14" fmla="*/ 12968 h 141127"/>
                <a:gd name="connsiteX15" fmla="*/ 13095 w 66623"/>
                <a:gd name="connsiteY15" fmla="*/ 12968 h 14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623" h="141127">
                  <a:moveTo>
                    <a:pt x="42465" y="141127"/>
                  </a:moveTo>
                  <a:lnTo>
                    <a:pt x="24284" y="141127"/>
                  </a:lnTo>
                  <a:cubicBezTo>
                    <a:pt x="10934" y="141127"/>
                    <a:pt x="0" y="130193"/>
                    <a:pt x="0" y="116843"/>
                  </a:cubicBezTo>
                  <a:lnTo>
                    <a:pt x="0" y="6484"/>
                  </a:lnTo>
                  <a:cubicBezTo>
                    <a:pt x="0" y="2924"/>
                    <a:pt x="2924" y="0"/>
                    <a:pt x="6484" y="0"/>
                  </a:cubicBezTo>
                  <a:lnTo>
                    <a:pt x="60138" y="0"/>
                  </a:lnTo>
                  <a:cubicBezTo>
                    <a:pt x="63698" y="0"/>
                    <a:pt x="66622" y="2924"/>
                    <a:pt x="66622" y="6484"/>
                  </a:cubicBezTo>
                  <a:lnTo>
                    <a:pt x="66622" y="116843"/>
                  </a:lnTo>
                  <a:cubicBezTo>
                    <a:pt x="66749" y="130193"/>
                    <a:pt x="55815" y="141127"/>
                    <a:pt x="42465" y="141127"/>
                  </a:cubicBezTo>
                  <a:close/>
                  <a:moveTo>
                    <a:pt x="13095" y="12968"/>
                  </a:moveTo>
                  <a:lnTo>
                    <a:pt x="13095" y="116843"/>
                  </a:lnTo>
                  <a:cubicBezTo>
                    <a:pt x="13095" y="123073"/>
                    <a:pt x="18181" y="128032"/>
                    <a:pt x="24284" y="128032"/>
                  </a:cubicBezTo>
                  <a:lnTo>
                    <a:pt x="42465" y="128032"/>
                  </a:lnTo>
                  <a:cubicBezTo>
                    <a:pt x="48695" y="128032"/>
                    <a:pt x="53653" y="122946"/>
                    <a:pt x="53653" y="116843"/>
                  </a:cubicBezTo>
                  <a:lnTo>
                    <a:pt x="53653" y="12968"/>
                  </a:lnTo>
                  <a:lnTo>
                    <a:pt x="13095" y="12968"/>
                  </a:lnTo>
                  <a:close/>
                </a:path>
              </a:pathLst>
            </a:custGeom>
            <a:grpFill/>
            <a:ln w="12704" cap="flat">
              <a:noFill/>
              <a:prstDash val="solid"/>
              <a:miter/>
            </a:ln>
          </p:spPr>
          <p:txBody>
            <a:bodyPr rtlCol="0" anchor="ctr"/>
            <a:lstStyle/>
            <a:p>
              <a:endParaRPr lang="ru-RU"/>
            </a:p>
          </p:txBody>
        </p:sp>
        <p:sp>
          <p:nvSpPr>
            <p:cNvPr id="83" name="Полилиния: фигура 82">
              <a:extLst>
                <a:ext uri="{FF2B5EF4-FFF2-40B4-BE49-F238E27FC236}">
                  <a16:creationId xmlns:a16="http://schemas.microsoft.com/office/drawing/2014/main" id="{3E6408F5-F8AA-43C2-91FD-3EB39B3E62B0}"/>
                </a:ext>
              </a:extLst>
            </p:cNvPr>
            <p:cNvSpPr/>
            <p:nvPr/>
          </p:nvSpPr>
          <p:spPr>
            <a:xfrm>
              <a:off x="10238793" y="2993509"/>
              <a:ext cx="215890" cy="148247"/>
            </a:xfrm>
            <a:custGeom>
              <a:avLst/>
              <a:gdLst>
                <a:gd name="connsiteX0" fmla="*/ 209402 w 215890"/>
                <a:gd name="connsiteY0" fmla="*/ 148247 h 148247"/>
                <a:gd name="connsiteX1" fmla="*/ 39032 w 215890"/>
                <a:gd name="connsiteY1" fmla="*/ 148247 h 148247"/>
                <a:gd name="connsiteX2" fmla="*/ 0 w 215890"/>
                <a:gd name="connsiteY2" fmla="*/ 109215 h 148247"/>
                <a:gd name="connsiteX3" fmla="*/ 0 w 215890"/>
                <a:gd name="connsiteY3" fmla="*/ 39033 h 148247"/>
                <a:gd name="connsiteX4" fmla="*/ 39032 w 215890"/>
                <a:gd name="connsiteY4" fmla="*/ 0 h 148247"/>
                <a:gd name="connsiteX5" fmla="*/ 209402 w 215890"/>
                <a:gd name="connsiteY5" fmla="*/ 0 h 148247"/>
                <a:gd name="connsiteX6" fmla="*/ 215886 w 215890"/>
                <a:gd name="connsiteY6" fmla="*/ 6484 h 148247"/>
                <a:gd name="connsiteX7" fmla="*/ 215886 w 215890"/>
                <a:gd name="connsiteY7" fmla="*/ 141763 h 148247"/>
                <a:gd name="connsiteX8" fmla="*/ 209402 w 215890"/>
                <a:gd name="connsiteY8" fmla="*/ 148247 h 148247"/>
                <a:gd name="connsiteX9" fmla="*/ 39032 w 215890"/>
                <a:gd name="connsiteY9" fmla="*/ 13096 h 148247"/>
                <a:gd name="connsiteX10" fmla="*/ 13095 w 215890"/>
                <a:gd name="connsiteY10" fmla="*/ 39033 h 148247"/>
                <a:gd name="connsiteX11" fmla="*/ 13095 w 215890"/>
                <a:gd name="connsiteY11" fmla="*/ 109215 h 148247"/>
                <a:gd name="connsiteX12" fmla="*/ 39032 w 215890"/>
                <a:gd name="connsiteY12" fmla="*/ 135152 h 148247"/>
                <a:gd name="connsiteX13" fmla="*/ 202790 w 215890"/>
                <a:gd name="connsiteY13" fmla="*/ 135152 h 148247"/>
                <a:gd name="connsiteX14" fmla="*/ 202790 w 215890"/>
                <a:gd name="connsiteY14" fmla="*/ 12968 h 148247"/>
                <a:gd name="connsiteX15" fmla="*/ 39032 w 215890"/>
                <a:gd name="connsiteY15" fmla="*/ 12968 h 148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890" h="148247">
                  <a:moveTo>
                    <a:pt x="209402" y="148247"/>
                  </a:moveTo>
                  <a:lnTo>
                    <a:pt x="39032" y="148247"/>
                  </a:lnTo>
                  <a:cubicBezTo>
                    <a:pt x="17545" y="148247"/>
                    <a:pt x="0" y="130702"/>
                    <a:pt x="0" y="109215"/>
                  </a:cubicBezTo>
                  <a:lnTo>
                    <a:pt x="0" y="39033"/>
                  </a:lnTo>
                  <a:cubicBezTo>
                    <a:pt x="0" y="17546"/>
                    <a:pt x="17545" y="0"/>
                    <a:pt x="39032" y="0"/>
                  </a:cubicBezTo>
                  <a:lnTo>
                    <a:pt x="209402" y="0"/>
                  </a:lnTo>
                  <a:cubicBezTo>
                    <a:pt x="212962" y="0"/>
                    <a:pt x="215886" y="2924"/>
                    <a:pt x="215886" y="6484"/>
                  </a:cubicBezTo>
                  <a:lnTo>
                    <a:pt x="215886" y="141763"/>
                  </a:lnTo>
                  <a:cubicBezTo>
                    <a:pt x="216014" y="145323"/>
                    <a:pt x="213089" y="148247"/>
                    <a:pt x="209402" y="148247"/>
                  </a:cubicBezTo>
                  <a:close/>
                  <a:moveTo>
                    <a:pt x="39032" y="13096"/>
                  </a:moveTo>
                  <a:cubicBezTo>
                    <a:pt x="24666" y="13096"/>
                    <a:pt x="13095" y="24793"/>
                    <a:pt x="13095" y="39033"/>
                  </a:cubicBezTo>
                  <a:lnTo>
                    <a:pt x="13095" y="109215"/>
                  </a:lnTo>
                  <a:cubicBezTo>
                    <a:pt x="13095" y="123582"/>
                    <a:pt x="24792" y="135152"/>
                    <a:pt x="39032" y="135152"/>
                  </a:cubicBezTo>
                  <a:lnTo>
                    <a:pt x="202790" y="135152"/>
                  </a:lnTo>
                  <a:lnTo>
                    <a:pt x="202790" y="12968"/>
                  </a:lnTo>
                  <a:lnTo>
                    <a:pt x="39032" y="12968"/>
                  </a:lnTo>
                  <a:close/>
                </a:path>
              </a:pathLst>
            </a:custGeom>
            <a:grpFill/>
            <a:ln w="12704" cap="flat">
              <a:noFill/>
              <a:prstDash val="solid"/>
              <a:miter/>
            </a:ln>
          </p:spPr>
          <p:txBody>
            <a:bodyPr rtlCol="0" anchor="ctr"/>
            <a:lstStyle/>
            <a:p>
              <a:endParaRPr lang="ru-RU"/>
            </a:p>
          </p:txBody>
        </p:sp>
        <p:sp>
          <p:nvSpPr>
            <p:cNvPr id="84" name="Полилиния: фигура 83">
              <a:extLst>
                <a:ext uri="{FF2B5EF4-FFF2-40B4-BE49-F238E27FC236}">
                  <a16:creationId xmlns:a16="http://schemas.microsoft.com/office/drawing/2014/main" id="{7DF6C1F8-281A-48B8-82F5-CAA85031CD7B}"/>
                </a:ext>
              </a:extLst>
            </p:cNvPr>
            <p:cNvSpPr/>
            <p:nvPr/>
          </p:nvSpPr>
          <p:spPr>
            <a:xfrm>
              <a:off x="10441583" y="2921594"/>
              <a:ext cx="219192" cy="291108"/>
            </a:xfrm>
            <a:custGeom>
              <a:avLst/>
              <a:gdLst>
                <a:gd name="connsiteX0" fmla="*/ 212709 w 219192"/>
                <a:gd name="connsiteY0" fmla="*/ 291108 h 291108"/>
                <a:gd name="connsiteX1" fmla="*/ 210547 w 219192"/>
                <a:gd name="connsiteY1" fmla="*/ 290727 h 291108"/>
                <a:gd name="connsiteX2" fmla="*/ 4450 w 219192"/>
                <a:gd name="connsiteY2" fmla="*/ 219909 h 291108"/>
                <a:gd name="connsiteX3" fmla="*/ 0 w 219192"/>
                <a:gd name="connsiteY3" fmla="*/ 213679 h 291108"/>
                <a:gd name="connsiteX4" fmla="*/ 0 w 219192"/>
                <a:gd name="connsiteY4" fmla="*/ 78400 h 291108"/>
                <a:gd name="connsiteX5" fmla="*/ 4323 w 219192"/>
                <a:gd name="connsiteY5" fmla="*/ 72170 h 291108"/>
                <a:gd name="connsiteX6" fmla="*/ 210420 w 219192"/>
                <a:gd name="connsiteY6" fmla="*/ 335 h 291108"/>
                <a:gd name="connsiteX7" fmla="*/ 216395 w 219192"/>
                <a:gd name="connsiteY7" fmla="*/ 1225 h 291108"/>
                <a:gd name="connsiteX8" fmla="*/ 219193 w 219192"/>
                <a:gd name="connsiteY8" fmla="*/ 6565 h 291108"/>
                <a:gd name="connsiteX9" fmla="*/ 219193 w 219192"/>
                <a:gd name="connsiteY9" fmla="*/ 284624 h 291108"/>
                <a:gd name="connsiteX10" fmla="*/ 216395 w 219192"/>
                <a:gd name="connsiteY10" fmla="*/ 289964 h 291108"/>
                <a:gd name="connsiteX11" fmla="*/ 212709 w 219192"/>
                <a:gd name="connsiteY11" fmla="*/ 291108 h 291108"/>
                <a:gd name="connsiteX12" fmla="*/ 13223 w 219192"/>
                <a:gd name="connsiteY12" fmla="*/ 208975 h 291108"/>
                <a:gd name="connsiteX13" fmla="*/ 206224 w 219192"/>
                <a:gd name="connsiteY13" fmla="*/ 275343 h 291108"/>
                <a:gd name="connsiteX14" fmla="*/ 206224 w 219192"/>
                <a:gd name="connsiteY14" fmla="*/ 15719 h 291108"/>
                <a:gd name="connsiteX15" fmla="*/ 13223 w 219192"/>
                <a:gd name="connsiteY15" fmla="*/ 83104 h 291108"/>
                <a:gd name="connsiteX16" fmla="*/ 13223 w 219192"/>
                <a:gd name="connsiteY16" fmla="*/ 208975 h 29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192" h="291108">
                  <a:moveTo>
                    <a:pt x="212709" y="291108"/>
                  </a:moveTo>
                  <a:cubicBezTo>
                    <a:pt x="211946" y="291108"/>
                    <a:pt x="211309" y="290981"/>
                    <a:pt x="210547" y="290727"/>
                  </a:cubicBezTo>
                  <a:lnTo>
                    <a:pt x="4450" y="219909"/>
                  </a:lnTo>
                  <a:cubicBezTo>
                    <a:pt x="1780" y="219019"/>
                    <a:pt x="0" y="216476"/>
                    <a:pt x="0" y="213679"/>
                  </a:cubicBezTo>
                  <a:lnTo>
                    <a:pt x="0" y="78400"/>
                  </a:lnTo>
                  <a:cubicBezTo>
                    <a:pt x="0" y="75603"/>
                    <a:pt x="1780" y="73187"/>
                    <a:pt x="4323" y="72170"/>
                  </a:cubicBezTo>
                  <a:lnTo>
                    <a:pt x="210420" y="335"/>
                  </a:lnTo>
                  <a:cubicBezTo>
                    <a:pt x="212454" y="-301"/>
                    <a:pt x="214615" y="-46"/>
                    <a:pt x="216395" y="1225"/>
                  </a:cubicBezTo>
                  <a:cubicBezTo>
                    <a:pt x="218176" y="2496"/>
                    <a:pt x="219193" y="4404"/>
                    <a:pt x="219193" y="6565"/>
                  </a:cubicBezTo>
                  <a:lnTo>
                    <a:pt x="219193" y="284624"/>
                  </a:lnTo>
                  <a:cubicBezTo>
                    <a:pt x="219193" y="286785"/>
                    <a:pt x="218176" y="288692"/>
                    <a:pt x="216395" y="289964"/>
                  </a:cubicBezTo>
                  <a:cubicBezTo>
                    <a:pt x="215378" y="290600"/>
                    <a:pt x="214107" y="291108"/>
                    <a:pt x="212709" y="291108"/>
                  </a:cubicBezTo>
                  <a:close/>
                  <a:moveTo>
                    <a:pt x="13223" y="208975"/>
                  </a:moveTo>
                  <a:lnTo>
                    <a:pt x="206224" y="275343"/>
                  </a:lnTo>
                  <a:lnTo>
                    <a:pt x="206224" y="15719"/>
                  </a:lnTo>
                  <a:lnTo>
                    <a:pt x="13223" y="83104"/>
                  </a:lnTo>
                  <a:lnTo>
                    <a:pt x="13223" y="208975"/>
                  </a:lnTo>
                  <a:close/>
                </a:path>
              </a:pathLst>
            </a:custGeom>
            <a:grpFill/>
            <a:ln w="12704" cap="flat">
              <a:noFill/>
              <a:prstDash val="solid"/>
              <a:miter/>
            </a:ln>
          </p:spPr>
          <p:txBody>
            <a:bodyPr rtlCol="0" anchor="ctr"/>
            <a:lstStyle/>
            <a:p>
              <a:endParaRPr lang="ru-RU"/>
            </a:p>
          </p:txBody>
        </p:sp>
      </p:grpSp>
      <p:grpSp>
        <p:nvGrpSpPr>
          <p:cNvPr id="85" name="Рисунок 5">
            <a:extLst>
              <a:ext uri="{FF2B5EF4-FFF2-40B4-BE49-F238E27FC236}">
                <a16:creationId xmlns:a16="http://schemas.microsoft.com/office/drawing/2014/main" id="{E4DE7570-F991-43CF-A70A-EEBD526FD1E7}"/>
              </a:ext>
            </a:extLst>
          </p:cNvPr>
          <p:cNvGrpSpPr/>
          <p:nvPr/>
        </p:nvGrpSpPr>
        <p:grpSpPr>
          <a:xfrm>
            <a:off x="6568181" y="3360799"/>
            <a:ext cx="457802" cy="457802"/>
            <a:chOff x="8547990" y="4794877"/>
            <a:chExt cx="406765" cy="406765"/>
          </a:xfrm>
          <a:solidFill>
            <a:schemeClr val="bg1"/>
          </a:solidFill>
          <a:effectLst>
            <a:outerShdw blurRad="50800" dist="12700" sx="102000" sy="102000" algn="ctr" rotWithShape="0">
              <a:schemeClr val="accent4">
                <a:lumMod val="50000"/>
                <a:alpha val="40000"/>
              </a:schemeClr>
            </a:outerShdw>
          </a:effectLst>
        </p:grpSpPr>
        <p:sp>
          <p:nvSpPr>
            <p:cNvPr id="86" name="Полилиния: фигура 85">
              <a:extLst>
                <a:ext uri="{FF2B5EF4-FFF2-40B4-BE49-F238E27FC236}">
                  <a16:creationId xmlns:a16="http://schemas.microsoft.com/office/drawing/2014/main" id="{AFFC034A-3484-4DF7-B7A6-47F78C7EBCDA}"/>
                </a:ext>
              </a:extLst>
            </p:cNvPr>
            <p:cNvSpPr/>
            <p:nvPr/>
          </p:nvSpPr>
          <p:spPr>
            <a:xfrm>
              <a:off x="8620392" y="4871305"/>
              <a:ext cx="261943" cy="253670"/>
            </a:xfrm>
            <a:custGeom>
              <a:avLst/>
              <a:gdLst>
                <a:gd name="connsiteX0" fmla="*/ 59632 w 261943"/>
                <a:gd name="connsiteY0" fmla="*/ 253657 h 253670"/>
                <a:gd name="connsiteX1" fmla="*/ 50237 w 261943"/>
                <a:gd name="connsiteY1" fmla="*/ 250610 h 253670"/>
                <a:gd name="connsiteX2" fmla="*/ 43889 w 261943"/>
                <a:gd name="connsiteY2" fmla="*/ 234106 h 253670"/>
                <a:gd name="connsiteX3" fmla="*/ 60139 w 261943"/>
                <a:gd name="connsiteY3" fmla="*/ 159202 h 253670"/>
                <a:gd name="connsiteX4" fmla="*/ 5803 w 261943"/>
                <a:gd name="connsiteY4" fmla="*/ 114006 h 253670"/>
                <a:gd name="connsiteX5" fmla="*/ 724 w 261943"/>
                <a:gd name="connsiteY5" fmla="*/ 96994 h 253670"/>
                <a:gd name="connsiteX6" fmla="*/ 14308 w 261943"/>
                <a:gd name="connsiteY6" fmla="*/ 85568 h 253670"/>
                <a:gd name="connsiteX7" fmla="*/ 83245 w 261943"/>
                <a:gd name="connsiteY7" fmla="*/ 77697 h 253670"/>
                <a:gd name="connsiteX8" fmla="*/ 116507 w 261943"/>
                <a:gd name="connsiteY8" fmla="*/ 9141 h 253670"/>
                <a:gd name="connsiteX9" fmla="*/ 130981 w 261943"/>
                <a:gd name="connsiteY9" fmla="*/ 0 h 253670"/>
                <a:gd name="connsiteX10" fmla="*/ 145454 w 261943"/>
                <a:gd name="connsiteY10" fmla="*/ 9141 h 253670"/>
                <a:gd name="connsiteX11" fmla="*/ 178716 w 261943"/>
                <a:gd name="connsiteY11" fmla="*/ 77697 h 253670"/>
                <a:gd name="connsiteX12" fmla="*/ 247653 w 261943"/>
                <a:gd name="connsiteY12" fmla="*/ 85568 h 253670"/>
                <a:gd name="connsiteX13" fmla="*/ 261237 w 261943"/>
                <a:gd name="connsiteY13" fmla="*/ 96994 h 253670"/>
                <a:gd name="connsiteX14" fmla="*/ 256159 w 261943"/>
                <a:gd name="connsiteY14" fmla="*/ 114006 h 253670"/>
                <a:gd name="connsiteX15" fmla="*/ 201822 w 261943"/>
                <a:gd name="connsiteY15" fmla="*/ 159202 h 253670"/>
                <a:gd name="connsiteX16" fmla="*/ 218072 w 261943"/>
                <a:gd name="connsiteY16" fmla="*/ 234106 h 253670"/>
                <a:gd name="connsiteX17" fmla="*/ 211724 w 261943"/>
                <a:gd name="connsiteY17" fmla="*/ 250610 h 253670"/>
                <a:gd name="connsiteX18" fmla="*/ 194078 w 261943"/>
                <a:gd name="connsiteY18" fmla="*/ 251372 h 253670"/>
                <a:gd name="connsiteX19" fmla="*/ 130981 w 261943"/>
                <a:gd name="connsiteY19" fmla="*/ 213539 h 253670"/>
                <a:gd name="connsiteX20" fmla="*/ 67884 w 261943"/>
                <a:gd name="connsiteY20" fmla="*/ 251372 h 253670"/>
                <a:gd name="connsiteX21" fmla="*/ 67884 w 261943"/>
                <a:gd name="connsiteY21" fmla="*/ 251372 h 253670"/>
                <a:gd name="connsiteX22" fmla="*/ 59632 w 261943"/>
                <a:gd name="connsiteY22" fmla="*/ 253657 h 253670"/>
                <a:gd name="connsiteX23" fmla="*/ 64583 w 261943"/>
                <a:gd name="connsiteY23" fmla="*/ 245786 h 253670"/>
                <a:gd name="connsiteX24" fmla="*/ 64583 w 261943"/>
                <a:gd name="connsiteY24" fmla="*/ 245786 h 253670"/>
                <a:gd name="connsiteX25" fmla="*/ 64583 w 261943"/>
                <a:gd name="connsiteY25" fmla="*/ 245786 h 253670"/>
                <a:gd name="connsiteX26" fmla="*/ 130981 w 261943"/>
                <a:gd name="connsiteY26" fmla="*/ 13203 h 253670"/>
                <a:gd name="connsiteX27" fmla="*/ 128188 w 261943"/>
                <a:gd name="connsiteY27" fmla="*/ 14981 h 253670"/>
                <a:gd name="connsiteX28" fmla="*/ 93402 w 261943"/>
                <a:gd name="connsiteY28" fmla="*/ 86838 h 253670"/>
                <a:gd name="connsiteX29" fmla="*/ 88324 w 261943"/>
                <a:gd name="connsiteY29" fmla="*/ 90519 h 253670"/>
                <a:gd name="connsiteX30" fmla="*/ 15832 w 261943"/>
                <a:gd name="connsiteY30" fmla="*/ 98771 h 253670"/>
                <a:gd name="connsiteX31" fmla="*/ 13293 w 261943"/>
                <a:gd name="connsiteY31" fmla="*/ 100930 h 253670"/>
                <a:gd name="connsiteX32" fmla="*/ 14308 w 261943"/>
                <a:gd name="connsiteY32" fmla="*/ 104103 h 253670"/>
                <a:gd name="connsiteX33" fmla="*/ 71693 w 261943"/>
                <a:gd name="connsiteY33" fmla="*/ 151839 h 253670"/>
                <a:gd name="connsiteX34" fmla="*/ 73851 w 261943"/>
                <a:gd name="connsiteY34" fmla="*/ 158186 h 253670"/>
                <a:gd name="connsiteX35" fmla="*/ 56712 w 261943"/>
                <a:gd name="connsiteY35" fmla="*/ 236899 h 253670"/>
                <a:gd name="connsiteX36" fmla="*/ 57854 w 261943"/>
                <a:gd name="connsiteY36" fmla="*/ 240073 h 253670"/>
                <a:gd name="connsiteX37" fmla="*/ 61155 w 261943"/>
                <a:gd name="connsiteY37" fmla="*/ 240200 h 253670"/>
                <a:gd name="connsiteX38" fmla="*/ 127553 w 261943"/>
                <a:gd name="connsiteY38" fmla="*/ 200336 h 253670"/>
                <a:gd name="connsiteX39" fmla="*/ 134282 w 261943"/>
                <a:gd name="connsiteY39" fmla="*/ 200336 h 253670"/>
                <a:gd name="connsiteX40" fmla="*/ 200679 w 261943"/>
                <a:gd name="connsiteY40" fmla="*/ 240200 h 253670"/>
                <a:gd name="connsiteX41" fmla="*/ 203980 w 261943"/>
                <a:gd name="connsiteY41" fmla="*/ 240073 h 253670"/>
                <a:gd name="connsiteX42" fmla="*/ 205123 w 261943"/>
                <a:gd name="connsiteY42" fmla="*/ 236899 h 253670"/>
                <a:gd name="connsiteX43" fmla="*/ 187983 w 261943"/>
                <a:gd name="connsiteY43" fmla="*/ 158186 h 253670"/>
                <a:gd name="connsiteX44" fmla="*/ 190142 w 261943"/>
                <a:gd name="connsiteY44" fmla="*/ 151839 h 253670"/>
                <a:gd name="connsiteX45" fmla="*/ 247526 w 261943"/>
                <a:gd name="connsiteY45" fmla="*/ 104103 h 253670"/>
                <a:gd name="connsiteX46" fmla="*/ 248541 w 261943"/>
                <a:gd name="connsiteY46" fmla="*/ 100930 h 253670"/>
                <a:gd name="connsiteX47" fmla="*/ 246002 w 261943"/>
                <a:gd name="connsiteY47" fmla="*/ 98771 h 253670"/>
                <a:gd name="connsiteX48" fmla="*/ 173510 w 261943"/>
                <a:gd name="connsiteY48" fmla="*/ 90519 h 253670"/>
                <a:gd name="connsiteX49" fmla="*/ 168433 w 261943"/>
                <a:gd name="connsiteY49" fmla="*/ 86838 h 253670"/>
                <a:gd name="connsiteX50" fmla="*/ 133647 w 261943"/>
                <a:gd name="connsiteY50" fmla="*/ 14981 h 253670"/>
                <a:gd name="connsiteX51" fmla="*/ 130981 w 261943"/>
                <a:gd name="connsiteY51" fmla="*/ 13203 h 25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61943" h="253670">
                  <a:moveTo>
                    <a:pt x="59632" y="253657"/>
                  </a:moveTo>
                  <a:cubicBezTo>
                    <a:pt x="56331" y="253657"/>
                    <a:pt x="53157" y="252641"/>
                    <a:pt x="50237" y="250610"/>
                  </a:cubicBezTo>
                  <a:cubicBezTo>
                    <a:pt x="44905" y="246801"/>
                    <a:pt x="42493" y="240454"/>
                    <a:pt x="43889" y="234106"/>
                  </a:cubicBezTo>
                  <a:lnTo>
                    <a:pt x="60139" y="159202"/>
                  </a:lnTo>
                  <a:lnTo>
                    <a:pt x="5803" y="114006"/>
                  </a:lnTo>
                  <a:cubicBezTo>
                    <a:pt x="724" y="109816"/>
                    <a:pt x="-1180" y="103342"/>
                    <a:pt x="724" y="96994"/>
                  </a:cubicBezTo>
                  <a:cubicBezTo>
                    <a:pt x="2629" y="90773"/>
                    <a:pt x="7834" y="86330"/>
                    <a:pt x="14308" y="85568"/>
                  </a:cubicBezTo>
                  <a:lnTo>
                    <a:pt x="83245" y="77697"/>
                  </a:lnTo>
                  <a:lnTo>
                    <a:pt x="116507" y="9141"/>
                  </a:lnTo>
                  <a:cubicBezTo>
                    <a:pt x="119174" y="3555"/>
                    <a:pt x="124760" y="0"/>
                    <a:pt x="130981" y="0"/>
                  </a:cubicBezTo>
                  <a:cubicBezTo>
                    <a:pt x="137201" y="0"/>
                    <a:pt x="142787" y="3428"/>
                    <a:pt x="145454" y="9141"/>
                  </a:cubicBezTo>
                  <a:lnTo>
                    <a:pt x="178716" y="77697"/>
                  </a:lnTo>
                  <a:lnTo>
                    <a:pt x="247653" y="85568"/>
                  </a:lnTo>
                  <a:cubicBezTo>
                    <a:pt x="254128" y="86330"/>
                    <a:pt x="259332" y="90646"/>
                    <a:pt x="261237" y="96994"/>
                  </a:cubicBezTo>
                  <a:cubicBezTo>
                    <a:pt x="263141" y="103215"/>
                    <a:pt x="261110" y="109816"/>
                    <a:pt x="256159" y="114006"/>
                  </a:cubicBezTo>
                  <a:lnTo>
                    <a:pt x="201822" y="159202"/>
                  </a:lnTo>
                  <a:lnTo>
                    <a:pt x="218072" y="234106"/>
                  </a:lnTo>
                  <a:cubicBezTo>
                    <a:pt x="219469" y="240454"/>
                    <a:pt x="217057" y="246801"/>
                    <a:pt x="211724" y="250610"/>
                  </a:cubicBezTo>
                  <a:cubicBezTo>
                    <a:pt x="206392" y="254419"/>
                    <a:pt x="199663" y="254673"/>
                    <a:pt x="194078" y="251372"/>
                  </a:cubicBezTo>
                  <a:lnTo>
                    <a:pt x="130981" y="213539"/>
                  </a:lnTo>
                  <a:lnTo>
                    <a:pt x="67884" y="251372"/>
                  </a:lnTo>
                  <a:lnTo>
                    <a:pt x="67884" y="251372"/>
                  </a:lnTo>
                  <a:cubicBezTo>
                    <a:pt x="65345" y="252895"/>
                    <a:pt x="62424" y="253657"/>
                    <a:pt x="59632" y="253657"/>
                  </a:cubicBezTo>
                  <a:close/>
                  <a:moveTo>
                    <a:pt x="64583" y="245786"/>
                  </a:moveTo>
                  <a:lnTo>
                    <a:pt x="64583" y="245786"/>
                  </a:lnTo>
                  <a:lnTo>
                    <a:pt x="64583" y="245786"/>
                  </a:lnTo>
                  <a:close/>
                  <a:moveTo>
                    <a:pt x="130981" y="13203"/>
                  </a:moveTo>
                  <a:cubicBezTo>
                    <a:pt x="130346" y="13203"/>
                    <a:pt x="128950" y="13330"/>
                    <a:pt x="128188" y="14981"/>
                  </a:cubicBezTo>
                  <a:lnTo>
                    <a:pt x="93402" y="86838"/>
                  </a:lnTo>
                  <a:cubicBezTo>
                    <a:pt x="92386" y="88869"/>
                    <a:pt x="90482" y="90265"/>
                    <a:pt x="88324" y="90519"/>
                  </a:cubicBezTo>
                  <a:lnTo>
                    <a:pt x="15832" y="98771"/>
                  </a:lnTo>
                  <a:cubicBezTo>
                    <a:pt x="14054" y="99025"/>
                    <a:pt x="13420" y="100295"/>
                    <a:pt x="13293" y="100930"/>
                  </a:cubicBezTo>
                  <a:cubicBezTo>
                    <a:pt x="13166" y="101564"/>
                    <a:pt x="12912" y="102961"/>
                    <a:pt x="14308" y="104103"/>
                  </a:cubicBezTo>
                  <a:lnTo>
                    <a:pt x="71693" y="151839"/>
                  </a:lnTo>
                  <a:cubicBezTo>
                    <a:pt x="73596" y="153362"/>
                    <a:pt x="74358" y="155901"/>
                    <a:pt x="73851" y="158186"/>
                  </a:cubicBezTo>
                  <a:lnTo>
                    <a:pt x="56712" y="236899"/>
                  </a:lnTo>
                  <a:cubicBezTo>
                    <a:pt x="56331" y="238676"/>
                    <a:pt x="57474" y="239692"/>
                    <a:pt x="57854" y="240073"/>
                  </a:cubicBezTo>
                  <a:cubicBezTo>
                    <a:pt x="58362" y="240454"/>
                    <a:pt x="59632" y="241088"/>
                    <a:pt x="61155" y="240200"/>
                  </a:cubicBezTo>
                  <a:lnTo>
                    <a:pt x="127553" y="200336"/>
                  </a:lnTo>
                  <a:cubicBezTo>
                    <a:pt x="129584" y="199066"/>
                    <a:pt x="132250" y="199066"/>
                    <a:pt x="134282" y="200336"/>
                  </a:cubicBezTo>
                  <a:lnTo>
                    <a:pt x="200679" y="240200"/>
                  </a:lnTo>
                  <a:cubicBezTo>
                    <a:pt x="202202" y="241088"/>
                    <a:pt x="203600" y="240454"/>
                    <a:pt x="203980" y="240073"/>
                  </a:cubicBezTo>
                  <a:cubicBezTo>
                    <a:pt x="204488" y="239692"/>
                    <a:pt x="205630" y="238676"/>
                    <a:pt x="205123" y="236899"/>
                  </a:cubicBezTo>
                  <a:lnTo>
                    <a:pt x="187983" y="158186"/>
                  </a:lnTo>
                  <a:cubicBezTo>
                    <a:pt x="187476" y="155774"/>
                    <a:pt x="188365" y="153362"/>
                    <a:pt x="190142" y="151839"/>
                  </a:cubicBezTo>
                  <a:lnTo>
                    <a:pt x="247526" y="104103"/>
                  </a:lnTo>
                  <a:cubicBezTo>
                    <a:pt x="248922" y="102961"/>
                    <a:pt x="248669" y="101437"/>
                    <a:pt x="248541" y="100930"/>
                  </a:cubicBezTo>
                  <a:cubicBezTo>
                    <a:pt x="248414" y="100295"/>
                    <a:pt x="247780" y="99025"/>
                    <a:pt x="246002" y="98771"/>
                  </a:cubicBezTo>
                  <a:lnTo>
                    <a:pt x="173510" y="90519"/>
                  </a:lnTo>
                  <a:cubicBezTo>
                    <a:pt x="171352" y="90265"/>
                    <a:pt x="169321" y="88869"/>
                    <a:pt x="168433" y="86838"/>
                  </a:cubicBezTo>
                  <a:lnTo>
                    <a:pt x="133647" y="14981"/>
                  </a:lnTo>
                  <a:cubicBezTo>
                    <a:pt x="133012" y="13330"/>
                    <a:pt x="131615" y="13203"/>
                    <a:pt x="130981" y="13203"/>
                  </a:cubicBezTo>
                  <a:close/>
                </a:path>
              </a:pathLst>
            </a:custGeom>
            <a:grpFill/>
            <a:ln w="12689" cap="flat">
              <a:noFill/>
              <a:prstDash val="solid"/>
              <a:miter/>
            </a:ln>
          </p:spPr>
          <p:txBody>
            <a:bodyPr rtlCol="0" anchor="ctr"/>
            <a:lstStyle/>
            <a:p>
              <a:endParaRPr lang="ru-RU"/>
            </a:p>
          </p:txBody>
        </p:sp>
        <p:sp>
          <p:nvSpPr>
            <p:cNvPr id="87" name="Полилиния: фигура 86">
              <a:extLst>
                <a:ext uri="{FF2B5EF4-FFF2-40B4-BE49-F238E27FC236}">
                  <a16:creationId xmlns:a16="http://schemas.microsoft.com/office/drawing/2014/main" id="{5BFD7CA6-F6D5-4BA3-9B79-F59E8426CEC1}"/>
                </a:ext>
              </a:extLst>
            </p:cNvPr>
            <p:cNvSpPr/>
            <p:nvPr/>
          </p:nvSpPr>
          <p:spPr>
            <a:xfrm>
              <a:off x="8547990" y="4794877"/>
              <a:ext cx="406765" cy="406765"/>
            </a:xfrm>
            <a:custGeom>
              <a:avLst/>
              <a:gdLst>
                <a:gd name="connsiteX0" fmla="*/ 203383 w 406765"/>
                <a:gd name="connsiteY0" fmla="*/ 406765 h 406765"/>
                <a:gd name="connsiteX1" fmla="*/ 0 w 406765"/>
                <a:gd name="connsiteY1" fmla="*/ 203383 h 406765"/>
                <a:gd name="connsiteX2" fmla="*/ 203383 w 406765"/>
                <a:gd name="connsiteY2" fmla="*/ 0 h 406765"/>
                <a:gd name="connsiteX3" fmla="*/ 406766 w 406765"/>
                <a:gd name="connsiteY3" fmla="*/ 203383 h 406765"/>
                <a:gd name="connsiteX4" fmla="*/ 203383 w 406765"/>
                <a:gd name="connsiteY4" fmla="*/ 406765 h 406765"/>
                <a:gd name="connsiteX5" fmla="*/ 203383 w 406765"/>
                <a:gd name="connsiteY5" fmla="*/ 13076 h 406765"/>
                <a:gd name="connsiteX6" fmla="*/ 13077 w 406765"/>
                <a:gd name="connsiteY6" fmla="*/ 203383 h 406765"/>
                <a:gd name="connsiteX7" fmla="*/ 203383 w 406765"/>
                <a:gd name="connsiteY7" fmla="*/ 393689 h 406765"/>
                <a:gd name="connsiteX8" fmla="*/ 393689 w 406765"/>
                <a:gd name="connsiteY8" fmla="*/ 203383 h 406765"/>
                <a:gd name="connsiteX9" fmla="*/ 203383 w 406765"/>
                <a:gd name="connsiteY9" fmla="*/ 13076 h 40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765" h="406765">
                  <a:moveTo>
                    <a:pt x="203383" y="406765"/>
                  </a:moveTo>
                  <a:cubicBezTo>
                    <a:pt x="91281" y="406765"/>
                    <a:pt x="0" y="315484"/>
                    <a:pt x="0" y="203383"/>
                  </a:cubicBezTo>
                  <a:cubicBezTo>
                    <a:pt x="0" y="91281"/>
                    <a:pt x="91281" y="0"/>
                    <a:pt x="203383" y="0"/>
                  </a:cubicBezTo>
                  <a:cubicBezTo>
                    <a:pt x="315485" y="0"/>
                    <a:pt x="406766" y="91281"/>
                    <a:pt x="406766" y="203383"/>
                  </a:cubicBezTo>
                  <a:cubicBezTo>
                    <a:pt x="406766" y="315484"/>
                    <a:pt x="315485" y="406765"/>
                    <a:pt x="203383" y="406765"/>
                  </a:cubicBezTo>
                  <a:close/>
                  <a:moveTo>
                    <a:pt x="203383" y="13076"/>
                  </a:moveTo>
                  <a:cubicBezTo>
                    <a:pt x="98390" y="13076"/>
                    <a:pt x="13077" y="98390"/>
                    <a:pt x="13077" y="203383"/>
                  </a:cubicBezTo>
                  <a:cubicBezTo>
                    <a:pt x="13077" y="308375"/>
                    <a:pt x="98390" y="393689"/>
                    <a:pt x="203383" y="393689"/>
                  </a:cubicBezTo>
                  <a:cubicBezTo>
                    <a:pt x="308375" y="393689"/>
                    <a:pt x="393689" y="308375"/>
                    <a:pt x="393689" y="203383"/>
                  </a:cubicBezTo>
                  <a:cubicBezTo>
                    <a:pt x="393689" y="98390"/>
                    <a:pt x="308375" y="13076"/>
                    <a:pt x="203383" y="13076"/>
                  </a:cubicBezTo>
                  <a:close/>
                </a:path>
              </a:pathLst>
            </a:custGeom>
            <a:grpFill/>
            <a:ln w="12689" cap="flat">
              <a:noFill/>
              <a:prstDash val="solid"/>
              <a:miter/>
            </a:ln>
          </p:spPr>
          <p:txBody>
            <a:bodyPr rtlCol="0" anchor="ctr"/>
            <a:lstStyle/>
            <a:p>
              <a:endParaRPr lang="ru-RU"/>
            </a:p>
          </p:txBody>
        </p:sp>
      </p:grpSp>
      <p:grpSp>
        <p:nvGrpSpPr>
          <p:cNvPr id="88" name="Рисунок 623">
            <a:extLst>
              <a:ext uri="{FF2B5EF4-FFF2-40B4-BE49-F238E27FC236}">
                <a16:creationId xmlns:a16="http://schemas.microsoft.com/office/drawing/2014/main" id="{FEBA1D23-0557-46A1-8D00-332221178B39}"/>
              </a:ext>
            </a:extLst>
          </p:cNvPr>
          <p:cNvGrpSpPr/>
          <p:nvPr/>
        </p:nvGrpSpPr>
        <p:grpSpPr>
          <a:xfrm>
            <a:off x="7893702" y="3369350"/>
            <a:ext cx="537498" cy="440698"/>
            <a:chOff x="5948695" y="2902528"/>
            <a:chExt cx="438718" cy="359708"/>
          </a:xfrm>
          <a:solidFill>
            <a:schemeClr val="bg1"/>
          </a:solidFill>
          <a:effectLst>
            <a:outerShdw blurRad="50800" dist="12700" sx="102000" sy="102000" algn="ctr" rotWithShape="0">
              <a:schemeClr val="tx2">
                <a:alpha val="40000"/>
              </a:schemeClr>
            </a:outerShdw>
          </a:effectLst>
        </p:grpSpPr>
        <p:grpSp>
          <p:nvGrpSpPr>
            <p:cNvPr id="89" name="Рисунок 623">
              <a:extLst>
                <a:ext uri="{FF2B5EF4-FFF2-40B4-BE49-F238E27FC236}">
                  <a16:creationId xmlns:a16="http://schemas.microsoft.com/office/drawing/2014/main" id="{DB915CCA-8C26-44D5-95E7-05AB58A69DD3}"/>
                </a:ext>
              </a:extLst>
            </p:cNvPr>
            <p:cNvGrpSpPr/>
            <p:nvPr/>
          </p:nvGrpSpPr>
          <p:grpSpPr>
            <a:xfrm>
              <a:off x="5948695" y="2917998"/>
              <a:ext cx="438718" cy="228265"/>
              <a:chOff x="5948695" y="2917998"/>
              <a:chExt cx="438718" cy="228265"/>
            </a:xfrm>
            <a:grpFill/>
          </p:grpSpPr>
          <p:sp>
            <p:nvSpPr>
              <p:cNvPr id="93" name="Полилиния: фигура 92">
                <a:extLst>
                  <a:ext uri="{FF2B5EF4-FFF2-40B4-BE49-F238E27FC236}">
                    <a16:creationId xmlns:a16="http://schemas.microsoft.com/office/drawing/2014/main" id="{314E80D6-3D81-430B-AC22-87AF111ADC9F}"/>
                  </a:ext>
                </a:extLst>
              </p:cNvPr>
              <p:cNvSpPr/>
              <p:nvPr/>
            </p:nvSpPr>
            <p:spPr>
              <a:xfrm>
                <a:off x="6233134" y="2957292"/>
                <a:ext cx="116010" cy="110032"/>
              </a:xfrm>
              <a:custGeom>
                <a:avLst/>
                <a:gdLst>
                  <a:gd name="connsiteX0" fmla="*/ 6490 w 116010"/>
                  <a:gd name="connsiteY0" fmla="*/ 110033 h 110032"/>
                  <a:gd name="connsiteX1" fmla="*/ 1749 w 116010"/>
                  <a:gd name="connsiteY1" fmla="*/ 107983 h 110032"/>
                  <a:gd name="connsiteX2" fmla="*/ 2005 w 116010"/>
                  <a:gd name="connsiteY2" fmla="*/ 98628 h 110032"/>
                  <a:gd name="connsiteX3" fmla="*/ 104907 w 116010"/>
                  <a:gd name="connsiteY3" fmla="*/ 1749 h 110032"/>
                  <a:gd name="connsiteX4" fmla="*/ 114262 w 116010"/>
                  <a:gd name="connsiteY4" fmla="*/ 2005 h 110032"/>
                  <a:gd name="connsiteX5" fmla="*/ 114006 w 116010"/>
                  <a:gd name="connsiteY5" fmla="*/ 11360 h 110032"/>
                  <a:gd name="connsiteX6" fmla="*/ 11104 w 116010"/>
                  <a:gd name="connsiteY6" fmla="*/ 108239 h 110032"/>
                  <a:gd name="connsiteX7" fmla="*/ 6490 w 116010"/>
                  <a:gd name="connsiteY7" fmla="*/ 110033 h 11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010" h="110032">
                    <a:moveTo>
                      <a:pt x="6490" y="110033"/>
                    </a:moveTo>
                    <a:cubicBezTo>
                      <a:pt x="4696" y="110033"/>
                      <a:pt x="3030" y="109392"/>
                      <a:pt x="1749" y="107983"/>
                    </a:cubicBezTo>
                    <a:cubicBezTo>
                      <a:pt x="-686" y="105292"/>
                      <a:pt x="-558" y="101191"/>
                      <a:pt x="2005" y="98628"/>
                    </a:cubicBezTo>
                    <a:lnTo>
                      <a:pt x="104907" y="1749"/>
                    </a:lnTo>
                    <a:cubicBezTo>
                      <a:pt x="107598" y="-686"/>
                      <a:pt x="111699" y="-558"/>
                      <a:pt x="114262" y="2005"/>
                    </a:cubicBezTo>
                    <a:cubicBezTo>
                      <a:pt x="116697" y="4696"/>
                      <a:pt x="116568" y="8797"/>
                      <a:pt x="114006" y="11360"/>
                    </a:cubicBezTo>
                    <a:lnTo>
                      <a:pt x="11104" y="108239"/>
                    </a:lnTo>
                    <a:cubicBezTo>
                      <a:pt x="9822" y="109520"/>
                      <a:pt x="8156" y="110033"/>
                      <a:pt x="6490" y="110033"/>
                    </a:cubicBezTo>
                    <a:close/>
                  </a:path>
                </a:pathLst>
              </a:custGeom>
              <a:grpFill/>
              <a:ln w="12807" cap="flat">
                <a:noFill/>
                <a:prstDash val="solid"/>
                <a:miter/>
              </a:ln>
            </p:spPr>
            <p:txBody>
              <a:bodyPr rtlCol="0" anchor="ctr"/>
              <a:lstStyle/>
              <a:p>
                <a:endParaRPr lang="ru-RU"/>
              </a:p>
            </p:txBody>
          </p:sp>
          <p:sp>
            <p:nvSpPr>
              <p:cNvPr id="94" name="Полилиния: фигура 93">
                <a:extLst>
                  <a:ext uri="{FF2B5EF4-FFF2-40B4-BE49-F238E27FC236}">
                    <a16:creationId xmlns:a16="http://schemas.microsoft.com/office/drawing/2014/main" id="{8C77577D-1F4D-4E0B-B0B9-127A0CB2800A}"/>
                  </a:ext>
                </a:extLst>
              </p:cNvPr>
              <p:cNvSpPr/>
              <p:nvPr/>
            </p:nvSpPr>
            <p:spPr>
              <a:xfrm>
                <a:off x="6106403" y="3005609"/>
                <a:ext cx="102158" cy="67610"/>
              </a:xfrm>
              <a:custGeom>
                <a:avLst/>
                <a:gdLst>
                  <a:gd name="connsiteX0" fmla="*/ 95675 w 102158"/>
                  <a:gd name="connsiteY0" fmla="*/ 67610 h 67610"/>
                  <a:gd name="connsiteX1" fmla="*/ 92215 w 102158"/>
                  <a:gd name="connsiteY1" fmla="*/ 66585 h 67610"/>
                  <a:gd name="connsiteX2" fmla="*/ 3152 w 102158"/>
                  <a:gd name="connsiteY2" fmla="*/ 12251 h 67610"/>
                  <a:gd name="connsiteX3" fmla="*/ 974 w 102158"/>
                  <a:gd name="connsiteY3" fmla="*/ 3152 h 67610"/>
                  <a:gd name="connsiteX4" fmla="*/ 10072 w 102158"/>
                  <a:gd name="connsiteY4" fmla="*/ 974 h 67610"/>
                  <a:gd name="connsiteX5" fmla="*/ 99007 w 102158"/>
                  <a:gd name="connsiteY5" fmla="*/ 55308 h 67610"/>
                  <a:gd name="connsiteX6" fmla="*/ 101185 w 102158"/>
                  <a:gd name="connsiteY6" fmla="*/ 64407 h 67610"/>
                  <a:gd name="connsiteX7" fmla="*/ 95675 w 102158"/>
                  <a:gd name="connsiteY7" fmla="*/ 67610 h 6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158" h="67610">
                    <a:moveTo>
                      <a:pt x="95675" y="67610"/>
                    </a:moveTo>
                    <a:cubicBezTo>
                      <a:pt x="94521" y="67610"/>
                      <a:pt x="93368" y="67354"/>
                      <a:pt x="92215" y="66585"/>
                    </a:cubicBezTo>
                    <a:lnTo>
                      <a:pt x="3152" y="12251"/>
                    </a:lnTo>
                    <a:cubicBezTo>
                      <a:pt x="77" y="10329"/>
                      <a:pt x="-948" y="6356"/>
                      <a:pt x="974" y="3152"/>
                    </a:cubicBezTo>
                    <a:cubicBezTo>
                      <a:pt x="2896" y="77"/>
                      <a:pt x="6869" y="-948"/>
                      <a:pt x="10072" y="974"/>
                    </a:cubicBezTo>
                    <a:lnTo>
                      <a:pt x="99007" y="55308"/>
                    </a:lnTo>
                    <a:cubicBezTo>
                      <a:pt x="102082" y="57230"/>
                      <a:pt x="103107" y="61203"/>
                      <a:pt x="101185" y="64407"/>
                    </a:cubicBezTo>
                    <a:cubicBezTo>
                      <a:pt x="100032" y="66457"/>
                      <a:pt x="97981" y="67610"/>
                      <a:pt x="95675" y="67610"/>
                    </a:cubicBezTo>
                    <a:close/>
                  </a:path>
                </a:pathLst>
              </a:custGeom>
              <a:grpFill/>
              <a:ln w="12807" cap="flat">
                <a:noFill/>
                <a:prstDash val="solid"/>
                <a:miter/>
              </a:ln>
            </p:spPr>
            <p:txBody>
              <a:bodyPr rtlCol="0" anchor="ctr"/>
              <a:lstStyle/>
              <a:p>
                <a:endParaRPr lang="ru-RU"/>
              </a:p>
            </p:txBody>
          </p:sp>
          <p:sp>
            <p:nvSpPr>
              <p:cNvPr id="95" name="Полилиния: фигура 94">
                <a:extLst>
                  <a:ext uri="{FF2B5EF4-FFF2-40B4-BE49-F238E27FC236}">
                    <a16:creationId xmlns:a16="http://schemas.microsoft.com/office/drawing/2014/main" id="{58B9E790-C8F2-4624-9702-D9AB94C0D6B6}"/>
                  </a:ext>
                </a:extLst>
              </p:cNvPr>
              <p:cNvSpPr/>
              <p:nvPr/>
            </p:nvSpPr>
            <p:spPr>
              <a:xfrm>
                <a:off x="5986084" y="3007800"/>
                <a:ext cx="98547" cy="101173"/>
              </a:xfrm>
              <a:custGeom>
                <a:avLst/>
                <a:gdLst>
                  <a:gd name="connsiteX0" fmla="*/ 6601 w 98547"/>
                  <a:gd name="connsiteY0" fmla="*/ 101173 h 101173"/>
                  <a:gd name="connsiteX1" fmla="*/ 1987 w 98547"/>
                  <a:gd name="connsiteY1" fmla="*/ 99251 h 101173"/>
                  <a:gd name="connsiteX2" fmla="*/ 1859 w 98547"/>
                  <a:gd name="connsiteY2" fmla="*/ 89896 h 101173"/>
                  <a:gd name="connsiteX3" fmla="*/ 87205 w 98547"/>
                  <a:gd name="connsiteY3" fmla="*/ 1987 h 101173"/>
                  <a:gd name="connsiteX4" fmla="*/ 96560 w 98547"/>
                  <a:gd name="connsiteY4" fmla="*/ 1859 h 101173"/>
                  <a:gd name="connsiteX5" fmla="*/ 96688 w 98547"/>
                  <a:gd name="connsiteY5" fmla="*/ 11214 h 101173"/>
                  <a:gd name="connsiteX6" fmla="*/ 11342 w 98547"/>
                  <a:gd name="connsiteY6" fmla="*/ 99123 h 101173"/>
                  <a:gd name="connsiteX7" fmla="*/ 6601 w 98547"/>
                  <a:gd name="connsiteY7" fmla="*/ 101173 h 10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547" h="101173">
                    <a:moveTo>
                      <a:pt x="6601" y="101173"/>
                    </a:moveTo>
                    <a:cubicBezTo>
                      <a:pt x="4935" y="101173"/>
                      <a:pt x="3269" y="100532"/>
                      <a:pt x="1987" y="99251"/>
                    </a:cubicBezTo>
                    <a:cubicBezTo>
                      <a:pt x="-575" y="96688"/>
                      <a:pt x="-704" y="92587"/>
                      <a:pt x="1859" y="89896"/>
                    </a:cubicBezTo>
                    <a:lnTo>
                      <a:pt x="87205" y="1987"/>
                    </a:lnTo>
                    <a:cubicBezTo>
                      <a:pt x="89768" y="-575"/>
                      <a:pt x="93869" y="-704"/>
                      <a:pt x="96560" y="1859"/>
                    </a:cubicBezTo>
                    <a:cubicBezTo>
                      <a:pt x="99123" y="4422"/>
                      <a:pt x="99251" y="8523"/>
                      <a:pt x="96688" y="11214"/>
                    </a:cubicBezTo>
                    <a:lnTo>
                      <a:pt x="11342" y="99123"/>
                    </a:lnTo>
                    <a:cubicBezTo>
                      <a:pt x="10061" y="100532"/>
                      <a:pt x="8395" y="101173"/>
                      <a:pt x="6601" y="101173"/>
                    </a:cubicBezTo>
                    <a:close/>
                  </a:path>
                </a:pathLst>
              </a:custGeom>
              <a:grpFill/>
              <a:ln w="12807" cap="flat">
                <a:noFill/>
                <a:prstDash val="solid"/>
                <a:miter/>
              </a:ln>
            </p:spPr>
            <p:txBody>
              <a:bodyPr rtlCol="0" anchor="ctr"/>
              <a:lstStyle/>
              <a:p>
                <a:endParaRPr lang="ru-RU"/>
              </a:p>
            </p:txBody>
          </p:sp>
          <p:sp>
            <p:nvSpPr>
              <p:cNvPr id="96" name="Полилиния: фигура 95">
                <a:extLst>
                  <a:ext uri="{FF2B5EF4-FFF2-40B4-BE49-F238E27FC236}">
                    <a16:creationId xmlns:a16="http://schemas.microsoft.com/office/drawing/2014/main" id="{3ED4E8E3-E76F-4BE2-B367-E64DB23298D3}"/>
                  </a:ext>
                </a:extLst>
              </p:cNvPr>
              <p:cNvSpPr/>
              <p:nvPr/>
            </p:nvSpPr>
            <p:spPr>
              <a:xfrm>
                <a:off x="5948695" y="3089330"/>
                <a:ext cx="56969" cy="56933"/>
              </a:xfrm>
              <a:custGeom>
                <a:avLst/>
                <a:gdLst>
                  <a:gd name="connsiteX0" fmla="*/ 28485 w 56969"/>
                  <a:gd name="connsiteY0" fmla="*/ 56933 h 56933"/>
                  <a:gd name="connsiteX1" fmla="*/ 27203 w 56969"/>
                  <a:gd name="connsiteY1" fmla="*/ 56933 h 56933"/>
                  <a:gd name="connsiteX2" fmla="*/ 7469 w 56969"/>
                  <a:gd name="connsiteY2" fmla="*/ 47707 h 56933"/>
                  <a:gd name="connsiteX3" fmla="*/ 36 w 56969"/>
                  <a:gd name="connsiteY3" fmla="*/ 27203 h 56933"/>
                  <a:gd name="connsiteX4" fmla="*/ 9262 w 56969"/>
                  <a:gd name="connsiteY4" fmla="*/ 7469 h 56933"/>
                  <a:gd name="connsiteX5" fmla="*/ 29766 w 56969"/>
                  <a:gd name="connsiteY5" fmla="*/ 36 h 56933"/>
                  <a:gd name="connsiteX6" fmla="*/ 49501 w 56969"/>
                  <a:gd name="connsiteY6" fmla="*/ 9263 h 56933"/>
                  <a:gd name="connsiteX7" fmla="*/ 56933 w 56969"/>
                  <a:gd name="connsiteY7" fmla="*/ 29766 h 56933"/>
                  <a:gd name="connsiteX8" fmla="*/ 28485 w 56969"/>
                  <a:gd name="connsiteY8" fmla="*/ 56933 h 56933"/>
                  <a:gd name="connsiteX9" fmla="*/ 28357 w 56969"/>
                  <a:gd name="connsiteY9" fmla="*/ 13107 h 56933"/>
                  <a:gd name="connsiteX10" fmla="*/ 18105 w 56969"/>
                  <a:gd name="connsiteY10" fmla="*/ 17080 h 56933"/>
                  <a:gd name="connsiteX11" fmla="*/ 13107 w 56969"/>
                  <a:gd name="connsiteY11" fmla="*/ 27716 h 56933"/>
                  <a:gd name="connsiteX12" fmla="*/ 17080 w 56969"/>
                  <a:gd name="connsiteY12" fmla="*/ 38737 h 56933"/>
                  <a:gd name="connsiteX13" fmla="*/ 27716 w 56969"/>
                  <a:gd name="connsiteY13" fmla="*/ 43734 h 56933"/>
                  <a:gd name="connsiteX14" fmla="*/ 43734 w 56969"/>
                  <a:gd name="connsiteY14" fmla="*/ 29126 h 56933"/>
                  <a:gd name="connsiteX15" fmla="*/ 39762 w 56969"/>
                  <a:gd name="connsiteY15" fmla="*/ 18105 h 56933"/>
                  <a:gd name="connsiteX16" fmla="*/ 29125 w 56969"/>
                  <a:gd name="connsiteY16" fmla="*/ 13107 h 56933"/>
                  <a:gd name="connsiteX17" fmla="*/ 28357 w 56969"/>
                  <a:gd name="connsiteY17" fmla="*/ 13107 h 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969" h="56933">
                    <a:moveTo>
                      <a:pt x="28485" y="56933"/>
                    </a:moveTo>
                    <a:cubicBezTo>
                      <a:pt x="28100" y="56933"/>
                      <a:pt x="27588" y="56933"/>
                      <a:pt x="27203" y="56933"/>
                    </a:cubicBezTo>
                    <a:cubicBezTo>
                      <a:pt x="19643" y="56549"/>
                      <a:pt x="12594" y="53345"/>
                      <a:pt x="7469" y="47707"/>
                    </a:cubicBezTo>
                    <a:cubicBezTo>
                      <a:pt x="2343" y="42068"/>
                      <a:pt x="-349" y="34764"/>
                      <a:pt x="36" y="27203"/>
                    </a:cubicBezTo>
                    <a:cubicBezTo>
                      <a:pt x="421" y="19643"/>
                      <a:pt x="3624" y="12595"/>
                      <a:pt x="9262" y="7469"/>
                    </a:cubicBezTo>
                    <a:cubicBezTo>
                      <a:pt x="14901" y="2343"/>
                      <a:pt x="22077" y="-348"/>
                      <a:pt x="29766" y="36"/>
                    </a:cubicBezTo>
                    <a:cubicBezTo>
                      <a:pt x="37327" y="421"/>
                      <a:pt x="44375" y="3624"/>
                      <a:pt x="49501" y="9263"/>
                    </a:cubicBezTo>
                    <a:cubicBezTo>
                      <a:pt x="54627" y="14901"/>
                      <a:pt x="57318" y="22206"/>
                      <a:pt x="56933" y="29766"/>
                    </a:cubicBezTo>
                    <a:cubicBezTo>
                      <a:pt x="56164" y="44888"/>
                      <a:pt x="43606" y="56933"/>
                      <a:pt x="28485" y="56933"/>
                    </a:cubicBezTo>
                    <a:close/>
                    <a:moveTo>
                      <a:pt x="28357" y="13107"/>
                    </a:moveTo>
                    <a:cubicBezTo>
                      <a:pt x="24512" y="13107"/>
                      <a:pt x="20924" y="14517"/>
                      <a:pt x="18105" y="17080"/>
                    </a:cubicBezTo>
                    <a:cubicBezTo>
                      <a:pt x="15029" y="19899"/>
                      <a:pt x="13363" y="23615"/>
                      <a:pt x="13107" y="27716"/>
                    </a:cubicBezTo>
                    <a:cubicBezTo>
                      <a:pt x="12979" y="31817"/>
                      <a:pt x="14389" y="35661"/>
                      <a:pt x="17080" y="38737"/>
                    </a:cubicBezTo>
                    <a:cubicBezTo>
                      <a:pt x="19899" y="41812"/>
                      <a:pt x="23615" y="43478"/>
                      <a:pt x="27716" y="43734"/>
                    </a:cubicBezTo>
                    <a:cubicBezTo>
                      <a:pt x="36046" y="44119"/>
                      <a:pt x="43350" y="37583"/>
                      <a:pt x="43734" y="29126"/>
                    </a:cubicBezTo>
                    <a:cubicBezTo>
                      <a:pt x="43862" y="25025"/>
                      <a:pt x="42453" y="21180"/>
                      <a:pt x="39762" y="18105"/>
                    </a:cubicBezTo>
                    <a:cubicBezTo>
                      <a:pt x="36942" y="15029"/>
                      <a:pt x="33226" y="13363"/>
                      <a:pt x="29125" y="13107"/>
                    </a:cubicBezTo>
                    <a:cubicBezTo>
                      <a:pt x="28869" y="13107"/>
                      <a:pt x="28613" y="13107"/>
                      <a:pt x="28357" y="13107"/>
                    </a:cubicBezTo>
                    <a:close/>
                  </a:path>
                </a:pathLst>
              </a:custGeom>
              <a:grpFill/>
              <a:ln w="12807" cap="flat">
                <a:noFill/>
                <a:prstDash val="solid"/>
                <a:miter/>
              </a:ln>
            </p:spPr>
            <p:txBody>
              <a:bodyPr rtlCol="0" anchor="ctr"/>
              <a:lstStyle/>
              <a:p>
                <a:endParaRPr lang="ru-RU"/>
              </a:p>
            </p:txBody>
          </p:sp>
          <p:sp>
            <p:nvSpPr>
              <p:cNvPr id="97" name="Полилиния: фигура 96">
                <a:extLst>
                  <a:ext uri="{FF2B5EF4-FFF2-40B4-BE49-F238E27FC236}">
                    <a16:creationId xmlns:a16="http://schemas.microsoft.com/office/drawing/2014/main" id="{659B2B01-9E91-42AD-B5DE-494E182CDF0E}"/>
                  </a:ext>
                </a:extLst>
              </p:cNvPr>
              <p:cNvSpPr/>
              <p:nvPr/>
            </p:nvSpPr>
            <p:spPr>
              <a:xfrm>
                <a:off x="6065064" y="2970678"/>
                <a:ext cx="56945" cy="56921"/>
              </a:xfrm>
              <a:custGeom>
                <a:avLst/>
                <a:gdLst>
                  <a:gd name="connsiteX0" fmla="*/ 28473 w 56945"/>
                  <a:gd name="connsiteY0" fmla="*/ 56921 h 56921"/>
                  <a:gd name="connsiteX1" fmla="*/ 27191 w 56945"/>
                  <a:gd name="connsiteY1" fmla="*/ 56921 h 56921"/>
                  <a:gd name="connsiteX2" fmla="*/ 24 w 56945"/>
                  <a:gd name="connsiteY2" fmla="*/ 27191 h 56921"/>
                  <a:gd name="connsiteX3" fmla="*/ 29754 w 56945"/>
                  <a:gd name="connsiteY3" fmla="*/ 24 h 56921"/>
                  <a:gd name="connsiteX4" fmla="*/ 56921 w 56945"/>
                  <a:gd name="connsiteY4" fmla="*/ 29754 h 56921"/>
                  <a:gd name="connsiteX5" fmla="*/ 56921 w 56945"/>
                  <a:gd name="connsiteY5" fmla="*/ 29754 h 56921"/>
                  <a:gd name="connsiteX6" fmla="*/ 28473 w 56945"/>
                  <a:gd name="connsiteY6" fmla="*/ 56921 h 56921"/>
                  <a:gd name="connsiteX7" fmla="*/ 28473 w 56945"/>
                  <a:gd name="connsiteY7" fmla="*/ 13095 h 56921"/>
                  <a:gd name="connsiteX8" fmla="*/ 13223 w 56945"/>
                  <a:gd name="connsiteY8" fmla="*/ 27704 h 56921"/>
                  <a:gd name="connsiteX9" fmla="*/ 27832 w 56945"/>
                  <a:gd name="connsiteY9" fmla="*/ 43722 h 56921"/>
                  <a:gd name="connsiteX10" fmla="*/ 43851 w 56945"/>
                  <a:gd name="connsiteY10" fmla="*/ 29113 h 56921"/>
                  <a:gd name="connsiteX11" fmla="*/ 43851 w 56945"/>
                  <a:gd name="connsiteY11" fmla="*/ 29113 h 56921"/>
                  <a:gd name="connsiteX12" fmla="*/ 29242 w 56945"/>
                  <a:gd name="connsiteY12" fmla="*/ 13095 h 56921"/>
                  <a:gd name="connsiteX13" fmla="*/ 28473 w 56945"/>
                  <a:gd name="connsiteY13" fmla="*/ 13095 h 56921"/>
                  <a:gd name="connsiteX14" fmla="*/ 50258 w 56945"/>
                  <a:gd name="connsiteY14" fmla="*/ 29370 h 56921"/>
                  <a:gd name="connsiteX15" fmla="*/ 50258 w 56945"/>
                  <a:gd name="connsiteY15" fmla="*/ 29370 h 56921"/>
                  <a:gd name="connsiteX16" fmla="*/ 50258 w 56945"/>
                  <a:gd name="connsiteY16" fmla="*/ 29370 h 5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945" h="56921">
                    <a:moveTo>
                      <a:pt x="28473" y="56921"/>
                    </a:moveTo>
                    <a:cubicBezTo>
                      <a:pt x="28088" y="56921"/>
                      <a:pt x="27576" y="56921"/>
                      <a:pt x="27191" y="56921"/>
                    </a:cubicBezTo>
                    <a:cubicBezTo>
                      <a:pt x="11557" y="56153"/>
                      <a:pt x="-616" y="42825"/>
                      <a:pt x="24" y="27191"/>
                    </a:cubicBezTo>
                    <a:cubicBezTo>
                      <a:pt x="665" y="11557"/>
                      <a:pt x="14248" y="-617"/>
                      <a:pt x="29754" y="24"/>
                    </a:cubicBezTo>
                    <a:cubicBezTo>
                      <a:pt x="45388" y="793"/>
                      <a:pt x="57562" y="14120"/>
                      <a:pt x="56921" y="29754"/>
                    </a:cubicBezTo>
                    <a:cubicBezTo>
                      <a:pt x="56921" y="29754"/>
                      <a:pt x="56921" y="29754"/>
                      <a:pt x="56921" y="29754"/>
                    </a:cubicBezTo>
                    <a:cubicBezTo>
                      <a:pt x="56153" y="44876"/>
                      <a:pt x="43594" y="56921"/>
                      <a:pt x="28473" y="56921"/>
                    </a:cubicBezTo>
                    <a:close/>
                    <a:moveTo>
                      <a:pt x="28473" y="13095"/>
                    </a:moveTo>
                    <a:cubicBezTo>
                      <a:pt x="20399" y="13095"/>
                      <a:pt x="13608" y="19502"/>
                      <a:pt x="13223" y="27704"/>
                    </a:cubicBezTo>
                    <a:cubicBezTo>
                      <a:pt x="12839" y="36162"/>
                      <a:pt x="19374" y="43338"/>
                      <a:pt x="27832" y="43722"/>
                    </a:cubicBezTo>
                    <a:cubicBezTo>
                      <a:pt x="36162" y="44107"/>
                      <a:pt x="43466" y="37571"/>
                      <a:pt x="43851" y="29113"/>
                    </a:cubicBezTo>
                    <a:lnTo>
                      <a:pt x="43851" y="29113"/>
                    </a:lnTo>
                    <a:cubicBezTo>
                      <a:pt x="44235" y="20656"/>
                      <a:pt x="37699" y="13480"/>
                      <a:pt x="29242" y="13095"/>
                    </a:cubicBezTo>
                    <a:cubicBezTo>
                      <a:pt x="28857" y="13095"/>
                      <a:pt x="28601" y="13095"/>
                      <a:pt x="28473" y="13095"/>
                    </a:cubicBezTo>
                    <a:close/>
                    <a:moveTo>
                      <a:pt x="50258" y="29370"/>
                    </a:moveTo>
                    <a:lnTo>
                      <a:pt x="50258" y="29370"/>
                    </a:lnTo>
                    <a:lnTo>
                      <a:pt x="50258" y="29370"/>
                    </a:lnTo>
                    <a:close/>
                  </a:path>
                </a:pathLst>
              </a:custGeom>
              <a:grpFill/>
              <a:ln w="12807" cap="flat">
                <a:noFill/>
                <a:prstDash val="solid"/>
                <a:miter/>
              </a:ln>
            </p:spPr>
            <p:txBody>
              <a:bodyPr rtlCol="0" anchor="ctr"/>
              <a:lstStyle/>
              <a:p>
                <a:endParaRPr lang="ru-RU"/>
              </a:p>
            </p:txBody>
          </p:sp>
          <p:sp>
            <p:nvSpPr>
              <p:cNvPr id="98" name="Полилиния: фигура 97">
                <a:extLst>
                  <a:ext uri="{FF2B5EF4-FFF2-40B4-BE49-F238E27FC236}">
                    <a16:creationId xmlns:a16="http://schemas.microsoft.com/office/drawing/2014/main" id="{91D73363-6A1F-4F46-8150-AB6108642139}"/>
                  </a:ext>
                </a:extLst>
              </p:cNvPr>
              <p:cNvSpPr/>
              <p:nvPr/>
            </p:nvSpPr>
            <p:spPr>
              <a:xfrm>
                <a:off x="6194993" y="3049733"/>
                <a:ext cx="56957" cy="56933"/>
              </a:xfrm>
              <a:custGeom>
                <a:avLst/>
                <a:gdLst>
                  <a:gd name="connsiteX0" fmla="*/ 28485 w 56957"/>
                  <a:gd name="connsiteY0" fmla="*/ 56933 h 56933"/>
                  <a:gd name="connsiteX1" fmla="*/ 27204 w 56957"/>
                  <a:gd name="connsiteY1" fmla="*/ 56933 h 56933"/>
                  <a:gd name="connsiteX2" fmla="*/ 7469 w 56957"/>
                  <a:gd name="connsiteY2" fmla="*/ 47707 h 56933"/>
                  <a:gd name="connsiteX3" fmla="*/ 36 w 56957"/>
                  <a:gd name="connsiteY3" fmla="*/ 27203 h 56933"/>
                  <a:gd name="connsiteX4" fmla="*/ 9263 w 56957"/>
                  <a:gd name="connsiteY4" fmla="*/ 7469 h 56933"/>
                  <a:gd name="connsiteX5" fmla="*/ 29766 w 56957"/>
                  <a:gd name="connsiteY5" fmla="*/ 36 h 56933"/>
                  <a:gd name="connsiteX6" fmla="*/ 56933 w 56957"/>
                  <a:gd name="connsiteY6" fmla="*/ 29766 h 56933"/>
                  <a:gd name="connsiteX7" fmla="*/ 56933 w 56957"/>
                  <a:gd name="connsiteY7" fmla="*/ 29766 h 56933"/>
                  <a:gd name="connsiteX8" fmla="*/ 28485 w 56957"/>
                  <a:gd name="connsiteY8" fmla="*/ 56933 h 56933"/>
                  <a:gd name="connsiteX9" fmla="*/ 28485 w 56957"/>
                  <a:gd name="connsiteY9" fmla="*/ 13235 h 56933"/>
                  <a:gd name="connsiteX10" fmla="*/ 18233 w 56957"/>
                  <a:gd name="connsiteY10" fmla="*/ 17208 h 56933"/>
                  <a:gd name="connsiteX11" fmla="*/ 13236 w 56957"/>
                  <a:gd name="connsiteY11" fmla="*/ 27844 h 56933"/>
                  <a:gd name="connsiteX12" fmla="*/ 17208 w 56957"/>
                  <a:gd name="connsiteY12" fmla="*/ 38865 h 56933"/>
                  <a:gd name="connsiteX13" fmla="*/ 27844 w 56957"/>
                  <a:gd name="connsiteY13" fmla="*/ 43862 h 56933"/>
                  <a:gd name="connsiteX14" fmla="*/ 43863 w 56957"/>
                  <a:gd name="connsiteY14" fmla="*/ 29254 h 56933"/>
                  <a:gd name="connsiteX15" fmla="*/ 43863 w 56957"/>
                  <a:gd name="connsiteY15" fmla="*/ 29254 h 56933"/>
                  <a:gd name="connsiteX16" fmla="*/ 29254 w 56957"/>
                  <a:gd name="connsiteY16" fmla="*/ 13235 h 56933"/>
                  <a:gd name="connsiteX17" fmla="*/ 28485 w 56957"/>
                  <a:gd name="connsiteY17" fmla="*/ 13235 h 56933"/>
                  <a:gd name="connsiteX18" fmla="*/ 50398 w 56957"/>
                  <a:gd name="connsiteY18" fmla="*/ 29510 h 56933"/>
                  <a:gd name="connsiteX19" fmla="*/ 50398 w 56957"/>
                  <a:gd name="connsiteY19" fmla="*/ 29510 h 56933"/>
                  <a:gd name="connsiteX20" fmla="*/ 50398 w 56957"/>
                  <a:gd name="connsiteY20" fmla="*/ 29510 h 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957" h="56933">
                    <a:moveTo>
                      <a:pt x="28485" y="56933"/>
                    </a:moveTo>
                    <a:cubicBezTo>
                      <a:pt x="28100" y="56933"/>
                      <a:pt x="27588" y="56933"/>
                      <a:pt x="27204" y="56933"/>
                    </a:cubicBezTo>
                    <a:cubicBezTo>
                      <a:pt x="19643" y="56549"/>
                      <a:pt x="12595" y="53345"/>
                      <a:pt x="7469" y="47707"/>
                    </a:cubicBezTo>
                    <a:cubicBezTo>
                      <a:pt x="2343" y="42068"/>
                      <a:pt x="-348" y="34764"/>
                      <a:pt x="36" y="27203"/>
                    </a:cubicBezTo>
                    <a:cubicBezTo>
                      <a:pt x="421" y="19643"/>
                      <a:pt x="3625" y="12595"/>
                      <a:pt x="9263" y="7469"/>
                    </a:cubicBezTo>
                    <a:cubicBezTo>
                      <a:pt x="14901" y="2343"/>
                      <a:pt x="22206" y="-348"/>
                      <a:pt x="29766" y="36"/>
                    </a:cubicBezTo>
                    <a:cubicBezTo>
                      <a:pt x="45400" y="677"/>
                      <a:pt x="57574" y="14132"/>
                      <a:pt x="56933" y="29766"/>
                    </a:cubicBezTo>
                    <a:cubicBezTo>
                      <a:pt x="56933" y="29766"/>
                      <a:pt x="56933" y="29766"/>
                      <a:pt x="56933" y="29766"/>
                    </a:cubicBezTo>
                    <a:cubicBezTo>
                      <a:pt x="56293" y="45016"/>
                      <a:pt x="43606" y="56933"/>
                      <a:pt x="28485" y="56933"/>
                    </a:cubicBezTo>
                    <a:close/>
                    <a:moveTo>
                      <a:pt x="28485" y="13235"/>
                    </a:moveTo>
                    <a:cubicBezTo>
                      <a:pt x="24641" y="13235"/>
                      <a:pt x="21052" y="14645"/>
                      <a:pt x="18233" y="17208"/>
                    </a:cubicBezTo>
                    <a:cubicBezTo>
                      <a:pt x="15158" y="20027"/>
                      <a:pt x="13492" y="23743"/>
                      <a:pt x="13236" y="27844"/>
                    </a:cubicBezTo>
                    <a:cubicBezTo>
                      <a:pt x="13107" y="31945"/>
                      <a:pt x="14517" y="35789"/>
                      <a:pt x="17208" y="38865"/>
                    </a:cubicBezTo>
                    <a:cubicBezTo>
                      <a:pt x="20027" y="41940"/>
                      <a:pt x="23743" y="43606"/>
                      <a:pt x="27844" y="43862"/>
                    </a:cubicBezTo>
                    <a:cubicBezTo>
                      <a:pt x="36174" y="44247"/>
                      <a:pt x="43478" y="37711"/>
                      <a:pt x="43863" y="29254"/>
                    </a:cubicBezTo>
                    <a:lnTo>
                      <a:pt x="43863" y="29254"/>
                    </a:lnTo>
                    <a:cubicBezTo>
                      <a:pt x="44247" y="20796"/>
                      <a:pt x="37711" y="13620"/>
                      <a:pt x="29254" y="13235"/>
                    </a:cubicBezTo>
                    <a:cubicBezTo>
                      <a:pt x="28998" y="13235"/>
                      <a:pt x="28741" y="13235"/>
                      <a:pt x="28485" y="13235"/>
                    </a:cubicBezTo>
                    <a:close/>
                    <a:moveTo>
                      <a:pt x="50398" y="29510"/>
                    </a:moveTo>
                    <a:lnTo>
                      <a:pt x="50398" y="29510"/>
                    </a:lnTo>
                    <a:lnTo>
                      <a:pt x="50398" y="29510"/>
                    </a:lnTo>
                    <a:close/>
                  </a:path>
                </a:pathLst>
              </a:custGeom>
              <a:grpFill/>
              <a:ln w="12807" cap="flat">
                <a:noFill/>
                <a:prstDash val="solid"/>
                <a:miter/>
              </a:ln>
            </p:spPr>
            <p:txBody>
              <a:bodyPr rtlCol="0" anchor="ctr"/>
              <a:lstStyle/>
              <a:p>
                <a:endParaRPr lang="ru-RU"/>
              </a:p>
            </p:txBody>
          </p:sp>
          <p:sp>
            <p:nvSpPr>
              <p:cNvPr id="99" name="Полилиния: фигура 98">
                <a:extLst>
                  <a:ext uri="{FF2B5EF4-FFF2-40B4-BE49-F238E27FC236}">
                    <a16:creationId xmlns:a16="http://schemas.microsoft.com/office/drawing/2014/main" id="{D4A24EC1-1735-4EDC-B2D3-B965BF51550F}"/>
                  </a:ext>
                </a:extLst>
              </p:cNvPr>
              <p:cNvSpPr/>
              <p:nvPr/>
            </p:nvSpPr>
            <p:spPr>
              <a:xfrm>
                <a:off x="6330444" y="2917998"/>
                <a:ext cx="56969" cy="56933"/>
              </a:xfrm>
              <a:custGeom>
                <a:avLst/>
                <a:gdLst>
                  <a:gd name="connsiteX0" fmla="*/ 28485 w 56969"/>
                  <a:gd name="connsiteY0" fmla="*/ 56933 h 56933"/>
                  <a:gd name="connsiteX1" fmla="*/ 27203 w 56969"/>
                  <a:gd name="connsiteY1" fmla="*/ 56933 h 56933"/>
                  <a:gd name="connsiteX2" fmla="*/ 7469 w 56969"/>
                  <a:gd name="connsiteY2" fmla="*/ 47707 h 56933"/>
                  <a:gd name="connsiteX3" fmla="*/ 36 w 56969"/>
                  <a:gd name="connsiteY3" fmla="*/ 27203 h 56933"/>
                  <a:gd name="connsiteX4" fmla="*/ 9263 w 56969"/>
                  <a:gd name="connsiteY4" fmla="*/ 7469 h 56933"/>
                  <a:gd name="connsiteX5" fmla="*/ 29766 w 56969"/>
                  <a:gd name="connsiteY5" fmla="*/ 36 h 56933"/>
                  <a:gd name="connsiteX6" fmla="*/ 49501 w 56969"/>
                  <a:gd name="connsiteY6" fmla="*/ 9263 h 56933"/>
                  <a:gd name="connsiteX7" fmla="*/ 56933 w 56969"/>
                  <a:gd name="connsiteY7" fmla="*/ 29766 h 56933"/>
                  <a:gd name="connsiteX8" fmla="*/ 56933 w 56969"/>
                  <a:gd name="connsiteY8" fmla="*/ 29766 h 56933"/>
                  <a:gd name="connsiteX9" fmla="*/ 28485 w 56969"/>
                  <a:gd name="connsiteY9" fmla="*/ 56933 h 56933"/>
                  <a:gd name="connsiteX10" fmla="*/ 28485 w 56969"/>
                  <a:gd name="connsiteY10" fmla="*/ 13107 h 56933"/>
                  <a:gd name="connsiteX11" fmla="*/ 18233 w 56969"/>
                  <a:gd name="connsiteY11" fmla="*/ 17080 h 56933"/>
                  <a:gd name="connsiteX12" fmla="*/ 13235 w 56969"/>
                  <a:gd name="connsiteY12" fmla="*/ 27716 h 56933"/>
                  <a:gd name="connsiteX13" fmla="*/ 17208 w 56969"/>
                  <a:gd name="connsiteY13" fmla="*/ 38737 h 56933"/>
                  <a:gd name="connsiteX14" fmla="*/ 27844 w 56969"/>
                  <a:gd name="connsiteY14" fmla="*/ 43734 h 56933"/>
                  <a:gd name="connsiteX15" fmla="*/ 43863 w 56969"/>
                  <a:gd name="connsiteY15" fmla="*/ 29126 h 56933"/>
                  <a:gd name="connsiteX16" fmla="*/ 39890 w 56969"/>
                  <a:gd name="connsiteY16" fmla="*/ 18105 h 56933"/>
                  <a:gd name="connsiteX17" fmla="*/ 29254 w 56969"/>
                  <a:gd name="connsiteY17" fmla="*/ 13107 h 56933"/>
                  <a:gd name="connsiteX18" fmla="*/ 28485 w 56969"/>
                  <a:gd name="connsiteY18" fmla="*/ 13107 h 56933"/>
                  <a:gd name="connsiteX19" fmla="*/ 50398 w 56969"/>
                  <a:gd name="connsiteY19" fmla="*/ 29382 h 56933"/>
                  <a:gd name="connsiteX20" fmla="*/ 50398 w 56969"/>
                  <a:gd name="connsiteY20" fmla="*/ 29382 h 56933"/>
                  <a:gd name="connsiteX21" fmla="*/ 50398 w 56969"/>
                  <a:gd name="connsiteY21" fmla="*/ 29382 h 5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969" h="56933">
                    <a:moveTo>
                      <a:pt x="28485" y="56933"/>
                    </a:moveTo>
                    <a:cubicBezTo>
                      <a:pt x="28100" y="56933"/>
                      <a:pt x="27588" y="56933"/>
                      <a:pt x="27203" y="56933"/>
                    </a:cubicBezTo>
                    <a:cubicBezTo>
                      <a:pt x="19643" y="56549"/>
                      <a:pt x="12595" y="53345"/>
                      <a:pt x="7469" y="47707"/>
                    </a:cubicBezTo>
                    <a:cubicBezTo>
                      <a:pt x="2343" y="42068"/>
                      <a:pt x="-348" y="34764"/>
                      <a:pt x="36" y="27203"/>
                    </a:cubicBezTo>
                    <a:cubicBezTo>
                      <a:pt x="421" y="19643"/>
                      <a:pt x="3624" y="12595"/>
                      <a:pt x="9263" y="7469"/>
                    </a:cubicBezTo>
                    <a:cubicBezTo>
                      <a:pt x="14901" y="2343"/>
                      <a:pt x="22077" y="-348"/>
                      <a:pt x="29766" y="36"/>
                    </a:cubicBezTo>
                    <a:cubicBezTo>
                      <a:pt x="37327" y="421"/>
                      <a:pt x="44375" y="3624"/>
                      <a:pt x="49501" y="9263"/>
                    </a:cubicBezTo>
                    <a:cubicBezTo>
                      <a:pt x="54627" y="14901"/>
                      <a:pt x="57318" y="22206"/>
                      <a:pt x="56933" y="29766"/>
                    </a:cubicBezTo>
                    <a:lnTo>
                      <a:pt x="56933" y="29766"/>
                    </a:lnTo>
                    <a:cubicBezTo>
                      <a:pt x="56293" y="45016"/>
                      <a:pt x="43606" y="56933"/>
                      <a:pt x="28485" y="56933"/>
                    </a:cubicBezTo>
                    <a:close/>
                    <a:moveTo>
                      <a:pt x="28485" y="13107"/>
                    </a:moveTo>
                    <a:cubicBezTo>
                      <a:pt x="24641" y="13107"/>
                      <a:pt x="21052" y="14517"/>
                      <a:pt x="18233" y="17080"/>
                    </a:cubicBezTo>
                    <a:cubicBezTo>
                      <a:pt x="15157" y="19899"/>
                      <a:pt x="13492" y="23615"/>
                      <a:pt x="13235" y="27716"/>
                    </a:cubicBezTo>
                    <a:cubicBezTo>
                      <a:pt x="13107" y="31817"/>
                      <a:pt x="14517" y="35661"/>
                      <a:pt x="17208" y="38737"/>
                    </a:cubicBezTo>
                    <a:cubicBezTo>
                      <a:pt x="20027" y="41812"/>
                      <a:pt x="23743" y="43478"/>
                      <a:pt x="27844" y="43734"/>
                    </a:cubicBezTo>
                    <a:cubicBezTo>
                      <a:pt x="36302" y="44119"/>
                      <a:pt x="43478" y="37583"/>
                      <a:pt x="43863" y="29126"/>
                    </a:cubicBezTo>
                    <a:cubicBezTo>
                      <a:pt x="43991" y="25025"/>
                      <a:pt x="42581" y="21180"/>
                      <a:pt x="39890" y="18105"/>
                    </a:cubicBezTo>
                    <a:cubicBezTo>
                      <a:pt x="37199" y="15029"/>
                      <a:pt x="33354" y="13363"/>
                      <a:pt x="29254" y="13107"/>
                    </a:cubicBezTo>
                    <a:cubicBezTo>
                      <a:pt x="28998" y="13107"/>
                      <a:pt x="28741" y="13107"/>
                      <a:pt x="28485" y="13107"/>
                    </a:cubicBezTo>
                    <a:close/>
                    <a:moveTo>
                      <a:pt x="50398" y="29382"/>
                    </a:moveTo>
                    <a:lnTo>
                      <a:pt x="50398" y="29382"/>
                    </a:lnTo>
                    <a:lnTo>
                      <a:pt x="50398" y="29382"/>
                    </a:lnTo>
                    <a:close/>
                  </a:path>
                </a:pathLst>
              </a:custGeom>
              <a:grpFill/>
              <a:ln w="12807" cap="flat">
                <a:noFill/>
                <a:prstDash val="solid"/>
                <a:miter/>
              </a:ln>
            </p:spPr>
            <p:txBody>
              <a:bodyPr rtlCol="0" anchor="ctr"/>
              <a:lstStyle/>
              <a:p>
                <a:endParaRPr lang="ru-RU"/>
              </a:p>
            </p:txBody>
          </p:sp>
        </p:grpSp>
        <p:grpSp>
          <p:nvGrpSpPr>
            <p:cNvPr id="90" name="Рисунок 623">
              <a:extLst>
                <a:ext uri="{FF2B5EF4-FFF2-40B4-BE49-F238E27FC236}">
                  <a16:creationId xmlns:a16="http://schemas.microsoft.com/office/drawing/2014/main" id="{505233BE-9340-4FB9-ADB8-BA4A4CF7A717}"/>
                </a:ext>
              </a:extLst>
            </p:cNvPr>
            <p:cNvGrpSpPr/>
            <p:nvPr/>
          </p:nvGrpSpPr>
          <p:grpSpPr>
            <a:xfrm>
              <a:off x="6015752" y="2902528"/>
              <a:ext cx="359675" cy="359708"/>
              <a:chOff x="6015752" y="2902528"/>
              <a:chExt cx="359675" cy="359708"/>
            </a:xfrm>
            <a:grpFill/>
          </p:grpSpPr>
          <p:sp>
            <p:nvSpPr>
              <p:cNvPr id="91" name="Полилиния: фигура 90">
                <a:extLst>
                  <a:ext uri="{FF2B5EF4-FFF2-40B4-BE49-F238E27FC236}">
                    <a16:creationId xmlns:a16="http://schemas.microsoft.com/office/drawing/2014/main" id="{0A0A3BE2-6B9D-4954-B391-964ED2311A33}"/>
                  </a:ext>
                </a:extLst>
              </p:cNvPr>
              <p:cNvSpPr/>
              <p:nvPr/>
            </p:nvSpPr>
            <p:spPr>
              <a:xfrm>
                <a:off x="6015752" y="2902528"/>
                <a:ext cx="281410" cy="281410"/>
              </a:xfrm>
              <a:custGeom>
                <a:avLst/>
                <a:gdLst>
                  <a:gd name="connsiteX0" fmla="*/ 140705 w 281410"/>
                  <a:gd name="connsiteY0" fmla="*/ 281411 h 281410"/>
                  <a:gd name="connsiteX1" fmla="*/ 0 w 281410"/>
                  <a:gd name="connsiteY1" fmla="*/ 140705 h 281410"/>
                  <a:gd name="connsiteX2" fmla="*/ 140705 w 281410"/>
                  <a:gd name="connsiteY2" fmla="*/ 0 h 281410"/>
                  <a:gd name="connsiteX3" fmla="*/ 281411 w 281410"/>
                  <a:gd name="connsiteY3" fmla="*/ 140705 h 281410"/>
                  <a:gd name="connsiteX4" fmla="*/ 140705 w 281410"/>
                  <a:gd name="connsiteY4" fmla="*/ 281411 h 281410"/>
                  <a:gd name="connsiteX5" fmla="*/ 140705 w 281410"/>
                  <a:gd name="connsiteY5" fmla="*/ 13199 h 281410"/>
                  <a:gd name="connsiteX6" fmla="*/ 13199 w 281410"/>
                  <a:gd name="connsiteY6" fmla="*/ 140705 h 281410"/>
                  <a:gd name="connsiteX7" fmla="*/ 140705 w 281410"/>
                  <a:gd name="connsiteY7" fmla="*/ 268212 h 281410"/>
                  <a:gd name="connsiteX8" fmla="*/ 268211 w 281410"/>
                  <a:gd name="connsiteY8" fmla="*/ 140705 h 281410"/>
                  <a:gd name="connsiteX9" fmla="*/ 140705 w 281410"/>
                  <a:gd name="connsiteY9" fmla="*/ 13199 h 28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410" h="281410">
                    <a:moveTo>
                      <a:pt x="140705" y="281411"/>
                    </a:moveTo>
                    <a:cubicBezTo>
                      <a:pt x="63176" y="281411"/>
                      <a:pt x="0" y="218362"/>
                      <a:pt x="0" y="140705"/>
                    </a:cubicBezTo>
                    <a:cubicBezTo>
                      <a:pt x="0" y="63176"/>
                      <a:pt x="63176" y="0"/>
                      <a:pt x="140705" y="0"/>
                    </a:cubicBezTo>
                    <a:cubicBezTo>
                      <a:pt x="218234" y="0"/>
                      <a:pt x="281411" y="63048"/>
                      <a:pt x="281411" y="140705"/>
                    </a:cubicBezTo>
                    <a:cubicBezTo>
                      <a:pt x="281411" y="218362"/>
                      <a:pt x="218363" y="281411"/>
                      <a:pt x="140705" y="281411"/>
                    </a:cubicBezTo>
                    <a:close/>
                    <a:moveTo>
                      <a:pt x="140705" y="13199"/>
                    </a:moveTo>
                    <a:cubicBezTo>
                      <a:pt x="70353" y="13199"/>
                      <a:pt x="13199" y="70353"/>
                      <a:pt x="13199" y="140705"/>
                    </a:cubicBezTo>
                    <a:cubicBezTo>
                      <a:pt x="13199" y="211058"/>
                      <a:pt x="70353" y="268212"/>
                      <a:pt x="140705" y="268212"/>
                    </a:cubicBezTo>
                    <a:cubicBezTo>
                      <a:pt x="211058" y="268212"/>
                      <a:pt x="268211" y="211058"/>
                      <a:pt x="268211" y="140705"/>
                    </a:cubicBezTo>
                    <a:cubicBezTo>
                      <a:pt x="268211" y="70481"/>
                      <a:pt x="211058" y="13199"/>
                      <a:pt x="140705" y="13199"/>
                    </a:cubicBezTo>
                    <a:close/>
                  </a:path>
                </a:pathLst>
              </a:custGeom>
              <a:grpFill/>
              <a:ln w="12807" cap="flat">
                <a:noFill/>
                <a:prstDash val="solid"/>
                <a:miter/>
              </a:ln>
            </p:spPr>
            <p:txBody>
              <a:bodyPr rtlCol="0" anchor="ctr"/>
              <a:lstStyle/>
              <a:p>
                <a:endParaRPr lang="ru-RU"/>
              </a:p>
            </p:txBody>
          </p:sp>
          <p:sp>
            <p:nvSpPr>
              <p:cNvPr id="92" name="Полилиния: фигура 91">
                <a:extLst>
                  <a:ext uri="{FF2B5EF4-FFF2-40B4-BE49-F238E27FC236}">
                    <a16:creationId xmlns:a16="http://schemas.microsoft.com/office/drawing/2014/main" id="{A9FA63FE-4FA8-4D98-9505-0D9A4577F394}"/>
                  </a:ext>
                </a:extLst>
              </p:cNvPr>
              <p:cNvSpPr/>
              <p:nvPr/>
            </p:nvSpPr>
            <p:spPr>
              <a:xfrm>
                <a:off x="6229372" y="3120506"/>
                <a:ext cx="146055" cy="141730"/>
              </a:xfrm>
              <a:custGeom>
                <a:avLst/>
                <a:gdLst>
                  <a:gd name="connsiteX0" fmla="*/ 119177 w 146055"/>
                  <a:gd name="connsiteY0" fmla="*/ 141731 h 141730"/>
                  <a:gd name="connsiteX1" fmla="*/ 100339 w 146055"/>
                  <a:gd name="connsiteY1" fmla="*/ 133914 h 141730"/>
                  <a:gd name="connsiteX2" fmla="*/ 1922 w 146055"/>
                  <a:gd name="connsiteY2" fmla="*/ 35497 h 141730"/>
                  <a:gd name="connsiteX3" fmla="*/ 1922 w 146055"/>
                  <a:gd name="connsiteY3" fmla="*/ 26142 h 141730"/>
                  <a:gd name="connsiteX4" fmla="*/ 11277 w 146055"/>
                  <a:gd name="connsiteY4" fmla="*/ 26142 h 141730"/>
                  <a:gd name="connsiteX5" fmla="*/ 109694 w 146055"/>
                  <a:gd name="connsiteY5" fmla="*/ 124559 h 141730"/>
                  <a:gd name="connsiteX6" fmla="*/ 128788 w 146055"/>
                  <a:gd name="connsiteY6" fmla="*/ 124559 h 141730"/>
                  <a:gd name="connsiteX7" fmla="*/ 128916 w 146055"/>
                  <a:gd name="connsiteY7" fmla="*/ 105337 h 141730"/>
                  <a:gd name="connsiteX8" fmla="*/ 34856 w 146055"/>
                  <a:gd name="connsiteY8" fmla="*/ 11277 h 141730"/>
                  <a:gd name="connsiteX9" fmla="*/ 34856 w 146055"/>
                  <a:gd name="connsiteY9" fmla="*/ 1922 h 141730"/>
                  <a:gd name="connsiteX10" fmla="*/ 44211 w 146055"/>
                  <a:gd name="connsiteY10" fmla="*/ 1922 h 141730"/>
                  <a:gd name="connsiteX11" fmla="*/ 138270 w 146055"/>
                  <a:gd name="connsiteY11" fmla="*/ 95982 h 141730"/>
                  <a:gd name="connsiteX12" fmla="*/ 138270 w 146055"/>
                  <a:gd name="connsiteY12" fmla="*/ 133657 h 141730"/>
                  <a:gd name="connsiteX13" fmla="*/ 119177 w 146055"/>
                  <a:gd name="connsiteY13" fmla="*/ 141731 h 14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055" h="141730">
                    <a:moveTo>
                      <a:pt x="119177" y="141731"/>
                    </a:moveTo>
                    <a:cubicBezTo>
                      <a:pt x="112001" y="141731"/>
                      <a:pt x="105337" y="138911"/>
                      <a:pt x="100339" y="133914"/>
                    </a:cubicBezTo>
                    <a:lnTo>
                      <a:pt x="1922" y="35497"/>
                    </a:lnTo>
                    <a:cubicBezTo>
                      <a:pt x="-641" y="32934"/>
                      <a:pt x="-641" y="28705"/>
                      <a:pt x="1922" y="26142"/>
                    </a:cubicBezTo>
                    <a:cubicBezTo>
                      <a:pt x="4485" y="23579"/>
                      <a:pt x="8714" y="23579"/>
                      <a:pt x="11277" y="26142"/>
                    </a:cubicBezTo>
                    <a:lnTo>
                      <a:pt x="109694" y="124559"/>
                    </a:lnTo>
                    <a:cubicBezTo>
                      <a:pt x="114820" y="129685"/>
                      <a:pt x="123662" y="129685"/>
                      <a:pt x="128788" y="124559"/>
                    </a:cubicBezTo>
                    <a:cubicBezTo>
                      <a:pt x="134170" y="119177"/>
                      <a:pt x="134170" y="110591"/>
                      <a:pt x="128916" y="105337"/>
                    </a:cubicBezTo>
                    <a:lnTo>
                      <a:pt x="34856" y="11277"/>
                    </a:lnTo>
                    <a:cubicBezTo>
                      <a:pt x="32293" y="8714"/>
                      <a:pt x="32293" y="4485"/>
                      <a:pt x="34856" y="1922"/>
                    </a:cubicBezTo>
                    <a:cubicBezTo>
                      <a:pt x="37419" y="-641"/>
                      <a:pt x="41648" y="-641"/>
                      <a:pt x="44211" y="1922"/>
                    </a:cubicBezTo>
                    <a:lnTo>
                      <a:pt x="138270" y="95982"/>
                    </a:lnTo>
                    <a:cubicBezTo>
                      <a:pt x="148651" y="106362"/>
                      <a:pt x="148651" y="123277"/>
                      <a:pt x="138270" y="133657"/>
                    </a:cubicBezTo>
                    <a:cubicBezTo>
                      <a:pt x="133017" y="138911"/>
                      <a:pt x="126353" y="141731"/>
                      <a:pt x="119177" y="141731"/>
                    </a:cubicBezTo>
                    <a:close/>
                  </a:path>
                </a:pathLst>
              </a:custGeom>
              <a:grpFill/>
              <a:ln w="12807" cap="flat">
                <a:noFill/>
                <a:prstDash val="solid"/>
                <a:miter/>
              </a:ln>
            </p:spPr>
            <p:txBody>
              <a:bodyPr rtlCol="0" anchor="ctr"/>
              <a:lstStyle/>
              <a:p>
                <a:endParaRPr lang="ru-RU"/>
              </a:p>
            </p:txBody>
          </p:sp>
        </p:grpSp>
      </p:grpSp>
      <p:grpSp>
        <p:nvGrpSpPr>
          <p:cNvPr id="100" name="Рисунок 61">
            <a:extLst>
              <a:ext uri="{FF2B5EF4-FFF2-40B4-BE49-F238E27FC236}">
                <a16:creationId xmlns:a16="http://schemas.microsoft.com/office/drawing/2014/main" id="{BA3E76C3-021F-4A88-8F9D-14907B37667E}"/>
              </a:ext>
            </a:extLst>
          </p:cNvPr>
          <p:cNvGrpSpPr/>
          <p:nvPr/>
        </p:nvGrpSpPr>
        <p:grpSpPr>
          <a:xfrm>
            <a:off x="9221280" y="3368564"/>
            <a:ext cx="622532" cy="442295"/>
            <a:chOff x="1533020" y="5035706"/>
            <a:chExt cx="578482" cy="410998"/>
          </a:xfrm>
          <a:solidFill>
            <a:schemeClr val="bg1"/>
          </a:solidFill>
          <a:effectLst>
            <a:outerShdw blurRad="50800" dist="12700" sx="102000" sy="102000" algn="ctr" rotWithShape="0">
              <a:prstClr val="black">
                <a:alpha val="40000"/>
              </a:prstClr>
            </a:outerShdw>
          </a:effectLst>
        </p:grpSpPr>
        <p:grpSp>
          <p:nvGrpSpPr>
            <p:cNvPr id="101" name="Рисунок 61">
              <a:extLst>
                <a:ext uri="{FF2B5EF4-FFF2-40B4-BE49-F238E27FC236}">
                  <a16:creationId xmlns:a16="http://schemas.microsoft.com/office/drawing/2014/main" id="{D33046C0-0312-4017-8331-E4A53906368E}"/>
                </a:ext>
              </a:extLst>
            </p:cNvPr>
            <p:cNvGrpSpPr/>
            <p:nvPr/>
          </p:nvGrpSpPr>
          <p:grpSpPr>
            <a:xfrm>
              <a:off x="1533020" y="5035706"/>
              <a:ext cx="325184" cy="325046"/>
              <a:chOff x="1533020" y="5035706"/>
              <a:chExt cx="325184" cy="325046"/>
            </a:xfrm>
            <a:grpFill/>
          </p:grpSpPr>
          <p:sp>
            <p:nvSpPr>
              <p:cNvPr id="105" name="Полилиния: фигура 104">
                <a:extLst>
                  <a:ext uri="{FF2B5EF4-FFF2-40B4-BE49-F238E27FC236}">
                    <a16:creationId xmlns:a16="http://schemas.microsoft.com/office/drawing/2014/main" id="{18B0B2A9-E398-4563-866E-1689B6276D7C}"/>
                  </a:ext>
                </a:extLst>
              </p:cNvPr>
              <p:cNvSpPr/>
              <p:nvPr/>
            </p:nvSpPr>
            <p:spPr>
              <a:xfrm>
                <a:off x="1608763" y="5111448"/>
                <a:ext cx="173836" cy="173836"/>
              </a:xfrm>
              <a:custGeom>
                <a:avLst/>
                <a:gdLst>
                  <a:gd name="connsiteX0" fmla="*/ 86918 w 173836"/>
                  <a:gd name="connsiteY0" fmla="*/ 173836 h 173836"/>
                  <a:gd name="connsiteX1" fmla="*/ 0 w 173836"/>
                  <a:gd name="connsiteY1" fmla="*/ 86918 h 173836"/>
                  <a:gd name="connsiteX2" fmla="*/ 86918 w 173836"/>
                  <a:gd name="connsiteY2" fmla="*/ 0 h 173836"/>
                  <a:gd name="connsiteX3" fmla="*/ 173836 w 173836"/>
                  <a:gd name="connsiteY3" fmla="*/ 86918 h 173836"/>
                  <a:gd name="connsiteX4" fmla="*/ 86918 w 173836"/>
                  <a:gd name="connsiteY4" fmla="*/ 173836 h 173836"/>
                  <a:gd name="connsiteX5" fmla="*/ 86918 w 173836"/>
                  <a:gd name="connsiteY5" fmla="*/ 14211 h 173836"/>
                  <a:gd name="connsiteX6" fmla="*/ 14210 w 173836"/>
                  <a:gd name="connsiteY6" fmla="*/ 86918 h 173836"/>
                  <a:gd name="connsiteX7" fmla="*/ 86918 w 173836"/>
                  <a:gd name="connsiteY7" fmla="*/ 159626 h 173836"/>
                  <a:gd name="connsiteX8" fmla="*/ 159626 w 173836"/>
                  <a:gd name="connsiteY8" fmla="*/ 86918 h 173836"/>
                  <a:gd name="connsiteX9" fmla="*/ 86918 w 173836"/>
                  <a:gd name="connsiteY9" fmla="*/ 14211 h 17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836" h="173836">
                    <a:moveTo>
                      <a:pt x="86918" y="173836"/>
                    </a:moveTo>
                    <a:cubicBezTo>
                      <a:pt x="39044" y="173836"/>
                      <a:pt x="0" y="134792"/>
                      <a:pt x="0" y="86918"/>
                    </a:cubicBezTo>
                    <a:cubicBezTo>
                      <a:pt x="0" y="39044"/>
                      <a:pt x="39044" y="0"/>
                      <a:pt x="86918" y="0"/>
                    </a:cubicBezTo>
                    <a:cubicBezTo>
                      <a:pt x="134792" y="0"/>
                      <a:pt x="173836" y="39044"/>
                      <a:pt x="173836" y="86918"/>
                    </a:cubicBezTo>
                    <a:cubicBezTo>
                      <a:pt x="173836" y="134792"/>
                      <a:pt x="134792" y="173836"/>
                      <a:pt x="86918" y="173836"/>
                    </a:cubicBezTo>
                    <a:close/>
                    <a:moveTo>
                      <a:pt x="86918" y="14211"/>
                    </a:moveTo>
                    <a:cubicBezTo>
                      <a:pt x="46770" y="14211"/>
                      <a:pt x="14210" y="46770"/>
                      <a:pt x="14210" y="86918"/>
                    </a:cubicBezTo>
                    <a:cubicBezTo>
                      <a:pt x="14210" y="127066"/>
                      <a:pt x="46770" y="159626"/>
                      <a:pt x="86918" y="159626"/>
                    </a:cubicBezTo>
                    <a:cubicBezTo>
                      <a:pt x="127066" y="159626"/>
                      <a:pt x="159626" y="127066"/>
                      <a:pt x="159626" y="86918"/>
                    </a:cubicBezTo>
                    <a:cubicBezTo>
                      <a:pt x="159626" y="46908"/>
                      <a:pt x="126928" y="14211"/>
                      <a:pt x="86918" y="14211"/>
                    </a:cubicBezTo>
                    <a:close/>
                  </a:path>
                </a:pathLst>
              </a:custGeom>
              <a:grpFill/>
              <a:ln w="13786" cap="flat">
                <a:noFill/>
                <a:prstDash val="solid"/>
                <a:miter/>
              </a:ln>
            </p:spPr>
            <p:txBody>
              <a:bodyPr rtlCol="0" anchor="ctr"/>
              <a:lstStyle/>
              <a:p>
                <a:endParaRPr lang="ru-RU"/>
              </a:p>
            </p:txBody>
          </p:sp>
          <p:sp>
            <p:nvSpPr>
              <p:cNvPr id="106" name="Полилиния: фигура 105">
                <a:extLst>
                  <a:ext uri="{FF2B5EF4-FFF2-40B4-BE49-F238E27FC236}">
                    <a16:creationId xmlns:a16="http://schemas.microsoft.com/office/drawing/2014/main" id="{F62546B1-3B67-40D0-BB83-8C0FEFE9805B}"/>
                  </a:ext>
                </a:extLst>
              </p:cNvPr>
              <p:cNvSpPr/>
              <p:nvPr/>
            </p:nvSpPr>
            <p:spPr>
              <a:xfrm>
                <a:off x="1533020" y="5035706"/>
                <a:ext cx="325184" cy="325046"/>
              </a:xfrm>
              <a:custGeom>
                <a:avLst/>
                <a:gdLst>
                  <a:gd name="connsiteX0" fmla="*/ 171767 w 325184"/>
                  <a:gd name="connsiteY0" fmla="*/ 325046 h 325046"/>
                  <a:gd name="connsiteX1" fmla="*/ 153417 w 325184"/>
                  <a:gd name="connsiteY1" fmla="*/ 325046 h 325046"/>
                  <a:gd name="connsiteX2" fmla="*/ 127618 w 325184"/>
                  <a:gd name="connsiteY2" fmla="*/ 299247 h 325046"/>
                  <a:gd name="connsiteX3" fmla="*/ 127618 w 325184"/>
                  <a:gd name="connsiteY3" fmla="*/ 284898 h 325046"/>
                  <a:gd name="connsiteX4" fmla="*/ 100715 w 325184"/>
                  <a:gd name="connsiteY4" fmla="*/ 273861 h 325046"/>
                  <a:gd name="connsiteX5" fmla="*/ 90643 w 325184"/>
                  <a:gd name="connsiteY5" fmla="*/ 283933 h 325046"/>
                  <a:gd name="connsiteX6" fmla="*/ 54220 w 325184"/>
                  <a:gd name="connsiteY6" fmla="*/ 283933 h 325046"/>
                  <a:gd name="connsiteX7" fmla="*/ 41252 w 325184"/>
                  <a:gd name="connsiteY7" fmla="*/ 270964 h 325046"/>
                  <a:gd name="connsiteX8" fmla="*/ 41252 w 325184"/>
                  <a:gd name="connsiteY8" fmla="*/ 234541 h 325046"/>
                  <a:gd name="connsiteX9" fmla="*/ 51323 w 325184"/>
                  <a:gd name="connsiteY9" fmla="*/ 224470 h 325046"/>
                  <a:gd name="connsiteX10" fmla="*/ 40148 w 325184"/>
                  <a:gd name="connsiteY10" fmla="*/ 197566 h 325046"/>
                  <a:gd name="connsiteX11" fmla="*/ 25800 w 325184"/>
                  <a:gd name="connsiteY11" fmla="*/ 197566 h 325046"/>
                  <a:gd name="connsiteX12" fmla="*/ 0 w 325184"/>
                  <a:gd name="connsiteY12" fmla="*/ 171767 h 325046"/>
                  <a:gd name="connsiteX13" fmla="*/ 0 w 325184"/>
                  <a:gd name="connsiteY13" fmla="*/ 153417 h 325046"/>
                  <a:gd name="connsiteX14" fmla="*/ 25800 w 325184"/>
                  <a:gd name="connsiteY14" fmla="*/ 127618 h 325046"/>
                  <a:gd name="connsiteX15" fmla="*/ 40148 w 325184"/>
                  <a:gd name="connsiteY15" fmla="*/ 127618 h 325046"/>
                  <a:gd name="connsiteX16" fmla="*/ 51323 w 325184"/>
                  <a:gd name="connsiteY16" fmla="*/ 100715 h 325046"/>
                  <a:gd name="connsiteX17" fmla="*/ 41252 w 325184"/>
                  <a:gd name="connsiteY17" fmla="*/ 90643 h 325046"/>
                  <a:gd name="connsiteX18" fmla="*/ 33664 w 325184"/>
                  <a:gd name="connsiteY18" fmla="*/ 72432 h 325046"/>
                  <a:gd name="connsiteX19" fmla="*/ 41252 w 325184"/>
                  <a:gd name="connsiteY19" fmla="*/ 54220 h 325046"/>
                  <a:gd name="connsiteX20" fmla="*/ 54220 w 325184"/>
                  <a:gd name="connsiteY20" fmla="*/ 41251 h 325046"/>
                  <a:gd name="connsiteX21" fmla="*/ 72432 w 325184"/>
                  <a:gd name="connsiteY21" fmla="*/ 33664 h 325046"/>
                  <a:gd name="connsiteX22" fmla="*/ 90643 w 325184"/>
                  <a:gd name="connsiteY22" fmla="*/ 41251 h 325046"/>
                  <a:gd name="connsiteX23" fmla="*/ 100715 w 325184"/>
                  <a:gd name="connsiteY23" fmla="*/ 51323 h 325046"/>
                  <a:gd name="connsiteX24" fmla="*/ 127618 w 325184"/>
                  <a:gd name="connsiteY24" fmla="*/ 40148 h 325046"/>
                  <a:gd name="connsiteX25" fmla="*/ 127618 w 325184"/>
                  <a:gd name="connsiteY25" fmla="*/ 25799 h 325046"/>
                  <a:gd name="connsiteX26" fmla="*/ 153417 w 325184"/>
                  <a:gd name="connsiteY26" fmla="*/ 0 h 325046"/>
                  <a:gd name="connsiteX27" fmla="*/ 171767 w 325184"/>
                  <a:gd name="connsiteY27" fmla="*/ 0 h 325046"/>
                  <a:gd name="connsiteX28" fmla="*/ 197566 w 325184"/>
                  <a:gd name="connsiteY28" fmla="*/ 25799 h 325046"/>
                  <a:gd name="connsiteX29" fmla="*/ 197566 w 325184"/>
                  <a:gd name="connsiteY29" fmla="*/ 40148 h 325046"/>
                  <a:gd name="connsiteX30" fmla="*/ 224470 w 325184"/>
                  <a:gd name="connsiteY30" fmla="*/ 51323 h 325046"/>
                  <a:gd name="connsiteX31" fmla="*/ 234541 w 325184"/>
                  <a:gd name="connsiteY31" fmla="*/ 41251 h 325046"/>
                  <a:gd name="connsiteX32" fmla="*/ 252752 w 325184"/>
                  <a:gd name="connsiteY32" fmla="*/ 33664 h 325046"/>
                  <a:gd name="connsiteX33" fmla="*/ 270964 w 325184"/>
                  <a:gd name="connsiteY33" fmla="*/ 41251 h 325046"/>
                  <a:gd name="connsiteX34" fmla="*/ 283933 w 325184"/>
                  <a:gd name="connsiteY34" fmla="*/ 54220 h 325046"/>
                  <a:gd name="connsiteX35" fmla="*/ 291521 w 325184"/>
                  <a:gd name="connsiteY35" fmla="*/ 72432 h 325046"/>
                  <a:gd name="connsiteX36" fmla="*/ 283933 w 325184"/>
                  <a:gd name="connsiteY36" fmla="*/ 90643 h 325046"/>
                  <a:gd name="connsiteX37" fmla="*/ 273861 w 325184"/>
                  <a:gd name="connsiteY37" fmla="*/ 100715 h 325046"/>
                  <a:gd name="connsiteX38" fmla="*/ 285036 w 325184"/>
                  <a:gd name="connsiteY38" fmla="*/ 127618 h 325046"/>
                  <a:gd name="connsiteX39" fmla="*/ 299385 w 325184"/>
                  <a:gd name="connsiteY39" fmla="*/ 127618 h 325046"/>
                  <a:gd name="connsiteX40" fmla="*/ 325184 w 325184"/>
                  <a:gd name="connsiteY40" fmla="*/ 153417 h 325046"/>
                  <a:gd name="connsiteX41" fmla="*/ 325184 w 325184"/>
                  <a:gd name="connsiteY41" fmla="*/ 171767 h 325046"/>
                  <a:gd name="connsiteX42" fmla="*/ 299385 w 325184"/>
                  <a:gd name="connsiteY42" fmla="*/ 197566 h 325046"/>
                  <a:gd name="connsiteX43" fmla="*/ 285036 w 325184"/>
                  <a:gd name="connsiteY43" fmla="*/ 197566 h 325046"/>
                  <a:gd name="connsiteX44" fmla="*/ 273861 w 325184"/>
                  <a:gd name="connsiteY44" fmla="*/ 224470 h 325046"/>
                  <a:gd name="connsiteX45" fmla="*/ 283933 w 325184"/>
                  <a:gd name="connsiteY45" fmla="*/ 234541 h 325046"/>
                  <a:gd name="connsiteX46" fmla="*/ 283933 w 325184"/>
                  <a:gd name="connsiteY46" fmla="*/ 270964 h 325046"/>
                  <a:gd name="connsiteX47" fmla="*/ 270964 w 325184"/>
                  <a:gd name="connsiteY47" fmla="*/ 283933 h 325046"/>
                  <a:gd name="connsiteX48" fmla="*/ 234541 w 325184"/>
                  <a:gd name="connsiteY48" fmla="*/ 283933 h 325046"/>
                  <a:gd name="connsiteX49" fmla="*/ 224470 w 325184"/>
                  <a:gd name="connsiteY49" fmla="*/ 273861 h 325046"/>
                  <a:gd name="connsiteX50" fmla="*/ 197566 w 325184"/>
                  <a:gd name="connsiteY50" fmla="*/ 284898 h 325046"/>
                  <a:gd name="connsiteX51" fmla="*/ 197566 w 325184"/>
                  <a:gd name="connsiteY51" fmla="*/ 299247 h 325046"/>
                  <a:gd name="connsiteX52" fmla="*/ 171767 w 325184"/>
                  <a:gd name="connsiteY52" fmla="*/ 325046 h 325046"/>
                  <a:gd name="connsiteX53" fmla="*/ 103474 w 325184"/>
                  <a:gd name="connsiteY53" fmla="*/ 258961 h 325046"/>
                  <a:gd name="connsiteX54" fmla="*/ 136448 w 325184"/>
                  <a:gd name="connsiteY54" fmla="*/ 272619 h 325046"/>
                  <a:gd name="connsiteX55" fmla="*/ 141966 w 325184"/>
                  <a:gd name="connsiteY55" fmla="*/ 279518 h 325046"/>
                  <a:gd name="connsiteX56" fmla="*/ 141966 w 325184"/>
                  <a:gd name="connsiteY56" fmla="*/ 299247 h 325046"/>
                  <a:gd name="connsiteX57" fmla="*/ 153555 w 325184"/>
                  <a:gd name="connsiteY57" fmla="*/ 310836 h 325046"/>
                  <a:gd name="connsiteX58" fmla="*/ 171905 w 325184"/>
                  <a:gd name="connsiteY58" fmla="*/ 310836 h 325046"/>
                  <a:gd name="connsiteX59" fmla="*/ 183494 w 325184"/>
                  <a:gd name="connsiteY59" fmla="*/ 299247 h 325046"/>
                  <a:gd name="connsiteX60" fmla="*/ 183494 w 325184"/>
                  <a:gd name="connsiteY60" fmla="*/ 279518 h 325046"/>
                  <a:gd name="connsiteX61" fmla="*/ 189013 w 325184"/>
                  <a:gd name="connsiteY61" fmla="*/ 272619 h 325046"/>
                  <a:gd name="connsiteX62" fmla="*/ 221986 w 325184"/>
                  <a:gd name="connsiteY62" fmla="*/ 258961 h 325046"/>
                  <a:gd name="connsiteX63" fmla="*/ 231092 w 325184"/>
                  <a:gd name="connsiteY63" fmla="*/ 260340 h 325046"/>
                  <a:gd name="connsiteX64" fmla="*/ 244751 w 325184"/>
                  <a:gd name="connsiteY64" fmla="*/ 273999 h 325046"/>
                  <a:gd name="connsiteX65" fmla="*/ 261168 w 325184"/>
                  <a:gd name="connsiteY65" fmla="*/ 273999 h 325046"/>
                  <a:gd name="connsiteX66" fmla="*/ 274137 w 325184"/>
                  <a:gd name="connsiteY66" fmla="*/ 261030 h 325046"/>
                  <a:gd name="connsiteX67" fmla="*/ 277586 w 325184"/>
                  <a:gd name="connsiteY67" fmla="*/ 252890 h 325046"/>
                  <a:gd name="connsiteX68" fmla="*/ 274137 w 325184"/>
                  <a:gd name="connsiteY68" fmla="*/ 244750 h 325046"/>
                  <a:gd name="connsiteX69" fmla="*/ 260479 w 325184"/>
                  <a:gd name="connsiteY69" fmla="*/ 231092 h 325046"/>
                  <a:gd name="connsiteX70" fmla="*/ 258823 w 325184"/>
                  <a:gd name="connsiteY70" fmla="*/ 222538 h 325046"/>
                  <a:gd name="connsiteX71" fmla="*/ 259237 w 325184"/>
                  <a:gd name="connsiteY71" fmla="*/ 221848 h 325046"/>
                  <a:gd name="connsiteX72" fmla="*/ 272757 w 325184"/>
                  <a:gd name="connsiteY72" fmla="*/ 189012 h 325046"/>
                  <a:gd name="connsiteX73" fmla="*/ 279656 w 325184"/>
                  <a:gd name="connsiteY73" fmla="*/ 183494 h 325046"/>
                  <a:gd name="connsiteX74" fmla="*/ 299385 w 325184"/>
                  <a:gd name="connsiteY74" fmla="*/ 183494 h 325046"/>
                  <a:gd name="connsiteX75" fmla="*/ 310974 w 325184"/>
                  <a:gd name="connsiteY75" fmla="*/ 171905 h 325046"/>
                  <a:gd name="connsiteX76" fmla="*/ 310974 w 325184"/>
                  <a:gd name="connsiteY76" fmla="*/ 153555 h 325046"/>
                  <a:gd name="connsiteX77" fmla="*/ 299385 w 325184"/>
                  <a:gd name="connsiteY77" fmla="*/ 141966 h 325046"/>
                  <a:gd name="connsiteX78" fmla="*/ 279656 w 325184"/>
                  <a:gd name="connsiteY78" fmla="*/ 141966 h 325046"/>
                  <a:gd name="connsiteX79" fmla="*/ 272757 w 325184"/>
                  <a:gd name="connsiteY79" fmla="*/ 136448 h 325046"/>
                  <a:gd name="connsiteX80" fmla="*/ 259099 w 325184"/>
                  <a:gd name="connsiteY80" fmla="*/ 103474 h 325046"/>
                  <a:gd name="connsiteX81" fmla="*/ 260065 w 325184"/>
                  <a:gd name="connsiteY81" fmla="*/ 94782 h 325046"/>
                  <a:gd name="connsiteX82" fmla="*/ 273999 w 325184"/>
                  <a:gd name="connsiteY82" fmla="*/ 80848 h 325046"/>
                  <a:gd name="connsiteX83" fmla="*/ 277448 w 325184"/>
                  <a:gd name="connsiteY83" fmla="*/ 72708 h 325046"/>
                  <a:gd name="connsiteX84" fmla="*/ 273999 w 325184"/>
                  <a:gd name="connsiteY84" fmla="*/ 64568 h 325046"/>
                  <a:gd name="connsiteX85" fmla="*/ 261030 w 325184"/>
                  <a:gd name="connsiteY85" fmla="*/ 51599 h 325046"/>
                  <a:gd name="connsiteX86" fmla="*/ 244613 w 325184"/>
                  <a:gd name="connsiteY86" fmla="*/ 51599 h 325046"/>
                  <a:gd name="connsiteX87" fmla="*/ 230678 w 325184"/>
                  <a:gd name="connsiteY87" fmla="*/ 65534 h 325046"/>
                  <a:gd name="connsiteX88" fmla="*/ 221986 w 325184"/>
                  <a:gd name="connsiteY88" fmla="*/ 66499 h 325046"/>
                  <a:gd name="connsiteX89" fmla="*/ 189013 w 325184"/>
                  <a:gd name="connsiteY89" fmla="*/ 52841 h 325046"/>
                  <a:gd name="connsiteX90" fmla="*/ 183494 w 325184"/>
                  <a:gd name="connsiteY90" fmla="*/ 45942 h 325046"/>
                  <a:gd name="connsiteX91" fmla="*/ 183494 w 325184"/>
                  <a:gd name="connsiteY91" fmla="*/ 26213 h 325046"/>
                  <a:gd name="connsiteX92" fmla="*/ 171905 w 325184"/>
                  <a:gd name="connsiteY92" fmla="*/ 14624 h 325046"/>
                  <a:gd name="connsiteX93" fmla="*/ 153555 w 325184"/>
                  <a:gd name="connsiteY93" fmla="*/ 14624 h 325046"/>
                  <a:gd name="connsiteX94" fmla="*/ 141966 w 325184"/>
                  <a:gd name="connsiteY94" fmla="*/ 26213 h 325046"/>
                  <a:gd name="connsiteX95" fmla="*/ 141966 w 325184"/>
                  <a:gd name="connsiteY95" fmla="*/ 45942 h 325046"/>
                  <a:gd name="connsiteX96" fmla="*/ 136448 w 325184"/>
                  <a:gd name="connsiteY96" fmla="*/ 52841 h 325046"/>
                  <a:gd name="connsiteX97" fmla="*/ 103474 w 325184"/>
                  <a:gd name="connsiteY97" fmla="*/ 66499 h 325046"/>
                  <a:gd name="connsiteX98" fmla="*/ 94782 w 325184"/>
                  <a:gd name="connsiteY98" fmla="*/ 65534 h 325046"/>
                  <a:gd name="connsiteX99" fmla="*/ 80848 w 325184"/>
                  <a:gd name="connsiteY99" fmla="*/ 51599 h 325046"/>
                  <a:gd name="connsiteX100" fmla="*/ 64430 w 325184"/>
                  <a:gd name="connsiteY100" fmla="*/ 51599 h 325046"/>
                  <a:gd name="connsiteX101" fmla="*/ 51461 w 325184"/>
                  <a:gd name="connsiteY101" fmla="*/ 64568 h 325046"/>
                  <a:gd name="connsiteX102" fmla="*/ 48012 w 325184"/>
                  <a:gd name="connsiteY102" fmla="*/ 72708 h 325046"/>
                  <a:gd name="connsiteX103" fmla="*/ 51461 w 325184"/>
                  <a:gd name="connsiteY103" fmla="*/ 80848 h 325046"/>
                  <a:gd name="connsiteX104" fmla="*/ 65396 w 325184"/>
                  <a:gd name="connsiteY104" fmla="*/ 94782 h 325046"/>
                  <a:gd name="connsiteX105" fmla="*/ 66361 w 325184"/>
                  <a:gd name="connsiteY105" fmla="*/ 103474 h 325046"/>
                  <a:gd name="connsiteX106" fmla="*/ 52703 w 325184"/>
                  <a:gd name="connsiteY106" fmla="*/ 136448 h 325046"/>
                  <a:gd name="connsiteX107" fmla="*/ 45804 w 325184"/>
                  <a:gd name="connsiteY107" fmla="*/ 141966 h 325046"/>
                  <a:gd name="connsiteX108" fmla="*/ 26075 w 325184"/>
                  <a:gd name="connsiteY108" fmla="*/ 141966 h 325046"/>
                  <a:gd name="connsiteX109" fmla="*/ 14486 w 325184"/>
                  <a:gd name="connsiteY109" fmla="*/ 153555 h 325046"/>
                  <a:gd name="connsiteX110" fmla="*/ 14486 w 325184"/>
                  <a:gd name="connsiteY110" fmla="*/ 171905 h 325046"/>
                  <a:gd name="connsiteX111" fmla="*/ 26075 w 325184"/>
                  <a:gd name="connsiteY111" fmla="*/ 183494 h 325046"/>
                  <a:gd name="connsiteX112" fmla="*/ 45804 w 325184"/>
                  <a:gd name="connsiteY112" fmla="*/ 183494 h 325046"/>
                  <a:gd name="connsiteX113" fmla="*/ 52703 w 325184"/>
                  <a:gd name="connsiteY113" fmla="*/ 189012 h 325046"/>
                  <a:gd name="connsiteX114" fmla="*/ 66223 w 325184"/>
                  <a:gd name="connsiteY114" fmla="*/ 221848 h 325046"/>
                  <a:gd name="connsiteX115" fmla="*/ 66637 w 325184"/>
                  <a:gd name="connsiteY115" fmla="*/ 222538 h 325046"/>
                  <a:gd name="connsiteX116" fmla="*/ 64982 w 325184"/>
                  <a:gd name="connsiteY116" fmla="*/ 230954 h 325046"/>
                  <a:gd name="connsiteX117" fmla="*/ 51323 w 325184"/>
                  <a:gd name="connsiteY117" fmla="*/ 244612 h 325046"/>
                  <a:gd name="connsiteX118" fmla="*/ 47874 w 325184"/>
                  <a:gd name="connsiteY118" fmla="*/ 252752 h 325046"/>
                  <a:gd name="connsiteX119" fmla="*/ 51323 w 325184"/>
                  <a:gd name="connsiteY119" fmla="*/ 260892 h 325046"/>
                  <a:gd name="connsiteX120" fmla="*/ 64292 w 325184"/>
                  <a:gd name="connsiteY120" fmla="*/ 273861 h 325046"/>
                  <a:gd name="connsiteX121" fmla="*/ 80710 w 325184"/>
                  <a:gd name="connsiteY121" fmla="*/ 273861 h 325046"/>
                  <a:gd name="connsiteX122" fmla="*/ 94368 w 325184"/>
                  <a:gd name="connsiteY122" fmla="*/ 260203 h 325046"/>
                  <a:gd name="connsiteX123" fmla="*/ 103474 w 325184"/>
                  <a:gd name="connsiteY123" fmla="*/ 258961 h 325046"/>
                  <a:gd name="connsiteX124" fmla="*/ 103474 w 325184"/>
                  <a:gd name="connsiteY124" fmla="*/ 258961 h 32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25184" h="325046">
                    <a:moveTo>
                      <a:pt x="171767" y="325046"/>
                    </a:moveTo>
                    <a:lnTo>
                      <a:pt x="153417" y="325046"/>
                    </a:lnTo>
                    <a:cubicBezTo>
                      <a:pt x="139207" y="325046"/>
                      <a:pt x="127618" y="313457"/>
                      <a:pt x="127618" y="299247"/>
                    </a:cubicBezTo>
                    <a:lnTo>
                      <a:pt x="127618" y="284898"/>
                    </a:lnTo>
                    <a:cubicBezTo>
                      <a:pt x="118236" y="282277"/>
                      <a:pt x="109269" y="278552"/>
                      <a:pt x="100715" y="273861"/>
                    </a:cubicBezTo>
                    <a:lnTo>
                      <a:pt x="90643" y="283933"/>
                    </a:lnTo>
                    <a:cubicBezTo>
                      <a:pt x="80572" y="294004"/>
                      <a:pt x="64292" y="294004"/>
                      <a:pt x="54220" y="283933"/>
                    </a:cubicBezTo>
                    <a:lnTo>
                      <a:pt x="41252" y="270964"/>
                    </a:lnTo>
                    <a:cubicBezTo>
                      <a:pt x="31180" y="260892"/>
                      <a:pt x="31180" y="244612"/>
                      <a:pt x="41252" y="234541"/>
                    </a:cubicBezTo>
                    <a:lnTo>
                      <a:pt x="51323" y="224470"/>
                    </a:lnTo>
                    <a:cubicBezTo>
                      <a:pt x="46632" y="215916"/>
                      <a:pt x="42907" y="206948"/>
                      <a:pt x="40148" y="197566"/>
                    </a:cubicBezTo>
                    <a:lnTo>
                      <a:pt x="25800" y="197566"/>
                    </a:lnTo>
                    <a:cubicBezTo>
                      <a:pt x="11589" y="197566"/>
                      <a:pt x="0" y="185977"/>
                      <a:pt x="0" y="171767"/>
                    </a:cubicBezTo>
                    <a:lnTo>
                      <a:pt x="0" y="153417"/>
                    </a:lnTo>
                    <a:cubicBezTo>
                      <a:pt x="0" y="139207"/>
                      <a:pt x="11589" y="127618"/>
                      <a:pt x="25800" y="127618"/>
                    </a:cubicBezTo>
                    <a:lnTo>
                      <a:pt x="40148" y="127618"/>
                    </a:lnTo>
                    <a:cubicBezTo>
                      <a:pt x="42769" y="118236"/>
                      <a:pt x="46494" y="109268"/>
                      <a:pt x="51323" y="100715"/>
                    </a:cubicBezTo>
                    <a:lnTo>
                      <a:pt x="41252" y="90643"/>
                    </a:lnTo>
                    <a:cubicBezTo>
                      <a:pt x="36423" y="85814"/>
                      <a:pt x="33664" y="79330"/>
                      <a:pt x="33664" y="72432"/>
                    </a:cubicBezTo>
                    <a:cubicBezTo>
                      <a:pt x="33664" y="65534"/>
                      <a:pt x="36285" y="59049"/>
                      <a:pt x="41252" y="54220"/>
                    </a:cubicBezTo>
                    <a:lnTo>
                      <a:pt x="54220" y="41251"/>
                    </a:lnTo>
                    <a:cubicBezTo>
                      <a:pt x="59049" y="36423"/>
                      <a:pt x="65534" y="33664"/>
                      <a:pt x="72432" y="33664"/>
                    </a:cubicBezTo>
                    <a:cubicBezTo>
                      <a:pt x="79330" y="33664"/>
                      <a:pt x="85814" y="36285"/>
                      <a:pt x="90643" y="41251"/>
                    </a:cubicBezTo>
                    <a:lnTo>
                      <a:pt x="100715" y="51323"/>
                    </a:lnTo>
                    <a:cubicBezTo>
                      <a:pt x="109269" y="46632"/>
                      <a:pt x="118236" y="42907"/>
                      <a:pt x="127618" y="40148"/>
                    </a:cubicBezTo>
                    <a:lnTo>
                      <a:pt x="127618" y="25799"/>
                    </a:lnTo>
                    <a:cubicBezTo>
                      <a:pt x="127618" y="11589"/>
                      <a:pt x="139207" y="0"/>
                      <a:pt x="153417" y="0"/>
                    </a:cubicBezTo>
                    <a:lnTo>
                      <a:pt x="171767" y="0"/>
                    </a:lnTo>
                    <a:cubicBezTo>
                      <a:pt x="185977" y="0"/>
                      <a:pt x="197566" y="11589"/>
                      <a:pt x="197566" y="25799"/>
                    </a:cubicBezTo>
                    <a:lnTo>
                      <a:pt x="197566" y="40148"/>
                    </a:lnTo>
                    <a:cubicBezTo>
                      <a:pt x="206948" y="42769"/>
                      <a:pt x="215916" y="46494"/>
                      <a:pt x="224470" y="51323"/>
                    </a:cubicBezTo>
                    <a:lnTo>
                      <a:pt x="234541" y="41251"/>
                    </a:lnTo>
                    <a:cubicBezTo>
                      <a:pt x="239370" y="36423"/>
                      <a:pt x="245854" y="33664"/>
                      <a:pt x="252752" y="33664"/>
                    </a:cubicBezTo>
                    <a:cubicBezTo>
                      <a:pt x="259651" y="33664"/>
                      <a:pt x="266135" y="36285"/>
                      <a:pt x="270964" y="41251"/>
                    </a:cubicBezTo>
                    <a:lnTo>
                      <a:pt x="283933" y="54220"/>
                    </a:lnTo>
                    <a:cubicBezTo>
                      <a:pt x="288761" y="59049"/>
                      <a:pt x="291521" y="65534"/>
                      <a:pt x="291521" y="72432"/>
                    </a:cubicBezTo>
                    <a:cubicBezTo>
                      <a:pt x="291521" y="79330"/>
                      <a:pt x="288899" y="85814"/>
                      <a:pt x="283933" y="90643"/>
                    </a:cubicBezTo>
                    <a:lnTo>
                      <a:pt x="273861" y="100715"/>
                    </a:lnTo>
                    <a:cubicBezTo>
                      <a:pt x="278552" y="109268"/>
                      <a:pt x="282277" y="118236"/>
                      <a:pt x="285036" y="127618"/>
                    </a:cubicBezTo>
                    <a:lnTo>
                      <a:pt x="299385" y="127618"/>
                    </a:lnTo>
                    <a:cubicBezTo>
                      <a:pt x="313595" y="127618"/>
                      <a:pt x="325184" y="139207"/>
                      <a:pt x="325184" y="153417"/>
                    </a:cubicBezTo>
                    <a:lnTo>
                      <a:pt x="325184" y="171767"/>
                    </a:lnTo>
                    <a:cubicBezTo>
                      <a:pt x="325184" y="185977"/>
                      <a:pt x="313595" y="197566"/>
                      <a:pt x="299385" y="197566"/>
                    </a:cubicBezTo>
                    <a:lnTo>
                      <a:pt x="285036" y="197566"/>
                    </a:lnTo>
                    <a:cubicBezTo>
                      <a:pt x="282415" y="206948"/>
                      <a:pt x="278690" y="215916"/>
                      <a:pt x="273861" y="224470"/>
                    </a:cubicBezTo>
                    <a:lnTo>
                      <a:pt x="283933" y="234541"/>
                    </a:lnTo>
                    <a:cubicBezTo>
                      <a:pt x="294004" y="244612"/>
                      <a:pt x="294004" y="260892"/>
                      <a:pt x="283933" y="270964"/>
                    </a:cubicBezTo>
                    <a:lnTo>
                      <a:pt x="270964" y="283933"/>
                    </a:lnTo>
                    <a:cubicBezTo>
                      <a:pt x="260892" y="294004"/>
                      <a:pt x="244613" y="294004"/>
                      <a:pt x="234541" y="283933"/>
                    </a:cubicBezTo>
                    <a:lnTo>
                      <a:pt x="224470" y="273861"/>
                    </a:lnTo>
                    <a:cubicBezTo>
                      <a:pt x="215916" y="278552"/>
                      <a:pt x="206948" y="282277"/>
                      <a:pt x="197566" y="284898"/>
                    </a:cubicBezTo>
                    <a:lnTo>
                      <a:pt x="197566" y="299247"/>
                    </a:lnTo>
                    <a:cubicBezTo>
                      <a:pt x="197566" y="313457"/>
                      <a:pt x="185977" y="325046"/>
                      <a:pt x="171767" y="325046"/>
                    </a:cubicBezTo>
                    <a:close/>
                    <a:moveTo>
                      <a:pt x="103474" y="258961"/>
                    </a:moveTo>
                    <a:cubicBezTo>
                      <a:pt x="113683" y="265307"/>
                      <a:pt x="124721" y="269860"/>
                      <a:pt x="136448" y="272619"/>
                    </a:cubicBezTo>
                    <a:cubicBezTo>
                      <a:pt x="139621" y="273309"/>
                      <a:pt x="141966" y="276207"/>
                      <a:pt x="141966" y="279518"/>
                    </a:cubicBezTo>
                    <a:lnTo>
                      <a:pt x="141966" y="299247"/>
                    </a:lnTo>
                    <a:cubicBezTo>
                      <a:pt x="141966" y="305593"/>
                      <a:pt x="147209" y="310836"/>
                      <a:pt x="153555" y="310836"/>
                    </a:cubicBezTo>
                    <a:lnTo>
                      <a:pt x="171905" y="310836"/>
                    </a:lnTo>
                    <a:cubicBezTo>
                      <a:pt x="178251" y="310836"/>
                      <a:pt x="183494" y="305593"/>
                      <a:pt x="183494" y="299247"/>
                    </a:cubicBezTo>
                    <a:lnTo>
                      <a:pt x="183494" y="279518"/>
                    </a:lnTo>
                    <a:cubicBezTo>
                      <a:pt x="183494" y="276207"/>
                      <a:pt x="185701" y="273309"/>
                      <a:pt x="189013" y="272619"/>
                    </a:cubicBezTo>
                    <a:cubicBezTo>
                      <a:pt x="200740" y="269860"/>
                      <a:pt x="211777" y="265307"/>
                      <a:pt x="221986" y="258961"/>
                    </a:cubicBezTo>
                    <a:cubicBezTo>
                      <a:pt x="224883" y="257167"/>
                      <a:pt x="229022" y="257857"/>
                      <a:pt x="231092" y="260340"/>
                    </a:cubicBezTo>
                    <a:lnTo>
                      <a:pt x="244751" y="273999"/>
                    </a:lnTo>
                    <a:cubicBezTo>
                      <a:pt x="249303" y="278552"/>
                      <a:pt x="256615" y="278552"/>
                      <a:pt x="261168" y="273999"/>
                    </a:cubicBezTo>
                    <a:lnTo>
                      <a:pt x="274137" y="261030"/>
                    </a:lnTo>
                    <a:cubicBezTo>
                      <a:pt x="276344" y="258823"/>
                      <a:pt x="277586" y="255926"/>
                      <a:pt x="277586" y="252890"/>
                    </a:cubicBezTo>
                    <a:cubicBezTo>
                      <a:pt x="277586" y="249855"/>
                      <a:pt x="276344" y="246958"/>
                      <a:pt x="274137" y="244750"/>
                    </a:cubicBezTo>
                    <a:lnTo>
                      <a:pt x="260479" y="231092"/>
                    </a:lnTo>
                    <a:cubicBezTo>
                      <a:pt x="257995" y="229022"/>
                      <a:pt x="257305" y="225435"/>
                      <a:pt x="258823" y="222538"/>
                    </a:cubicBezTo>
                    <a:cubicBezTo>
                      <a:pt x="258961" y="222262"/>
                      <a:pt x="259099" y="222124"/>
                      <a:pt x="259237" y="221848"/>
                    </a:cubicBezTo>
                    <a:cubicBezTo>
                      <a:pt x="265445" y="211639"/>
                      <a:pt x="269998" y="200601"/>
                      <a:pt x="272757" y="189012"/>
                    </a:cubicBezTo>
                    <a:cubicBezTo>
                      <a:pt x="273585" y="185839"/>
                      <a:pt x="276344" y="183494"/>
                      <a:pt x="279656" y="183494"/>
                    </a:cubicBezTo>
                    <a:lnTo>
                      <a:pt x="299385" y="183494"/>
                    </a:lnTo>
                    <a:cubicBezTo>
                      <a:pt x="305731" y="183494"/>
                      <a:pt x="310974" y="178251"/>
                      <a:pt x="310974" y="171905"/>
                    </a:cubicBezTo>
                    <a:lnTo>
                      <a:pt x="310974" y="153555"/>
                    </a:lnTo>
                    <a:cubicBezTo>
                      <a:pt x="310974" y="147209"/>
                      <a:pt x="305731" y="141966"/>
                      <a:pt x="299385" y="141966"/>
                    </a:cubicBezTo>
                    <a:lnTo>
                      <a:pt x="279656" y="141966"/>
                    </a:lnTo>
                    <a:cubicBezTo>
                      <a:pt x="276344" y="141966"/>
                      <a:pt x="273447" y="139759"/>
                      <a:pt x="272757" y="136448"/>
                    </a:cubicBezTo>
                    <a:cubicBezTo>
                      <a:pt x="269998" y="124721"/>
                      <a:pt x="265445" y="113683"/>
                      <a:pt x="259099" y="103474"/>
                    </a:cubicBezTo>
                    <a:cubicBezTo>
                      <a:pt x="257443" y="100715"/>
                      <a:pt x="257857" y="97127"/>
                      <a:pt x="260065" y="94782"/>
                    </a:cubicBezTo>
                    <a:lnTo>
                      <a:pt x="273999" y="80848"/>
                    </a:lnTo>
                    <a:cubicBezTo>
                      <a:pt x="276207" y="78640"/>
                      <a:pt x="277448" y="75743"/>
                      <a:pt x="277448" y="72708"/>
                    </a:cubicBezTo>
                    <a:cubicBezTo>
                      <a:pt x="277448" y="69673"/>
                      <a:pt x="276207" y="66775"/>
                      <a:pt x="273999" y="64568"/>
                    </a:cubicBezTo>
                    <a:lnTo>
                      <a:pt x="261030" y="51599"/>
                    </a:lnTo>
                    <a:cubicBezTo>
                      <a:pt x="256615" y="47184"/>
                      <a:pt x="249027" y="47184"/>
                      <a:pt x="244613" y="51599"/>
                    </a:cubicBezTo>
                    <a:lnTo>
                      <a:pt x="230678" y="65534"/>
                    </a:lnTo>
                    <a:cubicBezTo>
                      <a:pt x="228333" y="67879"/>
                      <a:pt x="224745" y="68293"/>
                      <a:pt x="221986" y="66499"/>
                    </a:cubicBezTo>
                    <a:cubicBezTo>
                      <a:pt x="211777" y="60153"/>
                      <a:pt x="200740" y="55600"/>
                      <a:pt x="189013" y="52841"/>
                    </a:cubicBezTo>
                    <a:cubicBezTo>
                      <a:pt x="185839" y="52151"/>
                      <a:pt x="183494" y="49253"/>
                      <a:pt x="183494" y="45942"/>
                    </a:cubicBezTo>
                    <a:lnTo>
                      <a:pt x="183494" y="26213"/>
                    </a:lnTo>
                    <a:cubicBezTo>
                      <a:pt x="183494" y="19867"/>
                      <a:pt x="178251" y="14624"/>
                      <a:pt x="171905" y="14624"/>
                    </a:cubicBezTo>
                    <a:lnTo>
                      <a:pt x="153555" y="14624"/>
                    </a:lnTo>
                    <a:cubicBezTo>
                      <a:pt x="147209" y="14624"/>
                      <a:pt x="141966" y="19867"/>
                      <a:pt x="141966" y="26213"/>
                    </a:cubicBezTo>
                    <a:lnTo>
                      <a:pt x="141966" y="45942"/>
                    </a:lnTo>
                    <a:cubicBezTo>
                      <a:pt x="141966" y="49253"/>
                      <a:pt x="139759" y="52151"/>
                      <a:pt x="136448" y="52841"/>
                    </a:cubicBezTo>
                    <a:cubicBezTo>
                      <a:pt x="124721" y="55600"/>
                      <a:pt x="113683" y="60153"/>
                      <a:pt x="103474" y="66499"/>
                    </a:cubicBezTo>
                    <a:cubicBezTo>
                      <a:pt x="100715" y="68155"/>
                      <a:pt x="97128" y="67741"/>
                      <a:pt x="94782" y="65534"/>
                    </a:cubicBezTo>
                    <a:lnTo>
                      <a:pt x="80848" y="51599"/>
                    </a:lnTo>
                    <a:cubicBezTo>
                      <a:pt x="76433" y="47184"/>
                      <a:pt x="68845" y="47184"/>
                      <a:pt x="64430" y="51599"/>
                    </a:cubicBezTo>
                    <a:lnTo>
                      <a:pt x="51461" y="64568"/>
                    </a:lnTo>
                    <a:cubicBezTo>
                      <a:pt x="49254" y="66775"/>
                      <a:pt x="48012" y="69673"/>
                      <a:pt x="48012" y="72708"/>
                    </a:cubicBezTo>
                    <a:cubicBezTo>
                      <a:pt x="48012" y="75743"/>
                      <a:pt x="49254" y="78640"/>
                      <a:pt x="51461" y="80848"/>
                    </a:cubicBezTo>
                    <a:lnTo>
                      <a:pt x="65396" y="94782"/>
                    </a:lnTo>
                    <a:cubicBezTo>
                      <a:pt x="67741" y="97127"/>
                      <a:pt x="68155" y="100715"/>
                      <a:pt x="66361" y="103474"/>
                    </a:cubicBezTo>
                    <a:cubicBezTo>
                      <a:pt x="60015" y="113683"/>
                      <a:pt x="55462" y="124721"/>
                      <a:pt x="52703" y="136448"/>
                    </a:cubicBezTo>
                    <a:cubicBezTo>
                      <a:pt x="51875" y="139621"/>
                      <a:pt x="49116" y="141966"/>
                      <a:pt x="45804" y="141966"/>
                    </a:cubicBezTo>
                    <a:lnTo>
                      <a:pt x="26075" y="141966"/>
                    </a:lnTo>
                    <a:cubicBezTo>
                      <a:pt x="19729" y="141966"/>
                      <a:pt x="14486" y="147209"/>
                      <a:pt x="14486" y="153555"/>
                    </a:cubicBezTo>
                    <a:lnTo>
                      <a:pt x="14486" y="171905"/>
                    </a:lnTo>
                    <a:cubicBezTo>
                      <a:pt x="14486" y="178251"/>
                      <a:pt x="19729" y="183494"/>
                      <a:pt x="26075" y="183494"/>
                    </a:cubicBezTo>
                    <a:lnTo>
                      <a:pt x="45804" y="183494"/>
                    </a:lnTo>
                    <a:cubicBezTo>
                      <a:pt x="49116" y="183494"/>
                      <a:pt x="52013" y="185701"/>
                      <a:pt x="52703" y="189012"/>
                    </a:cubicBezTo>
                    <a:cubicBezTo>
                      <a:pt x="55462" y="200601"/>
                      <a:pt x="60015" y="211777"/>
                      <a:pt x="66223" y="221848"/>
                    </a:cubicBezTo>
                    <a:cubicBezTo>
                      <a:pt x="66361" y="222124"/>
                      <a:pt x="66499" y="222262"/>
                      <a:pt x="66637" y="222538"/>
                    </a:cubicBezTo>
                    <a:cubicBezTo>
                      <a:pt x="68155" y="225435"/>
                      <a:pt x="67327" y="228884"/>
                      <a:pt x="64982" y="230954"/>
                    </a:cubicBezTo>
                    <a:lnTo>
                      <a:pt x="51323" y="244612"/>
                    </a:lnTo>
                    <a:cubicBezTo>
                      <a:pt x="49116" y="246820"/>
                      <a:pt x="47874" y="249717"/>
                      <a:pt x="47874" y="252752"/>
                    </a:cubicBezTo>
                    <a:cubicBezTo>
                      <a:pt x="47874" y="255788"/>
                      <a:pt x="49116" y="258685"/>
                      <a:pt x="51323" y="260892"/>
                    </a:cubicBezTo>
                    <a:lnTo>
                      <a:pt x="64292" y="273861"/>
                    </a:lnTo>
                    <a:cubicBezTo>
                      <a:pt x="68845" y="278414"/>
                      <a:pt x="76157" y="278414"/>
                      <a:pt x="80710" y="273861"/>
                    </a:cubicBezTo>
                    <a:lnTo>
                      <a:pt x="94368" y="260203"/>
                    </a:lnTo>
                    <a:cubicBezTo>
                      <a:pt x="96438" y="257857"/>
                      <a:pt x="100577" y="257167"/>
                      <a:pt x="103474" y="258961"/>
                    </a:cubicBezTo>
                    <a:lnTo>
                      <a:pt x="103474" y="258961"/>
                    </a:lnTo>
                    <a:close/>
                  </a:path>
                </a:pathLst>
              </a:custGeom>
              <a:grpFill/>
              <a:ln w="13786" cap="flat">
                <a:noFill/>
                <a:prstDash val="solid"/>
                <a:miter/>
              </a:ln>
            </p:spPr>
            <p:txBody>
              <a:bodyPr rtlCol="0" anchor="ctr"/>
              <a:lstStyle/>
              <a:p>
                <a:endParaRPr lang="ru-RU"/>
              </a:p>
            </p:txBody>
          </p:sp>
        </p:grpSp>
        <p:grpSp>
          <p:nvGrpSpPr>
            <p:cNvPr id="102" name="Рисунок 61">
              <a:extLst>
                <a:ext uri="{FF2B5EF4-FFF2-40B4-BE49-F238E27FC236}">
                  <a16:creationId xmlns:a16="http://schemas.microsoft.com/office/drawing/2014/main" id="{C7447AFA-C2E5-43C8-9083-EE9193EAEF44}"/>
                </a:ext>
              </a:extLst>
            </p:cNvPr>
            <p:cNvGrpSpPr/>
            <p:nvPr/>
          </p:nvGrpSpPr>
          <p:grpSpPr>
            <a:xfrm>
              <a:off x="1845795" y="5181128"/>
              <a:ext cx="265707" cy="265576"/>
              <a:chOff x="1845795" y="5181128"/>
              <a:chExt cx="265707" cy="265576"/>
            </a:xfrm>
            <a:grpFill/>
          </p:grpSpPr>
          <p:sp>
            <p:nvSpPr>
              <p:cNvPr id="103" name="Полилиния: фигура 102">
                <a:extLst>
                  <a:ext uri="{FF2B5EF4-FFF2-40B4-BE49-F238E27FC236}">
                    <a16:creationId xmlns:a16="http://schemas.microsoft.com/office/drawing/2014/main" id="{8BDCFBD5-493F-4671-BAAA-EC1780BE018A}"/>
                  </a:ext>
                </a:extLst>
              </p:cNvPr>
              <p:cNvSpPr/>
              <p:nvPr/>
            </p:nvSpPr>
            <p:spPr>
              <a:xfrm>
                <a:off x="1903970" y="5239510"/>
                <a:ext cx="148941" cy="148972"/>
              </a:xfrm>
              <a:custGeom>
                <a:avLst/>
                <a:gdLst>
                  <a:gd name="connsiteX0" fmla="*/ 74678 w 148941"/>
                  <a:gd name="connsiteY0" fmla="*/ 148973 h 148972"/>
                  <a:gd name="connsiteX1" fmla="*/ 5971 w 148941"/>
                  <a:gd name="connsiteY1" fmla="*/ 103582 h 148972"/>
                  <a:gd name="connsiteX2" fmla="*/ 5419 w 148941"/>
                  <a:gd name="connsiteY2" fmla="*/ 46602 h 148972"/>
                  <a:gd name="connsiteX3" fmla="*/ 45291 w 148941"/>
                  <a:gd name="connsiteY3" fmla="*/ 5902 h 148972"/>
                  <a:gd name="connsiteX4" fmla="*/ 142971 w 148941"/>
                  <a:gd name="connsiteY4" fmla="*/ 45360 h 148972"/>
                  <a:gd name="connsiteX5" fmla="*/ 143523 w 148941"/>
                  <a:gd name="connsiteY5" fmla="*/ 102340 h 148972"/>
                  <a:gd name="connsiteX6" fmla="*/ 103651 w 148941"/>
                  <a:gd name="connsiteY6" fmla="*/ 143040 h 148972"/>
                  <a:gd name="connsiteX7" fmla="*/ 74678 w 148941"/>
                  <a:gd name="connsiteY7" fmla="*/ 148973 h 148972"/>
                  <a:gd name="connsiteX8" fmla="*/ 74540 w 148941"/>
                  <a:gd name="connsiteY8" fmla="*/ 14318 h 148972"/>
                  <a:gd name="connsiteX9" fmla="*/ 51086 w 148941"/>
                  <a:gd name="connsiteY9" fmla="*/ 19147 h 148972"/>
                  <a:gd name="connsiteX10" fmla="*/ 18802 w 148941"/>
                  <a:gd name="connsiteY10" fmla="*/ 51983 h 148972"/>
                  <a:gd name="connsiteX11" fmla="*/ 19216 w 148941"/>
                  <a:gd name="connsiteY11" fmla="*/ 98063 h 148972"/>
                  <a:gd name="connsiteX12" fmla="*/ 98270 w 148941"/>
                  <a:gd name="connsiteY12" fmla="*/ 129933 h 148972"/>
                  <a:gd name="connsiteX13" fmla="*/ 130554 w 148941"/>
                  <a:gd name="connsiteY13" fmla="*/ 96960 h 148972"/>
                  <a:gd name="connsiteX14" fmla="*/ 130140 w 148941"/>
                  <a:gd name="connsiteY14" fmla="*/ 50879 h 148972"/>
                  <a:gd name="connsiteX15" fmla="*/ 74540 w 148941"/>
                  <a:gd name="connsiteY15" fmla="*/ 14318 h 14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941" h="148972">
                    <a:moveTo>
                      <a:pt x="74678" y="148973"/>
                    </a:moveTo>
                    <a:cubicBezTo>
                      <a:pt x="45705" y="148973"/>
                      <a:pt x="18112" y="132003"/>
                      <a:pt x="5971" y="103582"/>
                    </a:cubicBezTo>
                    <a:cubicBezTo>
                      <a:pt x="-1755" y="85232"/>
                      <a:pt x="-2031" y="65089"/>
                      <a:pt x="5419" y="46602"/>
                    </a:cubicBezTo>
                    <a:cubicBezTo>
                      <a:pt x="12869" y="28115"/>
                      <a:pt x="27080" y="13766"/>
                      <a:pt x="45291" y="5902"/>
                    </a:cubicBezTo>
                    <a:cubicBezTo>
                      <a:pt x="83094" y="-10102"/>
                      <a:pt x="126829" y="7558"/>
                      <a:pt x="142971" y="45360"/>
                    </a:cubicBezTo>
                    <a:cubicBezTo>
                      <a:pt x="150697" y="63710"/>
                      <a:pt x="150973" y="83853"/>
                      <a:pt x="143523" y="102340"/>
                    </a:cubicBezTo>
                    <a:cubicBezTo>
                      <a:pt x="136072" y="120827"/>
                      <a:pt x="121862" y="135176"/>
                      <a:pt x="103651" y="143040"/>
                    </a:cubicBezTo>
                    <a:cubicBezTo>
                      <a:pt x="94269" y="147041"/>
                      <a:pt x="84335" y="148973"/>
                      <a:pt x="74678" y="148973"/>
                    </a:cubicBezTo>
                    <a:close/>
                    <a:moveTo>
                      <a:pt x="74540" y="14318"/>
                    </a:moveTo>
                    <a:cubicBezTo>
                      <a:pt x="66676" y="14318"/>
                      <a:pt x="58674" y="15836"/>
                      <a:pt x="51086" y="19147"/>
                    </a:cubicBezTo>
                    <a:cubicBezTo>
                      <a:pt x="36324" y="25493"/>
                      <a:pt x="24734" y="37082"/>
                      <a:pt x="18802" y="51983"/>
                    </a:cubicBezTo>
                    <a:cubicBezTo>
                      <a:pt x="12732" y="66883"/>
                      <a:pt x="12869" y="83301"/>
                      <a:pt x="19216" y="98063"/>
                    </a:cubicBezTo>
                    <a:cubicBezTo>
                      <a:pt x="32185" y="128691"/>
                      <a:pt x="67642" y="143040"/>
                      <a:pt x="98270" y="129933"/>
                    </a:cubicBezTo>
                    <a:cubicBezTo>
                      <a:pt x="113032" y="123587"/>
                      <a:pt x="124621" y="111998"/>
                      <a:pt x="130554" y="96960"/>
                    </a:cubicBezTo>
                    <a:cubicBezTo>
                      <a:pt x="136624" y="82059"/>
                      <a:pt x="136486" y="65641"/>
                      <a:pt x="130140" y="50879"/>
                    </a:cubicBezTo>
                    <a:cubicBezTo>
                      <a:pt x="120344" y="28115"/>
                      <a:pt x="97994" y="14318"/>
                      <a:pt x="74540" y="14318"/>
                    </a:cubicBezTo>
                    <a:close/>
                  </a:path>
                </a:pathLst>
              </a:custGeom>
              <a:grpFill/>
              <a:ln w="13786" cap="flat">
                <a:noFill/>
                <a:prstDash val="solid"/>
                <a:miter/>
              </a:ln>
            </p:spPr>
            <p:txBody>
              <a:bodyPr rtlCol="0" anchor="ctr"/>
              <a:lstStyle/>
              <a:p>
                <a:endParaRPr lang="ru-RU"/>
              </a:p>
            </p:txBody>
          </p:sp>
          <p:sp>
            <p:nvSpPr>
              <p:cNvPr id="104" name="Полилиния: фигура 103">
                <a:extLst>
                  <a:ext uri="{FF2B5EF4-FFF2-40B4-BE49-F238E27FC236}">
                    <a16:creationId xmlns:a16="http://schemas.microsoft.com/office/drawing/2014/main" id="{BED1E98D-062A-4A31-9C1B-3F4CA460AE3A}"/>
                  </a:ext>
                </a:extLst>
              </p:cNvPr>
              <p:cNvSpPr/>
              <p:nvPr/>
            </p:nvSpPr>
            <p:spPr>
              <a:xfrm>
                <a:off x="1845795" y="5181128"/>
                <a:ext cx="265707" cy="265576"/>
              </a:xfrm>
              <a:custGeom>
                <a:avLst/>
                <a:gdLst>
                  <a:gd name="connsiteX0" fmla="*/ 96707 w 265707"/>
                  <a:gd name="connsiteY0" fmla="*/ 265576 h 265576"/>
                  <a:gd name="connsiteX1" fmla="*/ 88153 w 265707"/>
                  <a:gd name="connsiteY1" fmla="*/ 263920 h 265576"/>
                  <a:gd name="connsiteX2" fmla="*/ 73804 w 265707"/>
                  <a:gd name="connsiteY2" fmla="*/ 258126 h 265576"/>
                  <a:gd name="connsiteX3" fmla="*/ 61388 w 265707"/>
                  <a:gd name="connsiteY3" fmla="*/ 245847 h 265576"/>
                  <a:gd name="connsiteX4" fmla="*/ 61250 w 265707"/>
                  <a:gd name="connsiteY4" fmla="*/ 228326 h 265576"/>
                  <a:gd name="connsiteX5" fmla="*/ 65527 w 265707"/>
                  <a:gd name="connsiteY5" fmla="*/ 217840 h 265576"/>
                  <a:gd name="connsiteX6" fmla="*/ 48971 w 265707"/>
                  <a:gd name="connsiteY6" fmla="*/ 201698 h 265576"/>
                  <a:gd name="connsiteX7" fmla="*/ 38623 w 265707"/>
                  <a:gd name="connsiteY7" fmla="*/ 206113 h 265576"/>
                  <a:gd name="connsiteX8" fmla="*/ 8685 w 265707"/>
                  <a:gd name="connsiteY8" fmla="*/ 193972 h 265576"/>
                  <a:gd name="connsiteX9" fmla="*/ 2614 w 265707"/>
                  <a:gd name="connsiteY9" fmla="*/ 179762 h 265576"/>
                  <a:gd name="connsiteX10" fmla="*/ 14755 w 265707"/>
                  <a:gd name="connsiteY10" fmla="*/ 149823 h 265576"/>
                  <a:gd name="connsiteX11" fmla="*/ 25103 w 265707"/>
                  <a:gd name="connsiteY11" fmla="*/ 145408 h 265576"/>
                  <a:gd name="connsiteX12" fmla="*/ 24827 w 265707"/>
                  <a:gd name="connsiteY12" fmla="*/ 122230 h 265576"/>
                  <a:gd name="connsiteX13" fmla="*/ 14341 w 265707"/>
                  <a:gd name="connsiteY13" fmla="*/ 117953 h 265576"/>
                  <a:gd name="connsiteX14" fmla="*/ 1649 w 265707"/>
                  <a:gd name="connsiteY14" fmla="*/ 88153 h 265576"/>
                  <a:gd name="connsiteX15" fmla="*/ 7443 w 265707"/>
                  <a:gd name="connsiteY15" fmla="*/ 73804 h 265576"/>
                  <a:gd name="connsiteX16" fmla="*/ 19722 w 265707"/>
                  <a:gd name="connsiteY16" fmla="*/ 61387 h 265576"/>
                  <a:gd name="connsiteX17" fmla="*/ 37244 w 265707"/>
                  <a:gd name="connsiteY17" fmla="*/ 61250 h 265576"/>
                  <a:gd name="connsiteX18" fmla="*/ 47729 w 265707"/>
                  <a:gd name="connsiteY18" fmla="*/ 65526 h 265576"/>
                  <a:gd name="connsiteX19" fmla="*/ 64009 w 265707"/>
                  <a:gd name="connsiteY19" fmla="*/ 48971 h 265576"/>
                  <a:gd name="connsiteX20" fmla="*/ 59594 w 265707"/>
                  <a:gd name="connsiteY20" fmla="*/ 38623 h 265576"/>
                  <a:gd name="connsiteX21" fmla="*/ 71735 w 265707"/>
                  <a:gd name="connsiteY21" fmla="*/ 8685 h 265576"/>
                  <a:gd name="connsiteX22" fmla="*/ 85945 w 265707"/>
                  <a:gd name="connsiteY22" fmla="*/ 2614 h 265576"/>
                  <a:gd name="connsiteX23" fmla="*/ 103467 w 265707"/>
                  <a:gd name="connsiteY23" fmla="*/ 2476 h 265576"/>
                  <a:gd name="connsiteX24" fmla="*/ 115884 w 265707"/>
                  <a:gd name="connsiteY24" fmla="*/ 14755 h 265576"/>
                  <a:gd name="connsiteX25" fmla="*/ 120299 w 265707"/>
                  <a:gd name="connsiteY25" fmla="*/ 25103 h 265576"/>
                  <a:gd name="connsiteX26" fmla="*/ 143477 w 265707"/>
                  <a:gd name="connsiteY26" fmla="*/ 24827 h 265576"/>
                  <a:gd name="connsiteX27" fmla="*/ 147754 w 265707"/>
                  <a:gd name="connsiteY27" fmla="*/ 14341 h 265576"/>
                  <a:gd name="connsiteX28" fmla="*/ 177554 w 265707"/>
                  <a:gd name="connsiteY28" fmla="*/ 1649 h 265576"/>
                  <a:gd name="connsiteX29" fmla="*/ 191903 w 265707"/>
                  <a:gd name="connsiteY29" fmla="*/ 7443 h 265576"/>
                  <a:gd name="connsiteX30" fmla="*/ 204320 w 265707"/>
                  <a:gd name="connsiteY30" fmla="*/ 19722 h 265576"/>
                  <a:gd name="connsiteX31" fmla="*/ 204458 w 265707"/>
                  <a:gd name="connsiteY31" fmla="*/ 37243 h 265576"/>
                  <a:gd name="connsiteX32" fmla="*/ 200181 w 265707"/>
                  <a:gd name="connsiteY32" fmla="*/ 47729 h 265576"/>
                  <a:gd name="connsiteX33" fmla="*/ 216736 w 265707"/>
                  <a:gd name="connsiteY33" fmla="*/ 63871 h 265576"/>
                  <a:gd name="connsiteX34" fmla="*/ 227084 w 265707"/>
                  <a:gd name="connsiteY34" fmla="*/ 59456 h 265576"/>
                  <a:gd name="connsiteX35" fmla="*/ 244605 w 265707"/>
                  <a:gd name="connsiteY35" fmla="*/ 59318 h 265576"/>
                  <a:gd name="connsiteX36" fmla="*/ 257022 w 265707"/>
                  <a:gd name="connsiteY36" fmla="*/ 71597 h 265576"/>
                  <a:gd name="connsiteX37" fmla="*/ 263093 w 265707"/>
                  <a:gd name="connsiteY37" fmla="*/ 85807 h 265576"/>
                  <a:gd name="connsiteX38" fmla="*/ 250952 w 265707"/>
                  <a:gd name="connsiteY38" fmla="*/ 115746 h 265576"/>
                  <a:gd name="connsiteX39" fmla="*/ 240604 w 265707"/>
                  <a:gd name="connsiteY39" fmla="*/ 120161 h 265576"/>
                  <a:gd name="connsiteX40" fmla="*/ 240880 w 265707"/>
                  <a:gd name="connsiteY40" fmla="*/ 143339 h 265576"/>
                  <a:gd name="connsiteX41" fmla="*/ 251366 w 265707"/>
                  <a:gd name="connsiteY41" fmla="*/ 147616 h 265576"/>
                  <a:gd name="connsiteX42" fmla="*/ 264059 w 265707"/>
                  <a:gd name="connsiteY42" fmla="*/ 177416 h 265576"/>
                  <a:gd name="connsiteX43" fmla="*/ 258264 w 265707"/>
                  <a:gd name="connsiteY43" fmla="*/ 191765 h 265576"/>
                  <a:gd name="connsiteX44" fmla="*/ 228464 w 265707"/>
                  <a:gd name="connsiteY44" fmla="*/ 204458 h 265576"/>
                  <a:gd name="connsiteX45" fmla="*/ 217978 w 265707"/>
                  <a:gd name="connsiteY45" fmla="*/ 200181 h 265576"/>
                  <a:gd name="connsiteX46" fmla="*/ 201836 w 265707"/>
                  <a:gd name="connsiteY46" fmla="*/ 216736 h 265576"/>
                  <a:gd name="connsiteX47" fmla="*/ 206251 w 265707"/>
                  <a:gd name="connsiteY47" fmla="*/ 227084 h 265576"/>
                  <a:gd name="connsiteX48" fmla="*/ 206389 w 265707"/>
                  <a:gd name="connsiteY48" fmla="*/ 244605 h 265576"/>
                  <a:gd name="connsiteX49" fmla="*/ 194110 w 265707"/>
                  <a:gd name="connsiteY49" fmla="*/ 257022 h 265576"/>
                  <a:gd name="connsiteX50" fmla="*/ 179900 w 265707"/>
                  <a:gd name="connsiteY50" fmla="*/ 263093 h 265576"/>
                  <a:gd name="connsiteX51" fmla="*/ 162378 w 265707"/>
                  <a:gd name="connsiteY51" fmla="*/ 263231 h 265576"/>
                  <a:gd name="connsiteX52" fmla="*/ 149961 w 265707"/>
                  <a:gd name="connsiteY52" fmla="*/ 250952 h 265576"/>
                  <a:gd name="connsiteX53" fmla="*/ 145546 w 265707"/>
                  <a:gd name="connsiteY53" fmla="*/ 240605 h 265576"/>
                  <a:gd name="connsiteX54" fmla="*/ 122368 w 265707"/>
                  <a:gd name="connsiteY54" fmla="*/ 240880 h 265576"/>
                  <a:gd name="connsiteX55" fmla="*/ 118091 w 265707"/>
                  <a:gd name="connsiteY55" fmla="*/ 251366 h 265576"/>
                  <a:gd name="connsiteX56" fmla="*/ 105812 w 265707"/>
                  <a:gd name="connsiteY56" fmla="*/ 263783 h 265576"/>
                  <a:gd name="connsiteX57" fmla="*/ 96707 w 265707"/>
                  <a:gd name="connsiteY57" fmla="*/ 265576 h 265576"/>
                  <a:gd name="connsiteX58" fmla="*/ 51178 w 265707"/>
                  <a:gd name="connsiteY58" fmla="*/ 185970 h 265576"/>
                  <a:gd name="connsiteX59" fmla="*/ 56835 w 265707"/>
                  <a:gd name="connsiteY59" fmla="*/ 188867 h 265576"/>
                  <a:gd name="connsiteX60" fmla="*/ 78081 w 265707"/>
                  <a:gd name="connsiteY60" fmla="*/ 209700 h 265576"/>
                  <a:gd name="connsiteX61" fmla="*/ 80565 w 265707"/>
                  <a:gd name="connsiteY61" fmla="*/ 218116 h 265576"/>
                  <a:gd name="connsiteX62" fmla="*/ 74356 w 265707"/>
                  <a:gd name="connsiteY62" fmla="*/ 233568 h 265576"/>
                  <a:gd name="connsiteX63" fmla="*/ 74356 w 265707"/>
                  <a:gd name="connsiteY63" fmla="*/ 240191 h 265576"/>
                  <a:gd name="connsiteX64" fmla="*/ 79047 w 265707"/>
                  <a:gd name="connsiteY64" fmla="*/ 244882 h 265576"/>
                  <a:gd name="connsiteX65" fmla="*/ 93395 w 265707"/>
                  <a:gd name="connsiteY65" fmla="*/ 250676 h 265576"/>
                  <a:gd name="connsiteX66" fmla="*/ 100018 w 265707"/>
                  <a:gd name="connsiteY66" fmla="*/ 250676 h 265576"/>
                  <a:gd name="connsiteX67" fmla="*/ 104709 w 265707"/>
                  <a:gd name="connsiteY67" fmla="*/ 245985 h 265576"/>
                  <a:gd name="connsiteX68" fmla="*/ 110779 w 265707"/>
                  <a:gd name="connsiteY68" fmla="*/ 230947 h 265576"/>
                  <a:gd name="connsiteX69" fmla="*/ 118643 w 265707"/>
                  <a:gd name="connsiteY69" fmla="*/ 226118 h 265576"/>
                  <a:gd name="connsiteX70" fmla="*/ 148444 w 265707"/>
                  <a:gd name="connsiteY70" fmla="*/ 225842 h 265576"/>
                  <a:gd name="connsiteX71" fmla="*/ 156170 w 265707"/>
                  <a:gd name="connsiteY71" fmla="*/ 230119 h 265576"/>
                  <a:gd name="connsiteX72" fmla="*/ 162654 w 265707"/>
                  <a:gd name="connsiteY72" fmla="*/ 245433 h 265576"/>
                  <a:gd name="connsiteX73" fmla="*/ 167345 w 265707"/>
                  <a:gd name="connsiteY73" fmla="*/ 250124 h 265576"/>
                  <a:gd name="connsiteX74" fmla="*/ 173967 w 265707"/>
                  <a:gd name="connsiteY74" fmla="*/ 250124 h 265576"/>
                  <a:gd name="connsiteX75" fmla="*/ 188178 w 265707"/>
                  <a:gd name="connsiteY75" fmla="*/ 244054 h 265576"/>
                  <a:gd name="connsiteX76" fmla="*/ 192868 w 265707"/>
                  <a:gd name="connsiteY76" fmla="*/ 239363 h 265576"/>
                  <a:gd name="connsiteX77" fmla="*/ 192868 w 265707"/>
                  <a:gd name="connsiteY77" fmla="*/ 232740 h 265576"/>
                  <a:gd name="connsiteX78" fmla="*/ 186384 w 265707"/>
                  <a:gd name="connsiteY78" fmla="*/ 217288 h 265576"/>
                  <a:gd name="connsiteX79" fmla="*/ 188729 w 265707"/>
                  <a:gd name="connsiteY79" fmla="*/ 208872 h 265576"/>
                  <a:gd name="connsiteX80" fmla="*/ 209562 w 265707"/>
                  <a:gd name="connsiteY80" fmla="*/ 187626 h 265576"/>
                  <a:gd name="connsiteX81" fmla="*/ 218392 w 265707"/>
                  <a:gd name="connsiteY81" fmla="*/ 185280 h 265576"/>
                  <a:gd name="connsiteX82" fmla="*/ 233430 w 265707"/>
                  <a:gd name="connsiteY82" fmla="*/ 191351 h 265576"/>
                  <a:gd name="connsiteX83" fmla="*/ 244743 w 265707"/>
                  <a:gd name="connsiteY83" fmla="*/ 186522 h 265576"/>
                  <a:gd name="connsiteX84" fmla="*/ 250538 w 265707"/>
                  <a:gd name="connsiteY84" fmla="*/ 172174 h 265576"/>
                  <a:gd name="connsiteX85" fmla="*/ 245709 w 265707"/>
                  <a:gd name="connsiteY85" fmla="*/ 160860 h 265576"/>
                  <a:gd name="connsiteX86" fmla="*/ 230671 w 265707"/>
                  <a:gd name="connsiteY86" fmla="*/ 154790 h 265576"/>
                  <a:gd name="connsiteX87" fmla="*/ 225842 w 265707"/>
                  <a:gd name="connsiteY87" fmla="*/ 147202 h 265576"/>
                  <a:gd name="connsiteX88" fmla="*/ 225842 w 265707"/>
                  <a:gd name="connsiteY88" fmla="*/ 146926 h 265576"/>
                  <a:gd name="connsiteX89" fmla="*/ 225566 w 265707"/>
                  <a:gd name="connsiteY89" fmla="*/ 117263 h 265576"/>
                  <a:gd name="connsiteX90" fmla="*/ 229843 w 265707"/>
                  <a:gd name="connsiteY90" fmla="*/ 109537 h 265576"/>
                  <a:gd name="connsiteX91" fmla="*/ 245157 w 265707"/>
                  <a:gd name="connsiteY91" fmla="*/ 103053 h 265576"/>
                  <a:gd name="connsiteX92" fmla="*/ 249710 w 265707"/>
                  <a:gd name="connsiteY92" fmla="*/ 91740 h 265576"/>
                  <a:gd name="connsiteX93" fmla="*/ 243640 w 265707"/>
                  <a:gd name="connsiteY93" fmla="*/ 77530 h 265576"/>
                  <a:gd name="connsiteX94" fmla="*/ 238949 w 265707"/>
                  <a:gd name="connsiteY94" fmla="*/ 72839 h 265576"/>
                  <a:gd name="connsiteX95" fmla="*/ 232327 w 265707"/>
                  <a:gd name="connsiteY95" fmla="*/ 72839 h 265576"/>
                  <a:gd name="connsiteX96" fmla="*/ 232327 w 265707"/>
                  <a:gd name="connsiteY96" fmla="*/ 72839 h 265576"/>
                  <a:gd name="connsiteX97" fmla="*/ 217012 w 265707"/>
                  <a:gd name="connsiteY97" fmla="*/ 79323 h 265576"/>
                  <a:gd name="connsiteX98" fmla="*/ 208596 w 265707"/>
                  <a:gd name="connsiteY98" fmla="*/ 76978 h 265576"/>
                  <a:gd name="connsiteX99" fmla="*/ 187350 w 265707"/>
                  <a:gd name="connsiteY99" fmla="*/ 56145 h 265576"/>
                  <a:gd name="connsiteX100" fmla="*/ 184866 w 265707"/>
                  <a:gd name="connsiteY100" fmla="*/ 47729 h 265576"/>
                  <a:gd name="connsiteX101" fmla="*/ 191075 w 265707"/>
                  <a:gd name="connsiteY101" fmla="*/ 32277 h 265576"/>
                  <a:gd name="connsiteX102" fmla="*/ 191075 w 265707"/>
                  <a:gd name="connsiteY102" fmla="*/ 25654 h 265576"/>
                  <a:gd name="connsiteX103" fmla="*/ 186384 w 265707"/>
                  <a:gd name="connsiteY103" fmla="*/ 20964 h 265576"/>
                  <a:gd name="connsiteX104" fmla="*/ 172036 w 265707"/>
                  <a:gd name="connsiteY104" fmla="*/ 15169 h 265576"/>
                  <a:gd name="connsiteX105" fmla="*/ 160723 w 265707"/>
                  <a:gd name="connsiteY105" fmla="*/ 19998 h 265576"/>
                  <a:gd name="connsiteX106" fmla="*/ 154514 w 265707"/>
                  <a:gd name="connsiteY106" fmla="*/ 35450 h 265576"/>
                  <a:gd name="connsiteX107" fmla="*/ 146926 w 265707"/>
                  <a:gd name="connsiteY107" fmla="*/ 39865 h 265576"/>
                  <a:gd name="connsiteX108" fmla="*/ 117126 w 265707"/>
                  <a:gd name="connsiteY108" fmla="*/ 40141 h 265576"/>
                  <a:gd name="connsiteX109" fmla="*/ 109399 w 265707"/>
                  <a:gd name="connsiteY109" fmla="*/ 35864 h 265576"/>
                  <a:gd name="connsiteX110" fmla="*/ 102915 w 265707"/>
                  <a:gd name="connsiteY110" fmla="*/ 20550 h 265576"/>
                  <a:gd name="connsiteX111" fmla="*/ 98224 w 265707"/>
                  <a:gd name="connsiteY111" fmla="*/ 15859 h 265576"/>
                  <a:gd name="connsiteX112" fmla="*/ 91602 w 265707"/>
                  <a:gd name="connsiteY112" fmla="*/ 15859 h 265576"/>
                  <a:gd name="connsiteX113" fmla="*/ 77391 w 265707"/>
                  <a:gd name="connsiteY113" fmla="*/ 21930 h 265576"/>
                  <a:gd name="connsiteX114" fmla="*/ 72839 w 265707"/>
                  <a:gd name="connsiteY114" fmla="*/ 33243 h 265576"/>
                  <a:gd name="connsiteX115" fmla="*/ 79323 w 265707"/>
                  <a:gd name="connsiteY115" fmla="*/ 48557 h 265576"/>
                  <a:gd name="connsiteX116" fmla="*/ 76978 w 265707"/>
                  <a:gd name="connsiteY116" fmla="*/ 57111 h 265576"/>
                  <a:gd name="connsiteX117" fmla="*/ 56145 w 265707"/>
                  <a:gd name="connsiteY117" fmla="*/ 78357 h 265576"/>
                  <a:gd name="connsiteX118" fmla="*/ 47729 w 265707"/>
                  <a:gd name="connsiteY118" fmla="*/ 80841 h 265576"/>
                  <a:gd name="connsiteX119" fmla="*/ 32277 w 265707"/>
                  <a:gd name="connsiteY119" fmla="*/ 74632 h 265576"/>
                  <a:gd name="connsiteX120" fmla="*/ 25654 w 265707"/>
                  <a:gd name="connsiteY120" fmla="*/ 74632 h 265576"/>
                  <a:gd name="connsiteX121" fmla="*/ 20964 w 265707"/>
                  <a:gd name="connsiteY121" fmla="*/ 79323 h 265576"/>
                  <a:gd name="connsiteX122" fmla="*/ 15169 w 265707"/>
                  <a:gd name="connsiteY122" fmla="*/ 93671 h 265576"/>
                  <a:gd name="connsiteX123" fmla="*/ 19998 w 265707"/>
                  <a:gd name="connsiteY123" fmla="*/ 104985 h 265576"/>
                  <a:gd name="connsiteX124" fmla="*/ 35450 w 265707"/>
                  <a:gd name="connsiteY124" fmla="*/ 111193 h 265576"/>
                  <a:gd name="connsiteX125" fmla="*/ 39865 w 265707"/>
                  <a:gd name="connsiteY125" fmla="*/ 118781 h 265576"/>
                  <a:gd name="connsiteX126" fmla="*/ 40141 w 265707"/>
                  <a:gd name="connsiteY126" fmla="*/ 148582 h 265576"/>
                  <a:gd name="connsiteX127" fmla="*/ 35864 w 265707"/>
                  <a:gd name="connsiteY127" fmla="*/ 156308 h 265576"/>
                  <a:gd name="connsiteX128" fmla="*/ 20550 w 265707"/>
                  <a:gd name="connsiteY128" fmla="*/ 162792 h 265576"/>
                  <a:gd name="connsiteX129" fmla="*/ 15997 w 265707"/>
                  <a:gd name="connsiteY129" fmla="*/ 174105 h 265576"/>
                  <a:gd name="connsiteX130" fmla="*/ 22067 w 265707"/>
                  <a:gd name="connsiteY130" fmla="*/ 188316 h 265576"/>
                  <a:gd name="connsiteX131" fmla="*/ 33381 w 265707"/>
                  <a:gd name="connsiteY131" fmla="*/ 192869 h 265576"/>
                  <a:gd name="connsiteX132" fmla="*/ 48695 w 265707"/>
                  <a:gd name="connsiteY132" fmla="*/ 186384 h 265576"/>
                  <a:gd name="connsiteX133" fmla="*/ 51178 w 265707"/>
                  <a:gd name="connsiteY133" fmla="*/ 185970 h 265576"/>
                  <a:gd name="connsiteX134" fmla="*/ 229705 w 265707"/>
                  <a:gd name="connsiteY134" fmla="*/ 66216 h 265576"/>
                  <a:gd name="connsiteX135" fmla="*/ 229705 w 265707"/>
                  <a:gd name="connsiteY135" fmla="*/ 66216 h 265576"/>
                  <a:gd name="connsiteX136" fmla="*/ 229705 w 265707"/>
                  <a:gd name="connsiteY136" fmla="*/ 66216 h 26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65707" h="265576">
                    <a:moveTo>
                      <a:pt x="96707" y="265576"/>
                    </a:moveTo>
                    <a:cubicBezTo>
                      <a:pt x="93809" y="265576"/>
                      <a:pt x="90912" y="265024"/>
                      <a:pt x="88153" y="263920"/>
                    </a:cubicBezTo>
                    <a:lnTo>
                      <a:pt x="73804" y="258126"/>
                    </a:lnTo>
                    <a:cubicBezTo>
                      <a:pt x="68148" y="255780"/>
                      <a:pt x="63733" y="251504"/>
                      <a:pt x="61388" y="245847"/>
                    </a:cubicBezTo>
                    <a:cubicBezTo>
                      <a:pt x="59042" y="240191"/>
                      <a:pt x="58904" y="233982"/>
                      <a:pt x="61250" y="228326"/>
                    </a:cubicBezTo>
                    <a:lnTo>
                      <a:pt x="65527" y="217840"/>
                    </a:lnTo>
                    <a:cubicBezTo>
                      <a:pt x="59456" y="213012"/>
                      <a:pt x="53937" y="207631"/>
                      <a:pt x="48971" y="201698"/>
                    </a:cubicBezTo>
                    <a:lnTo>
                      <a:pt x="38623" y="206113"/>
                    </a:lnTo>
                    <a:cubicBezTo>
                      <a:pt x="27034" y="211080"/>
                      <a:pt x="13652" y="205561"/>
                      <a:pt x="8685" y="193972"/>
                    </a:cubicBezTo>
                    <a:lnTo>
                      <a:pt x="2614" y="179762"/>
                    </a:lnTo>
                    <a:cubicBezTo>
                      <a:pt x="-2352" y="168173"/>
                      <a:pt x="3166" y="154790"/>
                      <a:pt x="14755" y="149823"/>
                    </a:cubicBezTo>
                    <a:lnTo>
                      <a:pt x="25103" y="145408"/>
                    </a:lnTo>
                    <a:cubicBezTo>
                      <a:pt x="24137" y="137682"/>
                      <a:pt x="24137" y="129956"/>
                      <a:pt x="24827" y="122230"/>
                    </a:cubicBezTo>
                    <a:lnTo>
                      <a:pt x="14341" y="117953"/>
                    </a:lnTo>
                    <a:cubicBezTo>
                      <a:pt x="2614" y="113263"/>
                      <a:pt x="-3042" y="99880"/>
                      <a:pt x="1649" y="88153"/>
                    </a:cubicBezTo>
                    <a:lnTo>
                      <a:pt x="7443" y="73804"/>
                    </a:lnTo>
                    <a:cubicBezTo>
                      <a:pt x="9789" y="68148"/>
                      <a:pt x="14065" y="63733"/>
                      <a:pt x="19722" y="61387"/>
                    </a:cubicBezTo>
                    <a:cubicBezTo>
                      <a:pt x="25379" y="59042"/>
                      <a:pt x="31587" y="58904"/>
                      <a:pt x="37244" y="61250"/>
                    </a:cubicBezTo>
                    <a:lnTo>
                      <a:pt x="47729" y="65526"/>
                    </a:lnTo>
                    <a:cubicBezTo>
                      <a:pt x="52558" y="59456"/>
                      <a:pt x="57938" y="53937"/>
                      <a:pt x="64009" y="48971"/>
                    </a:cubicBezTo>
                    <a:lnTo>
                      <a:pt x="59594" y="38623"/>
                    </a:lnTo>
                    <a:cubicBezTo>
                      <a:pt x="54627" y="27034"/>
                      <a:pt x="60146" y="13652"/>
                      <a:pt x="71735" y="8685"/>
                    </a:cubicBezTo>
                    <a:lnTo>
                      <a:pt x="85945" y="2614"/>
                    </a:lnTo>
                    <a:cubicBezTo>
                      <a:pt x="91602" y="269"/>
                      <a:pt x="97810" y="131"/>
                      <a:pt x="103467" y="2476"/>
                    </a:cubicBezTo>
                    <a:cubicBezTo>
                      <a:pt x="109124" y="4822"/>
                      <a:pt x="113538" y="9099"/>
                      <a:pt x="115884" y="14755"/>
                    </a:cubicBezTo>
                    <a:lnTo>
                      <a:pt x="120299" y="25103"/>
                    </a:lnTo>
                    <a:cubicBezTo>
                      <a:pt x="128025" y="24137"/>
                      <a:pt x="135751" y="24137"/>
                      <a:pt x="143477" y="24827"/>
                    </a:cubicBezTo>
                    <a:lnTo>
                      <a:pt x="147754" y="14341"/>
                    </a:lnTo>
                    <a:cubicBezTo>
                      <a:pt x="152445" y="2614"/>
                      <a:pt x="165827" y="-3042"/>
                      <a:pt x="177554" y="1649"/>
                    </a:cubicBezTo>
                    <a:lnTo>
                      <a:pt x="191903" y="7443"/>
                    </a:lnTo>
                    <a:cubicBezTo>
                      <a:pt x="197559" y="9789"/>
                      <a:pt x="201974" y="14065"/>
                      <a:pt x="204320" y="19722"/>
                    </a:cubicBezTo>
                    <a:cubicBezTo>
                      <a:pt x="206665" y="25379"/>
                      <a:pt x="206803" y="31587"/>
                      <a:pt x="204458" y="37243"/>
                    </a:cubicBezTo>
                    <a:lnTo>
                      <a:pt x="200181" y="47729"/>
                    </a:lnTo>
                    <a:cubicBezTo>
                      <a:pt x="206251" y="52558"/>
                      <a:pt x="211770" y="57938"/>
                      <a:pt x="216736" y="63871"/>
                    </a:cubicBezTo>
                    <a:lnTo>
                      <a:pt x="227084" y="59456"/>
                    </a:lnTo>
                    <a:cubicBezTo>
                      <a:pt x="232740" y="57111"/>
                      <a:pt x="238949" y="56973"/>
                      <a:pt x="244605" y="59318"/>
                    </a:cubicBezTo>
                    <a:cubicBezTo>
                      <a:pt x="250262" y="61663"/>
                      <a:pt x="254677" y="65940"/>
                      <a:pt x="257022" y="71597"/>
                    </a:cubicBezTo>
                    <a:lnTo>
                      <a:pt x="263093" y="85807"/>
                    </a:lnTo>
                    <a:cubicBezTo>
                      <a:pt x="268059" y="97396"/>
                      <a:pt x="262541" y="110779"/>
                      <a:pt x="250952" y="115746"/>
                    </a:cubicBezTo>
                    <a:lnTo>
                      <a:pt x="240604" y="120161"/>
                    </a:lnTo>
                    <a:cubicBezTo>
                      <a:pt x="241570" y="127887"/>
                      <a:pt x="241570" y="135613"/>
                      <a:pt x="240880" y="143339"/>
                    </a:cubicBezTo>
                    <a:lnTo>
                      <a:pt x="251366" y="147616"/>
                    </a:lnTo>
                    <a:cubicBezTo>
                      <a:pt x="263093" y="152307"/>
                      <a:pt x="268749" y="165689"/>
                      <a:pt x="264059" y="177416"/>
                    </a:cubicBezTo>
                    <a:lnTo>
                      <a:pt x="258264" y="191765"/>
                    </a:lnTo>
                    <a:cubicBezTo>
                      <a:pt x="253573" y="203492"/>
                      <a:pt x="240191" y="209149"/>
                      <a:pt x="228464" y="204458"/>
                    </a:cubicBezTo>
                    <a:lnTo>
                      <a:pt x="217978" y="200181"/>
                    </a:lnTo>
                    <a:cubicBezTo>
                      <a:pt x="213149" y="206251"/>
                      <a:pt x="207769" y="211770"/>
                      <a:pt x="201836" y="216736"/>
                    </a:cubicBezTo>
                    <a:lnTo>
                      <a:pt x="206251" y="227084"/>
                    </a:lnTo>
                    <a:cubicBezTo>
                      <a:pt x="208596" y="232740"/>
                      <a:pt x="208734" y="238949"/>
                      <a:pt x="206389" y="244605"/>
                    </a:cubicBezTo>
                    <a:cubicBezTo>
                      <a:pt x="204044" y="250262"/>
                      <a:pt x="199767" y="254677"/>
                      <a:pt x="194110" y="257022"/>
                    </a:cubicBezTo>
                    <a:lnTo>
                      <a:pt x="179900" y="263093"/>
                    </a:lnTo>
                    <a:cubicBezTo>
                      <a:pt x="174243" y="265438"/>
                      <a:pt x="168035" y="265576"/>
                      <a:pt x="162378" y="263231"/>
                    </a:cubicBezTo>
                    <a:cubicBezTo>
                      <a:pt x="156721" y="260886"/>
                      <a:pt x="152307" y="256608"/>
                      <a:pt x="149961" y="250952"/>
                    </a:cubicBezTo>
                    <a:lnTo>
                      <a:pt x="145546" y="240605"/>
                    </a:lnTo>
                    <a:cubicBezTo>
                      <a:pt x="137820" y="241570"/>
                      <a:pt x="130094" y="241570"/>
                      <a:pt x="122368" y="240880"/>
                    </a:cubicBezTo>
                    <a:lnTo>
                      <a:pt x="118091" y="251366"/>
                    </a:lnTo>
                    <a:cubicBezTo>
                      <a:pt x="115746" y="257022"/>
                      <a:pt x="111469" y="261437"/>
                      <a:pt x="105812" y="263783"/>
                    </a:cubicBezTo>
                    <a:cubicBezTo>
                      <a:pt x="102777" y="265024"/>
                      <a:pt x="99742" y="265576"/>
                      <a:pt x="96707" y="265576"/>
                    </a:cubicBezTo>
                    <a:close/>
                    <a:moveTo>
                      <a:pt x="51178" y="185970"/>
                    </a:moveTo>
                    <a:cubicBezTo>
                      <a:pt x="53386" y="185970"/>
                      <a:pt x="55455" y="186936"/>
                      <a:pt x="56835" y="188867"/>
                    </a:cubicBezTo>
                    <a:cubicBezTo>
                      <a:pt x="62767" y="197007"/>
                      <a:pt x="69941" y="204044"/>
                      <a:pt x="78081" y="209700"/>
                    </a:cubicBezTo>
                    <a:cubicBezTo>
                      <a:pt x="80703" y="211632"/>
                      <a:pt x="81806" y="215081"/>
                      <a:pt x="80565" y="218116"/>
                    </a:cubicBezTo>
                    <a:lnTo>
                      <a:pt x="74356" y="233568"/>
                    </a:lnTo>
                    <a:cubicBezTo>
                      <a:pt x="73528" y="235776"/>
                      <a:pt x="73528" y="238121"/>
                      <a:pt x="74356" y="240191"/>
                    </a:cubicBezTo>
                    <a:cubicBezTo>
                      <a:pt x="75322" y="242260"/>
                      <a:pt x="76978" y="243916"/>
                      <a:pt x="79047" y="244882"/>
                    </a:cubicBezTo>
                    <a:lnTo>
                      <a:pt x="93395" y="250676"/>
                    </a:lnTo>
                    <a:cubicBezTo>
                      <a:pt x="95603" y="251504"/>
                      <a:pt x="97948" y="251504"/>
                      <a:pt x="100018" y="250676"/>
                    </a:cubicBezTo>
                    <a:cubicBezTo>
                      <a:pt x="102087" y="249710"/>
                      <a:pt x="103743" y="248054"/>
                      <a:pt x="104709" y="245985"/>
                    </a:cubicBezTo>
                    <a:lnTo>
                      <a:pt x="110779" y="230947"/>
                    </a:lnTo>
                    <a:cubicBezTo>
                      <a:pt x="111883" y="227774"/>
                      <a:pt x="115194" y="225566"/>
                      <a:pt x="118643" y="226118"/>
                    </a:cubicBezTo>
                    <a:cubicBezTo>
                      <a:pt x="128577" y="227636"/>
                      <a:pt x="138510" y="227498"/>
                      <a:pt x="148444" y="225842"/>
                    </a:cubicBezTo>
                    <a:cubicBezTo>
                      <a:pt x="151755" y="225290"/>
                      <a:pt x="154928" y="227084"/>
                      <a:pt x="156170" y="230119"/>
                    </a:cubicBezTo>
                    <a:lnTo>
                      <a:pt x="162654" y="245433"/>
                    </a:lnTo>
                    <a:cubicBezTo>
                      <a:pt x="163620" y="247503"/>
                      <a:pt x="165275" y="249158"/>
                      <a:pt x="167345" y="250124"/>
                    </a:cubicBezTo>
                    <a:cubicBezTo>
                      <a:pt x="169552" y="250952"/>
                      <a:pt x="171898" y="250952"/>
                      <a:pt x="173967" y="250124"/>
                    </a:cubicBezTo>
                    <a:lnTo>
                      <a:pt x="188178" y="244054"/>
                    </a:lnTo>
                    <a:cubicBezTo>
                      <a:pt x="190247" y="243088"/>
                      <a:pt x="191903" y="241432"/>
                      <a:pt x="192868" y="239363"/>
                    </a:cubicBezTo>
                    <a:cubicBezTo>
                      <a:pt x="193696" y="237155"/>
                      <a:pt x="193696" y="234810"/>
                      <a:pt x="192868" y="232740"/>
                    </a:cubicBezTo>
                    <a:lnTo>
                      <a:pt x="186384" y="217288"/>
                    </a:lnTo>
                    <a:cubicBezTo>
                      <a:pt x="185142" y="214253"/>
                      <a:pt x="186108" y="210804"/>
                      <a:pt x="188729" y="208872"/>
                    </a:cubicBezTo>
                    <a:cubicBezTo>
                      <a:pt x="196869" y="202940"/>
                      <a:pt x="203906" y="195766"/>
                      <a:pt x="209562" y="187626"/>
                    </a:cubicBezTo>
                    <a:cubicBezTo>
                      <a:pt x="211632" y="184728"/>
                      <a:pt x="215357" y="183901"/>
                      <a:pt x="218392" y="185280"/>
                    </a:cubicBezTo>
                    <a:lnTo>
                      <a:pt x="233430" y="191351"/>
                    </a:lnTo>
                    <a:cubicBezTo>
                      <a:pt x="237845" y="193144"/>
                      <a:pt x="242950" y="190937"/>
                      <a:pt x="244743" y="186522"/>
                    </a:cubicBezTo>
                    <a:lnTo>
                      <a:pt x="250538" y="172174"/>
                    </a:lnTo>
                    <a:cubicBezTo>
                      <a:pt x="252331" y="167759"/>
                      <a:pt x="250124" y="162654"/>
                      <a:pt x="245709" y="160860"/>
                    </a:cubicBezTo>
                    <a:lnTo>
                      <a:pt x="230671" y="154790"/>
                    </a:lnTo>
                    <a:cubicBezTo>
                      <a:pt x="227498" y="153686"/>
                      <a:pt x="225428" y="150513"/>
                      <a:pt x="225842" y="147202"/>
                    </a:cubicBezTo>
                    <a:cubicBezTo>
                      <a:pt x="225842" y="147064"/>
                      <a:pt x="225842" y="147064"/>
                      <a:pt x="225842" y="146926"/>
                    </a:cubicBezTo>
                    <a:cubicBezTo>
                      <a:pt x="227360" y="137130"/>
                      <a:pt x="227222" y="127059"/>
                      <a:pt x="225566" y="117263"/>
                    </a:cubicBezTo>
                    <a:cubicBezTo>
                      <a:pt x="225014" y="114090"/>
                      <a:pt x="226808" y="110779"/>
                      <a:pt x="229843" y="109537"/>
                    </a:cubicBezTo>
                    <a:lnTo>
                      <a:pt x="245157" y="103053"/>
                    </a:lnTo>
                    <a:cubicBezTo>
                      <a:pt x="249572" y="101121"/>
                      <a:pt x="251642" y="96155"/>
                      <a:pt x="249710" y="91740"/>
                    </a:cubicBezTo>
                    <a:lnTo>
                      <a:pt x="243640" y="77530"/>
                    </a:lnTo>
                    <a:cubicBezTo>
                      <a:pt x="242674" y="75460"/>
                      <a:pt x="241018" y="73804"/>
                      <a:pt x="238949" y="72839"/>
                    </a:cubicBezTo>
                    <a:cubicBezTo>
                      <a:pt x="236741" y="72011"/>
                      <a:pt x="234396" y="72011"/>
                      <a:pt x="232327" y="72839"/>
                    </a:cubicBezTo>
                    <a:cubicBezTo>
                      <a:pt x="232327" y="72839"/>
                      <a:pt x="232327" y="72839"/>
                      <a:pt x="232327" y="72839"/>
                    </a:cubicBezTo>
                    <a:lnTo>
                      <a:pt x="217012" y="79323"/>
                    </a:lnTo>
                    <a:cubicBezTo>
                      <a:pt x="213977" y="80565"/>
                      <a:pt x="210528" y="79599"/>
                      <a:pt x="208596" y="76978"/>
                    </a:cubicBezTo>
                    <a:cubicBezTo>
                      <a:pt x="202664" y="68838"/>
                      <a:pt x="195490" y="61939"/>
                      <a:pt x="187350" y="56145"/>
                    </a:cubicBezTo>
                    <a:cubicBezTo>
                      <a:pt x="184729" y="54213"/>
                      <a:pt x="183625" y="50764"/>
                      <a:pt x="184866" y="47729"/>
                    </a:cubicBezTo>
                    <a:lnTo>
                      <a:pt x="191075" y="32277"/>
                    </a:lnTo>
                    <a:cubicBezTo>
                      <a:pt x="191903" y="30069"/>
                      <a:pt x="191903" y="27724"/>
                      <a:pt x="191075" y="25654"/>
                    </a:cubicBezTo>
                    <a:cubicBezTo>
                      <a:pt x="190109" y="23585"/>
                      <a:pt x="188454" y="21930"/>
                      <a:pt x="186384" y="20964"/>
                    </a:cubicBezTo>
                    <a:lnTo>
                      <a:pt x="172036" y="15169"/>
                    </a:lnTo>
                    <a:cubicBezTo>
                      <a:pt x="167621" y="13376"/>
                      <a:pt x="162516" y="15583"/>
                      <a:pt x="160723" y="19998"/>
                    </a:cubicBezTo>
                    <a:lnTo>
                      <a:pt x="154514" y="35450"/>
                    </a:lnTo>
                    <a:cubicBezTo>
                      <a:pt x="153272" y="38485"/>
                      <a:pt x="150099" y="40279"/>
                      <a:pt x="146926" y="39865"/>
                    </a:cubicBezTo>
                    <a:cubicBezTo>
                      <a:pt x="136992" y="38347"/>
                      <a:pt x="127059" y="38485"/>
                      <a:pt x="117126" y="40141"/>
                    </a:cubicBezTo>
                    <a:cubicBezTo>
                      <a:pt x="113952" y="40693"/>
                      <a:pt x="110641" y="38899"/>
                      <a:pt x="109399" y="35864"/>
                    </a:cubicBezTo>
                    <a:lnTo>
                      <a:pt x="102915" y="20550"/>
                    </a:lnTo>
                    <a:cubicBezTo>
                      <a:pt x="101949" y="18480"/>
                      <a:pt x="100294" y="16825"/>
                      <a:pt x="98224" y="15859"/>
                    </a:cubicBezTo>
                    <a:cubicBezTo>
                      <a:pt x="96017" y="15031"/>
                      <a:pt x="93671" y="15031"/>
                      <a:pt x="91602" y="15859"/>
                    </a:cubicBezTo>
                    <a:lnTo>
                      <a:pt x="77391" y="21930"/>
                    </a:lnTo>
                    <a:cubicBezTo>
                      <a:pt x="72977" y="23861"/>
                      <a:pt x="70907" y="28828"/>
                      <a:pt x="72839" y="33243"/>
                    </a:cubicBezTo>
                    <a:lnTo>
                      <a:pt x="79323" y="48557"/>
                    </a:lnTo>
                    <a:cubicBezTo>
                      <a:pt x="80565" y="51592"/>
                      <a:pt x="79599" y="55041"/>
                      <a:pt x="76978" y="57111"/>
                    </a:cubicBezTo>
                    <a:cubicBezTo>
                      <a:pt x="68838" y="63043"/>
                      <a:pt x="61801" y="70217"/>
                      <a:pt x="56145" y="78357"/>
                    </a:cubicBezTo>
                    <a:cubicBezTo>
                      <a:pt x="54213" y="80979"/>
                      <a:pt x="50764" y="82082"/>
                      <a:pt x="47729" y="80841"/>
                    </a:cubicBezTo>
                    <a:lnTo>
                      <a:pt x="32277" y="74632"/>
                    </a:lnTo>
                    <a:cubicBezTo>
                      <a:pt x="30069" y="73804"/>
                      <a:pt x="27724" y="73804"/>
                      <a:pt x="25654" y="74632"/>
                    </a:cubicBezTo>
                    <a:cubicBezTo>
                      <a:pt x="23585" y="75598"/>
                      <a:pt x="21929" y="77254"/>
                      <a:pt x="20964" y="79323"/>
                    </a:cubicBezTo>
                    <a:lnTo>
                      <a:pt x="15169" y="93671"/>
                    </a:lnTo>
                    <a:cubicBezTo>
                      <a:pt x="13376" y="98086"/>
                      <a:pt x="15583" y="103191"/>
                      <a:pt x="19998" y="104985"/>
                    </a:cubicBezTo>
                    <a:lnTo>
                      <a:pt x="35450" y="111193"/>
                    </a:lnTo>
                    <a:cubicBezTo>
                      <a:pt x="38485" y="112435"/>
                      <a:pt x="40279" y="115608"/>
                      <a:pt x="39865" y="118781"/>
                    </a:cubicBezTo>
                    <a:cubicBezTo>
                      <a:pt x="38347" y="128715"/>
                      <a:pt x="38485" y="138648"/>
                      <a:pt x="40141" y="148582"/>
                    </a:cubicBezTo>
                    <a:cubicBezTo>
                      <a:pt x="40693" y="151755"/>
                      <a:pt x="38899" y="155066"/>
                      <a:pt x="35864" y="156308"/>
                    </a:cubicBezTo>
                    <a:lnTo>
                      <a:pt x="20550" y="162792"/>
                    </a:lnTo>
                    <a:cubicBezTo>
                      <a:pt x="16135" y="164724"/>
                      <a:pt x="14065" y="169690"/>
                      <a:pt x="15997" y="174105"/>
                    </a:cubicBezTo>
                    <a:lnTo>
                      <a:pt x="22067" y="188316"/>
                    </a:lnTo>
                    <a:cubicBezTo>
                      <a:pt x="23999" y="192730"/>
                      <a:pt x="28966" y="194800"/>
                      <a:pt x="33381" y="192869"/>
                    </a:cubicBezTo>
                    <a:lnTo>
                      <a:pt x="48695" y="186384"/>
                    </a:lnTo>
                    <a:cubicBezTo>
                      <a:pt x="49247" y="186246"/>
                      <a:pt x="50212" y="185970"/>
                      <a:pt x="51178" y="185970"/>
                    </a:cubicBezTo>
                    <a:close/>
                    <a:moveTo>
                      <a:pt x="229705" y="66216"/>
                    </a:moveTo>
                    <a:lnTo>
                      <a:pt x="229705" y="66216"/>
                    </a:lnTo>
                    <a:lnTo>
                      <a:pt x="229705" y="66216"/>
                    </a:lnTo>
                    <a:close/>
                  </a:path>
                </a:pathLst>
              </a:custGeom>
              <a:grpFill/>
              <a:ln w="13786" cap="flat">
                <a:noFill/>
                <a:prstDash val="solid"/>
                <a:miter/>
              </a:ln>
            </p:spPr>
            <p:txBody>
              <a:bodyPr rtlCol="0" anchor="ctr"/>
              <a:lstStyle/>
              <a:p>
                <a:endParaRPr lang="ru-RU"/>
              </a:p>
            </p:txBody>
          </p:sp>
        </p:grpSp>
      </p:grpSp>
      <p:grpSp>
        <p:nvGrpSpPr>
          <p:cNvPr id="112" name="Группа 111">
            <a:extLst>
              <a:ext uri="{FF2B5EF4-FFF2-40B4-BE49-F238E27FC236}">
                <a16:creationId xmlns:a16="http://schemas.microsoft.com/office/drawing/2014/main" id="{AF739FDC-D482-4F45-91F2-CBF0543FCBD1}"/>
              </a:ext>
            </a:extLst>
          </p:cNvPr>
          <p:cNvGrpSpPr/>
          <p:nvPr/>
        </p:nvGrpSpPr>
        <p:grpSpPr>
          <a:xfrm>
            <a:off x="10599927" y="3383045"/>
            <a:ext cx="512945" cy="413309"/>
            <a:chOff x="1573152" y="1885911"/>
            <a:chExt cx="512945" cy="413309"/>
          </a:xfrm>
          <a:solidFill>
            <a:schemeClr val="bg1"/>
          </a:solidFill>
          <a:effectLst>
            <a:outerShdw blurRad="63500" sx="102000" sy="102000" algn="ctr" rotWithShape="0">
              <a:prstClr val="black">
                <a:alpha val="40000"/>
              </a:prstClr>
            </a:outerShdw>
          </a:effectLst>
        </p:grpSpPr>
        <p:sp>
          <p:nvSpPr>
            <p:cNvPr id="113" name="Полилиния: фигура 112">
              <a:extLst>
                <a:ext uri="{FF2B5EF4-FFF2-40B4-BE49-F238E27FC236}">
                  <a16:creationId xmlns:a16="http://schemas.microsoft.com/office/drawing/2014/main" id="{7D6CEECA-67FE-451B-87E1-EF4916BE3263}"/>
                </a:ext>
              </a:extLst>
            </p:cNvPr>
            <p:cNvSpPr/>
            <p:nvPr/>
          </p:nvSpPr>
          <p:spPr>
            <a:xfrm>
              <a:off x="1595255" y="2085383"/>
              <a:ext cx="169357" cy="202510"/>
            </a:xfrm>
            <a:custGeom>
              <a:avLst/>
              <a:gdLst>
                <a:gd name="connsiteX0" fmla="*/ 7045 w 169357"/>
                <a:gd name="connsiteY0" fmla="*/ 202511 h 202510"/>
                <a:gd name="connsiteX1" fmla="*/ 0 w 169357"/>
                <a:gd name="connsiteY1" fmla="*/ 195466 h 202510"/>
                <a:gd name="connsiteX2" fmla="*/ 0 w 169357"/>
                <a:gd name="connsiteY2" fmla="*/ 162174 h 202510"/>
                <a:gd name="connsiteX3" fmla="*/ 54565 w 169357"/>
                <a:gd name="connsiteY3" fmla="*/ 114793 h 202510"/>
                <a:gd name="connsiteX4" fmla="*/ 33291 w 169357"/>
                <a:gd name="connsiteY4" fmla="*/ 70451 h 202510"/>
                <a:gd name="connsiteX5" fmla="*/ 33291 w 169357"/>
                <a:gd name="connsiteY5" fmla="*/ 54565 h 202510"/>
                <a:gd name="connsiteX6" fmla="*/ 84679 w 169357"/>
                <a:gd name="connsiteY6" fmla="*/ 0 h 202510"/>
                <a:gd name="connsiteX7" fmla="*/ 136066 w 169357"/>
                <a:gd name="connsiteY7" fmla="*/ 54565 h 202510"/>
                <a:gd name="connsiteX8" fmla="*/ 136066 w 169357"/>
                <a:gd name="connsiteY8" fmla="*/ 70451 h 202510"/>
                <a:gd name="connsiteX9" fmla="*/ 114793 w 169357"/>
                <a:gd name="connsiteY9" fmla="*/ 114793 h 202510"/>
                <a:gd name="connsiteX10" fmla="*/ 169358 w 169357"/>
                <a:gd name="connsiteY10" fmla="*/ 162036 h 202510"/>
                <a:gd name="connsiteX11" fmla="*/ 162313 w 169357"/>
                <a:gd name="connsiteY11" fmla="*/ 169081 h 202510"/>
                <a:gd name="connsiteX12" fmla="*/ 155268 w 169357"/>
                <a:gd name="connsiteY12" fmla="*/ 162036 h 202510"/>
                <a:gd name="connsiteX13" fmla="*/ 84817 w 169357"/>
                <a:gd name="connsiteY13" fmla="*/ 125015 h 202510"/>
                <a:gd name="connsiteX14" fmla="*/ 14366 w 169357"/>
                <a:gd name="connsiteY14" fmla="*/ 162174 h 202510"/>
                <a:gd name="connsiteX15" fmla="*/ 14366 w 169357"/>
                <a:gd name="connsiteY15" fmla="*/ 195466 h 202510"/>
                <a:gd name="connsiteX16" fmla="*/ 7045 w 169357"/>
                <a:gd name="connsiteY16" fmla="*/ 202511 h 202510"/>
                <a:gd name="connsiteX17" fmla="*/ 84679 w 169357"/>
                <a:gd name="connsiteY17" fmla="*/ 14228 h 202510"/>
                <a:gd name="connsiteX18" fmla="*/ 47381 w 169357"/>
                <a:gd name="connsiteY18" fmla="*/ 54565 h 202510"/>
                <a:gd name="connsiteX19" fmla="*/ 47381 w 169357"/>
                <a:gd name="connsiteY19" fmla="*/ 70451 h 202510"/>
                <a:gd name="connsiteX20" fmla="*/ 84679 w 169357"/>
                <a:gd name="connsiteY20" fmla="*/ 110787 h 202510"/>
                <a:gd name="connsiteX21" fmla="*/ 121976 w 169357"/>
                <a:gd name="connsiteY21" fmla="*/ 70451 h 202510"/>
                <a:gd name="connsiteX22" fmla="*/ 121976 w 169357"/>
                <a:gd name="connsiteY22" fmla="*/ 54565 h 202510"/>
                <a:gd name="connsiteX23" fmla="*/ 84679 w 169357"/>
                <a:gd name="connsiteY23" fmla="*/ 14228 h 20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9357" h="202510">
                  <a:moveTo>
                    <a:pt x="7045" y="202511"/>
                  </a:moveTo>
                  <a:cubicBezTo>
                    <a:pt x="3177" y="202511"/>
                    <a:pt x="0" y="199334"/>
                    <a:pt x="0" y="195466"/>
                  </a:cubicBezTo>
                  <a:lnTo>
                    <a:pt x="0" y="162174"/>
                  </a:lnTo>
                  <a:cubicBezTo>
                    <a:pt x="0" y="131508"/>
                    <a:pt x="38126" y="118799"/>
                    <a:pt x="54565" y="114793"/>
                  </a:cubicBezTo>
                  <a:cubicBezTo>
                    <a:pt x="41027" y="104433"/>
                    <a:pt x="33291" y="88270"/>
                    <a:pt x="33291" y="70451"/>
                  </a:cubicBezTo>
                  <a:lnTo>
                    <a:pt x="33291" y="54565"/>
                  </a:lnTo>
                  <a:cubicBezTo>
                    <a:pt x="33291" y="23898"/>
                    <a:pt x="55946" y="0"/>
                    <a:pt x="84679" y="0"/>
                  </a:cubicBezTo>
                  <a:cubicBezTo>
                    <a:pt x="113550" y="0"/>
                    <a:pt x="136066" y="24036"/>
                    <a:pt x="136066" y="54565"/>
                  </a:cubicBezTo>
                  <a:lnTo>
                    <a:pt x="136066" y="70451"/>
                  </a:lnTo>
                  <a:cubicBezTo>
                    <a:pt x="136066" y="88409"/>
                    <a:pt x="128330" y="104571"/>
                    <a:pt x="114793" y="114793"/>
                  </a:cubicBezTo>
                  <a:cubicBezTo>
                    <a:pt x="131231" y="118799"/>
                    <a:pt x="169358" y="131508"/>
                    <a:pt x="169358" y="162036"/>
                  </a:cubicBezTo>
                  <a:cubicBezTo>
                    <a:pt x="169358" y="165904"/>
                    <a:pt x="166180" y="169081"/>
                    <a:pt x="162313" y="169081"/>
                  </a:cubicBezTo>
                  <a:cubicBezTo>
                    <a:pt x="158445" y="169081"/>
                    <a:pt x="155268" y="165904"/>
                    <a:pt x="155268" y="162036"/>
                  </a:cubicBezTo>
                  <a:cubicBezTo>
                    <a:pt x="155268" y="137448"/>
                    <a:pt x="110096" y="125015"/>
                    <a:pt x="84817" y="125015"/>
                  </a:cubicBezTo>
                  <a:cubicBezTo>
                    <a:pt x="60228" y="125015"/>
                    <a:pt x="14366" y="137862"/>
                    <a:pt x="14366" y="162174"/>
                  </a:cubicBezTo>
                  <a:lnTo>
                    <a:pt x="14366" y="195466"/>
                  </a:lnTo>
                  <a:cubicBezTo>
                    <a:pt x="14228" y="199334"/>
                    <a:pt x="10913" y="202511"/>
                    <a:pt x="7045" y="202511"/>
                  </a:cubicBezTo>
                  <a:close/>
                  <a:moveTo>
                    <a:pt x="84679" y="14228"/>
                  </a:moveTo>
                  <a:cubicBezTo>
                    <a:pt x="63820" y="14228"/>
                    <a:pt x="47381" y="31910"/>
                    <a:pt x="47381" y="54565"/>
                  </a:cubicBezTo>
                  <a:lnTo>
                    <a:pt x="47381" y="70451"/>
                  </a:lnTo>
                  <a:cubicBezTo>
                    <a:pt x="47381" y="93105"/>
                    <a:pt x="63682" y="110787"/>
                    <a:pt x="84679" y="110787"/>
                  </a:cubicBezTo>
                  <a:cubicBezTo>
                    <a:pt x="105538" y="110787"/>
                    <a:pt x="121976" y="93105"/>
                    <a:pt x="121976" y="70451"/>
                  </a:cubicBezTo>
                  <a:lnTo>
                    <a:pt x="121976" y="54565"/>
                  </a:lnTo>
                  <a:cubicBezTo>
                    <a:pt x="121838" y="31910"/>
                    <a:pt x="105538" y="14228"/>
                    <a:pt x="84679" y="14228"/>
                  </a:cubicBezTo>
                  <a:close/>
                </a:path>
              </a:pathLst>
            </a:custGeom>
            <a:grpFill/>
            <a:ln w="13803" cap="flat">
              <a:noFill/>
              <a:prstDash val="solid"/>
              <a:miter/>
            </a:ln>
          </p:spPr>
          <p:txBody>
            <a:bodyPr rtlCol="0" anchor="ctr"/>
            <a:lstStyle/>
            <a:p>
              <a:endParaRPr lang="ru-RU"/>
            </a:p>
          </p:txBody>
        </p:sp>
        <p:sp>
          <p:nvSpPr>
            <p:cNvPr id="114" name="Полилиния: фигура 113">
              <a:extLst>
                <a:ext uri="{FF2B5EF4-FFF2-40B4-BE49-F238E27FC236}">
                  <a16:creationId xmlns:a16="http://schemas.microsoft.com/office/drawing/2014/main" id="{01CEB3D4-D879-4BC9-BE40-89C2E66B74B2}"/>
                </a:ext>
              </a:extLst>
            </p:cNvPr>
            <p:cNvSpPr/>
            <p:nvPr/>
          </p:nvSpPr>
          <p:spPr>
            <a:xfrm>
              <a:off x="1573152" y="1885911"/>
              <a:ext cx="169357" cy="202510"/>
            </a:xfrm>
            <a:custGeom>
              <a:avLst/>
              <a:gdLst>
                <a:gd name="connsiteX0" fmla="*/ 7045 w 169357"/>
                <a:gd name="connsiteY0" fmla="*/ 202511 h 202510"/>
                <a:gd name="connsiteX1" fmla="*/ 0 w 169357"/>
                <a:gd name="connsiteY1" fmla="*/ 195466 h 202510"/>
                <a:gd name="connsiteX2" fmla="*/ 0 w 169357"/>
                <a:gd name="connsiteY2" fmla="*/ 162174 h 202510"/>
                <a:gd name="connsiteX3" fmla="*/ 54565 w 169357"/>
                <a:gd name="connsiteY3" fmla="*/ 114793 h 202510"/>
                <a:gd name="connsiteX4" fmla="*/ 33291 w 169357"/>
                <a:gd name="connsiteY4" fmla="*/ 70451 h 202510"/>
                <a:gd name="connsiteX5" fmla="*/ 33291 w 169357"/>
                <a:gd name="connsiteY5" fmla="*/ 54565 h 202510"/>
                <a:gd name="connsiteX6" fmla="*/ 84679 w 169357"/>
                <a:gd name="connsiteY6" fmla="*/ 0 h 202510"/>
                <a:gd name="connsiteX7" fmla="*/ 136066 w 169357"/>
                <a:gd name="connsiteY7" fmla="*/ 54565 h 202510"/>
                <a:gd name="connsiteX8" fmla="*/ 136066 w 169357"/>
                <a:gd name="connsiteY8" fmla="*/ 70451 h 202510"/>
                <a:gd name="connsiteX9" fmla="*/ 114793 w 169357"/>
                <a:gd name="connsiteY9" fmla="*/ 114793 h 202510"/>
                <a:gd name="connsiteX10" fmla="*/ 169358 w 169357"/>
                <a:gd name="connsiteY10" fmla="*/ 162036 h 202510"/>
                <a:gd name="connsiteX11" fmla="*/ 162313 w 169357"/>
                <a:gd name="connsiteY11" fmla="*/ 169081 h 202510"/>
                <a:gd name="connsiteX12" fmla="*/ 155268 w 169357"/>
                <a:gd name="connsiteY12" fmla="*/ 162036 h 202510"/>
                <a:gd name="connsiteX13" fmla="*/ 84817 w 169357"/>
                <a:gd name="connsiteY13" fmla="*/ 125015 h 202510"/>
                <a:gd name="connsiteX14" fmla="*/ 14366 w 169357"/>
                <a:gd name="connsiteY14" fmla="*/ 162174 h 202510"/>
                <a:gd name="connsiteX15" fmla="*/ 14366 w 169357"/>
                <a:gd name="connsiteY15" fmla="*/ 195466 h 202510"/>
                <a:gd name="connsiteX16" fmla="*/ 7045 w 169357"/>
                <a:gd name="connsiteY16" fmla="*/ 202511 h 202510"/>
                <a:gd name="connsiteX17" fmla="*/ 84541 w 169357"/>
                <a:gd name="connsiteY17" fmla="*/ 14228 h 202510"/>
                <a:gd name="connsiteX18" fmla="*/ 47243 w 169357"/>
                <a:gd name="connsiteY18" fmla="*/ 54565 h 202510"/>
                <a:gd name="connsiteX19" fmla="*/ 47243 w 169357"/>
                <a:gd name="connsiteY19" fmla="*/ 70451 h 202510"/>
                <a:gd name="connsiteX20" fmla="*/ 84541 w 169357"/>
                <a:gd name="connsiteY20" fmla="*/ 110787 h 202510"/>
                <a:gd name="connsiteX21" fmla="*/ 121700 w 169357"/>
                <a:gd name="connsiteY21" fmla="*/ 70451 h 202510"/>
                <a:gd name="connsiteX22" fmla="*/ 121700 w 169357"/>
                <a:gd name="connsiteY22" fmla="*/ 54565 h 202510"/>
                <a:gd name="connsiteX23" fmla="*/ 84541 w 169357"/>
                <a:gd name="connsiteY23" fmla="*/ 14228 h 202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9357" h="202510">
                  <a:moveTo>
                    <a:pt x="7045" y="202511"/>
                  </a:moveTo>
                  <a:cubicBezTo>
                    <a:pt x="3177" y="202511"/>
                    <a:pt x="0" y="199334"/>
                    <a:pt x="0" y="195466"/>
                  </a:cubicBezTo>
                  <a:lnTo>
                    <a:pt x="0" y="162174"/>
                  </a:lnTo>
                  <a:cubicBezTo>
                    <a:pt x="0" y="131508"/>
                    <a:pt x="38126" y="118799"/>
                    <a:pt x="54565" y="114793"/>
                  </a:cubicBezTo>
                  <a:cubicBezTo>
                    <a:pt x="41027" y="104433"/>
                    <a:pt x="33291" y="88270"/>
                    <a:pt x="33291" y="70451"/>
                  </a:cubicBezTo>
                  <a:lnTo>
                    <a:pt x="33291" y="54565"/>
                  </a:lnTo>
                  <a:cubicBezTo>
                    <a:pt x="33291" y="23898"/>
                    <a:pt x="55946" y="0"/>
                    <a:pt x="84679" y="0"/>
                  </a:cubicBezTo>
                  <a:cubicBezTo>
                    <a:pt x="113412" y="0"/>
                    <a:pt x="136066" y="24036"/>
                    <a:pt x="136066" y="54565"/>
                  </a:cubicBezTo>
                  <a:lnTo>
                    <a:pt x="136066" y="70451"/>
                  </a:lnTo>
                  <a:cubicBezTo>
                    <a:pt x="136066" y="88409"/>
                    <a:pt x="128331" y="104571"/>
                    <a:pt x="114793" y="114793"/>
                  </a:cubicBezTo>
                  <a:cubicBezTo>
                    <a:pt x="131231" y="118799"/>
                    <a:pt x="169358" y="131508"/>
                    <a:pt x="169358" y="162036"/>
                  </a:cubicBezTo>
                  <a:cubicBezTo>
                    <a:pt x="169358" y="165904"/>
                    <a:pt x="166180" y="169081"/>
                    <a:pt x="162313" y="169081"/>
                  </a:cubicBezTo>
                  <a:cubicBezTo>
                    <a:pt x="158445" y="169081"/>
                    <a:pt x="155268" y="165904"/>
                    <a:pt x="155268" y="162036"/>
                  </a:cubicBezTo>
                  <a:cubicBezTo>
                    <a:pt x="155268" y="137448"/>
                    <a:pt x="110096" y="125015"/>
                    <a:pt x="84817" y="125015"/>
                  </a:cubicBezTo>
                  <a:cubicBezTo>
                    <a:pt x="60228" y="125015"/>
                    <a:pt x="14366" y="137862"/>
                    <a:pt x="14366" y="162174"/>
                  </a:cubicBezTo>
                  <a:lnTo>
                    <a:pt x="14366" y="195466"/>
                  </a:lnTo>
                  <a:cubicBezTo>
                    <a:pt x="14090" y="199334"/>
                    <a:pt x="10913" y="202511"/>
                    <a:pt x="7045" y="202511"/>
                  </a:cubicBezTo>
                  <a:close/>
                  <a:moveTo>
                    <a:pt x="84541" y="14228"/>
                  </a:moveTo>
                  <a:cubicBezTo>
                    <a:pt x="63682" y="14228"/>
                    <a:pt x="47243" y="31910"/>
                    <a:pt x="47243" y="54565"/>
                  </a:cubicBezTo>
                  <a:lnTo>
                    <a:pt x="47243" y="70451"/>
                  </a:lnTo>
                  <a:cubicBezTo>
                    <a:pt x="47243" y="93105"/>
                    <a:pt x="63544" y="110787"/>
                    <a:pt x="84541" y="110787"/>
                  </a:cubicBezTo>
                  <a:cubicBezTo>
                    <a:pt x="105400" y="110787"/>
                    <a:pt x="121700" y="93105"/>
                    <a:pt x="121700" y="70451"/>
                  </a:cubicBezTo>
                  <a:lnTo>
                    <a:pt x="121700" y="54565"/>
                  </a:lnTo>
                  <a:cubicBezTo>
                    <a:pt x="121838" y="31910"/>
                    <a:pt x="105400" y="14228"/>
                    <a:pt x="84541" y="14228"/>
                  </a:cubicBezTo>
                  <a:close/>
                </a:path>
              </a:pathLst>
            </a:custGeom>
            <a:grpFill/>
            <a:ln w="13803" cap="flat">
              <a:noFill/>
              <a:prstDash val="solid"/>
              <a:miter/>
            </a:ln>
          </p:spPr>
          <p:txBody>
            <a:bodyPr rtlCol="0" anchor="ctr"/>
            <a:lstStyle/>
            <a:p>
              <a:endParaRPr lang="ru-RU"/>
            </a:p>
          </p:txBody>
        </p:sp>
        <p:sp>
          <p:nvSpPr>
            <p:cNvPr id="115" name="Полилиния: фигура 114">
              <a:extLst>
                <a:ext uri="{FF2B5EF4-FFF2-40B4-BE49-F238E27FC236}">
                  <a16:creationId xmlns:a16="http://schemas.microsoft.com/office/drawing/2014/main" id="{38E306A5-D6D9-4E61-9F6A-251BCB4E5864}"/>
                </a:ext>
              </a:extLst>
            </p:cNvPr>
            <p:cNvSpPr/>
            <p:nvPr/>
          </p:nvSpPr>
          <p:spPr>
            <a:xfrm>
              <a:off x="1750522" y="1952356"/>
              <a:ext cx="169357" cy="169081"/>
            </a:xfrm>
            <a:custGeom>
              <a:avLst/>
              <a:gdLst>
                <a:gd name="connsiteX0" fmla="*/ 162036 w 169357"/>
                <a:gd name="connsiteY0" fmla="*/ 169081 h 169081"/>
                <a:gd name="connsiteX1" fmla="*/ 154991 w 169357"/>
                <a:gd name="connsiteY1" fmla="*/ 162036 h 169081"/>
                <a:gd name="connsiteX2" fmla="*/ 84541 w 169357"/>
                <a:gd name="connsiteY2" fmla="*/ 125015 h 169081"/>
                <a:gd name="connsiteX3" fmla="*/ 14090 w 169357"/>
                <a:gd name="connsiteY3" fmla="*/ 162036 h 169081"/>
                <a:gd name="connsiteX4" fmla="*/ 7045 w 169357"/>
                <a:gd name="connsiteY4" fmla="*/ 169081 h 169081"/>
                <a:gd name="connsiteX5" fmla="*/ 0 w 169357"/>
                <a:gd name="connsiteY5" fmla="*/ 162036 h 169081"/>
                <a:gd name="connsiteX6" fmla="*/ 54565 w 169357"/>
                <a:gd name="connsiteY6" fmla="*/ 114793 h 169081"/>
                <a:gd name="connsiteX7" fmla="*/ 33291 w 169357"/>
                <a:gd name="connsiteY7" fmla="*/ 70451 h 169081"/>
                <a:gd name="connsiteX8" fmla="*/ 33291 w 169357"/>
                <a:gd name="connsiteY8" fmla="*/ 54565 h 169081"/>
                <a:gd name="connsiteX9" fmla="*/ 84679 w 169357"/>
                <a:gd name="connsiteY9" fmla="*/ 0 h 169081"/>
                <a:gd name="connsiteX10" fmla="*/ 136066 w 169357"/>
                <a:gd name="connsiteY10" fmla="*/ 54565 h 169081"/>
                <a:gd name="connsiteX11" fmla="*/ 136066 w 169357"/>
                <a:gd name="connsiteY11" fmla="*/ 70451 h 169081"/>
                <a:gd name="connsiteX12" fmla="*/ 114793 w 169357"/>
                <a:gd name="connsiteY12" fmla="*/ 114793 h 169081"/>
                <a:gd name="connsiteX13" fmla="*/ 169358 w 169357"/>
                <a:gd name="connsiteY13" fmla="*/ 162036 h 169081"/>
                <a:gd name="connsiteX14" fmla="*/ 162036 w 169357"/>
                <a:gd name="connsiteY14" fmla="*/ 169081 h 169081"/>
                <a:gd name="connsiteX15" fmla="*/ 84541 w 169357"/>
                <a:gd name="connsiteY15" fmla="*/ 14228 h 169081"/>
                <a:gd name="connsiteX16" fmla="*/ 47381 w 169357"/>
                <a:gd name="connsiteY16" fmla="*/ 54565 h 169081"/>
                <a:gd name="connsiteX17" fmla="*/ 47381 w 169357"/>
                <a:gd name="connsiteY17" fmla="*/ 70451 h 169081"/>
                <a:gd name="connsiteX18" fmla="*/ 84541 w 169357"/>
                <a:gd name="connsiteY18" fmla="*/ 110787 h 169081"/>
                <a:gd name="connsiteX19" fmla="*/ 121838 w 169357"/>
                <a:gd name="connsiteY19" fmla="*/ 70451 h 169081"/>
                <a:gd name="connsiteX20" fmla="*/ 121838 w 169357"/>
                <a:gd name="connsiteY20" fmla="*/ 54565 h 169081"/>
                <a:gd name="connsiteX21" fmla="*/ 84541 w 169357"/>
                <a:gd name="connsiteY21" fmla="*/ 14228 h 16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357" h="169081">
                  <a:moveTo>
                    <a:pt x="162036" y="169081"/>
                  </a:moveTo>
                  <a:cubicBezTo>
                    <a:pt x="158168" y="169081"/>
                    <a:pt x="154991" y="165904"/>
                    <a:pt x="154991" y="162036"/>
                  </a:cubicBezTo>
                  <a:cubicBezTo>
                    <a:pt x="154991" y="137448"/>
                    <a:pt x="109820" y="125015"/>
                    <a:pt x="84541" y="125015"/>
                  </a:cubicBezTo>
                  <a:cubicBezTo>
                    <a:pt x="59261" y="125015"/>
                    <a:pt x="14090" y="137310"/>
                    <a:pt x="14090" y="162036"/>
                  </a:cubicBezTo>
                  <a:cubicBezTo>
                    <a:pt x="14090" y="165904"/>
                    <a:pt x="10913" y="169081"/>
                    <a:pt x="7045" y="169081"/>
                  </a:cubicBezTo>
                  <a:cubicBezTo>
                    <a:pt x="3177" y="169081"/>
                    <a:pt x="0" y="165904"/>
                    <a:pt x="0" y="162036"/>
                  </a:cubicBezTo>
                  <a:cubicBezTo>
                    <a:pt x="0" y="131508"/>
                    <a:pt x="38126" y="118799"/>
                    <a:pt x="54565" y="114793"/>
                  </a:cubicBezTo>
                  <a:cubicBezTo>
                    <a:pt x="41027" y="104433"/>
                    <a:pt x="33291" y="88270"/>
                    <a:pt x="33291" y="70451"/>
                  </a:cubicBezTo>
                  <a:lnTo>
                    <a:pt x="33291" y="54565"/>
                  </a:lnTo>
                  <a:cubicBezTo>
                    <a:pt x="33291" y="23898"/>
                    <a:pt x="55808" y="0"/>
                    <a:pt x="84679" y="0"/>
                  </a:cubicBezTo>
                  <a:cubicBezTo>
                    <a:pt x="113550" y="0"/>
                    <a:pt x="136066" y="24036"/>
                    <a:pt x="136066" y="54565"/>
                  </a:cubicBezTo>
                  <a:lnTo>
                    <a:pt x="136066" y="70451"/>
                  </a:lnTo>
                  <a:cubicBezTo>
                    <a:pt x="136066" y="88409"/>
                    <a:pt x="128331" y="104571"/>
                    <a:pt x="114793" y="114793"/>
                  </a:cubicBezTo>
                  <a:cubicBezTo>
                    <a:pt x="131231" y="118799"/>
                    <a:pt x="169358" y="131508"/>
                    <a:pt x="169358" y="162036"/>
                  </a:cubicBezTo>
                  <a:cubicBezTo>
                    <a:pt x="169220" y="165904"/>
                    <a:pt x="166042" y="169081"/>
                    <a:pt x="162036" y="169081"/>
                  </a:cubicBezTo>
                  <a:close/>
                  <a:moveTo>
                    <a:pt x="84541" y="14228"/>
                  </a:moveTo>
                  <a:cubicBezTo>
                    <a:pt x="63682" y="14228"/>
                    <a:pt x="47381" y="31910"/>
                    <a:pt x="47381" y="54565"/>
                  </a:cubicBezTo>
                  <a:lnTo>
                    <a:pt x="47381" y="70451"/>
                  </a:lnTo>
                  <a:cubicBezTo>
                    <a:pt x="47381" y="93105"/>
                    <a:pt x="63682" y="110787"/>
                    <a:pt x="84541" y="110787"/>
                  </a:cubicBezTo>
                  <a:cubicBezTo>
                    <a:pt x="105400" y="110787"/>
                    <a:pt x="121838" y="93105"/>
                    <a:pt x="121838" y="70451"/>
                  </a:cubicBezTo>
                  <a:lnTo>
                    <a:pt x="121838" y="54565"/>
                  </a:lnTo>
                  <a:cubicBezTo>
                    <a:pt x="121700" y="31910"/>
                    <a:pt x="105400" y="14228"/>
                    <a:pt x="84541" y="14228"/>
                  </a:cubicBezTo>
                  <a:close/>
                </a:path>
              </a:pathLst>
            </a:custGeom>
            <a:grpFill/>
            <a:ln w="13803" cap="flat">
              <a:noFill/>
              <a:prstDash val="solid"/>
              <a:miter/>
            </a:ln>
          </p:spPr>
          <p:txBody>
            <a:bodyPr rtlCol="0" anchor="ctr"/>
            <a:lstStyle/>
            <a:p>
              <a:endParaRPr lang="ru-RU"/>
            </a:p>
          </p:txBody>
        </p:sp>
        <p:sp>
          <p:nvSpPr>
            <p:cNvPr id="116" name="Полилиния: фигура 115">
              <a:extLst>
                <a:ext uri="{FF2B5EF4-FFF2-40B4-BE49-F238E27FC236}">
                  <a16:creationId xmlns:a16="http://schemas.microsoft.com/office/drawing/2014/main" id="{C69699BD-CECA-4D56-B992-FFF6B772B61F}"/>
                </a:ext>
              </a:extLst>
            </p:cNvPr>
            <p:cNvSpPr/>
            <p:nvPr/>
          </p:nvSpPr>
          <p:spPr>
            <a:xfrm>
              <a:off x="1717231" y="1886325"/>
              <a:ext cx="368866" cy="412895"/>
            </a:xfrm>
            <a:custGeom>
              <a:avLst/>
              <a:gdLst>
                <a:gd name="connsiteX0" fmla="*/ 7045 w 368866"/>
                <a:gd name="connsiteY0" fmla="*/ 412758 h 412895"/>
                <a:gd name="connsiteX1" fmla="*/ 0 w 368866"/>
                <a:gd name="connsiteY1" fmla="*/ 405712 h 412895"/>
                <a:gd name="connsiteX2" fmla="*/ 7045 w 368866"/>
                <a:gd name="connsiteY2" fmla="*/ 398667 h 412895"/>
                <a:gd name="connsiteX3" fmla="*/ 51388 w 368866"/>
                <a:gd name="connsiteY3" fmla="*/ 398667 h 412895"/>
                <a:gd name="connsiteX4" fmla="*/ 243814 w 368866"/>
                <a:gd name="connsiteY4" fmla="*/ 217430 h 412895"/>
                <a:gd name="connsiteX5" fmla="*/ 243814 w 368866"/>
                <a:gd name="connsiteY5" fmla="*/ 158030 h 412895"/>
                <a:gd name="connsiteX6" fmla="*/ 206517 w 368866"/>
                <a:gd name="connsiteY6" fmla="*/ 158030 h 412895"/>
                <a:gd name="connsiteX7" fmla="*/ 200439 w 368866"/>
                <a:gd name="connsiteY7" fmla="*/ 154577 h 412895"/>
                <a:gd name="connsiteX8" fmla="*/ 200301 w 368866"/>
                <a:gd name="connsiteY8" fmla="*/ 147532 h 412895"/>
                <a:gd name="connsiteX9" fmla="*/ 277935 w 368866"/>
                <a:gd name="connsiteY9" fmla="*/ 3453 h 412895"/>
                <a:gd name="connsiteX10" fmla="*/ 284151 w 368866"/>
                <a:gd name="connsiteY10" fmla="*/ 0 h 412895"/>
                <a:gd name="connsiteX11" fmla="*/ 290367 w 368866"/>
                <a:gd name="connsiteY11" fmla="*/ 3453 h 412895"/>
                <a:gd name="connsiteX12" fmla="*/ 368001 w 368866"/>
                <a:gd name="connsiteY12" fmla="*/ 147532 h 412895"/>
                <a:gd name="connsiteX13" fmla="*/ 367863 w 368866"/>
                <a:gd name="connsiteY13" fmla="*/ 154577 h 412895"/>
                <a:gd name="connsiteX14" fmla="*/ 361785 w 368866"/>
                <a:gd name="connsiteY14" fmla="*/ 158030 h 412895"/>
                <a:gd name="connsiteX15" fmla="*/ 324625 w 368866"/>
                <a:gd name="connsiteY15" fmla="*/ 158030 h 412895"/>
                <a:gd name="connsiteX16" fmla="*/ 324625 w 368866"/>
                <a:gd name="connsiteY16" fmla="*/ 217430 h 412895"/>
                <a:gd name="connsiteX17" fmla="*/ 283598 w 368866"/>
                <a:gd name="connsiteY17" fmla="*/ 345346 h 412895"/>
                <a:gd name="connsiteX18" fmla="*/ 278073 w 368866"/>
                <a:gd name="connsiteY18" fmla="*/ 347971 h 412895"/>
                <a:gd name="connsiteX19" fmla="*/ 273514 w 368866"/>
                <a:gd name="connsiteY19" fmla="*/ 346313 h 412895"/>
                <a:gd name="connsiteX20" fmla="*/ 271028 w 368866"/>
                <a:gd name="connsiteY20" fmla="*/ 341478 h 412895"/>
                <a:gd name="connsiteX21" fmla="*/ 272685 w 368866"/>
                <a:gd name="connsiteY21" fmla="*/ 336229 h 412895"/>
                <a:gd name="connsiteX22" fmla="*/ 310397 w 368866"/>
                <a:gd name="connsiteY22" fmla="*/ 217430 h 412895"/>
                <a:gd name="connsiteX23" fmla="*/ 310397 w 368866"/>
                <a:gd name="connsiteY23" fmla="*/ 150985 h 412895"/>
                <a:gd name="connsiteX24" fmla="*/ 317442 w 368866"/>
                <a:gd name="connsiteY24" fmla="*/ 143940 h 412895"/>
                <a:gd name="connsiteX25" fmla="*/ 349905 w 368866"/>
                <a:gd name="connsiteY25" fmla="*/ 143940 h 412895"/>
                <a:gd name="connsiteX26" fmla="*/ 284289 w 368866"/>
                <a:gd name="connsiteY26" fmla="*/ 21964 h 412895"/>
                <a:gd name="connsiteX27" fmla="*/ 218535 w 368866"/>
                <a:gd name="connsiteY27" fmla="*/ 143940 h 412895"/>
                <a:gd name="connsiteX28" fmla="*/ 250998 w 368866"/>
                <a:gd name="connsiteY28" fmla="*/ 143940 h 412895"/>
                <a:gd name="connsiteX29" fmla="*/ 258043 w 368866"/>
                <a:gd name="connsiteY29" fmla="*/ 150985 h 412895"/>
                <a:gd name="connsiteX30" fmla="*/ 258043 w 368866"/>
                <a:gd name="connsiteY30" fmla="*/ 217430 h 412895"/>
                <a:gd name="connsiteX31" fmla="*/ 51526 w 368866"/>
                <a:gd name="connsiteY31" fmla="*/ 412896 h 412895"/>
                <a:gd name="connsiteX32" fmla="*/ 7045 w 368866"/>
                <a:gd name="connsiteY32" fmla="*/ 412896 h 41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8866" h="412895">
                  <a:moveTo>
                    <a:pt x="7045" y="412758"/>
                  </a:moveTo>
                  <a:cubicBezTo>
                    <a:pt x="3177" y="412758"/>
                    <a:pt x="0" y="409580"/>
                    <a:pt x="0" y="405712"/>
                  </a:cubicBezTo>
                  <a:cubicBezTo>
                    <a:pt x="0" y="401845"/>
                    <a:pt x="3177" y="398667"/>
                    <a:pt x="7045" y="398667"/>
                  </a:cubicBezTo>
                  <a:lnTo>
                    <a:pt x="51388" y="398667"/>
                  </a:lnTo>
                  <a:cubicBezTo>
                    <a:pt x="146012" y="398667"/>
                    <a:pt x="243814" y="330841"/>
                    <a:pt x="243814" y="217430"/>
                  </a:cubicBezTo>
                  <a:lnTo>
                    <a:pt x="243814" y="158030"/>
                  </a:lnTo>
                  <a:lnTo>
                    <a:pt x="206517" y="158030"/>
                  </a:lnTo>
                  <a:cubicBezTo>
                    <a:pt x="204030" y="158030"/>
                    <a:pt x="201682" y="156649"/>
                    <a:pt x="200439" y="154577"/>
                  </a:cubicBezTo>
                  <a:cubicBezTo>
                    <a:pt x="199196" y="152505"/>
                    <a:pt x="199057" y="149742"/>
                    <a:pt x="200301" y="147532"/>
                  </a:cubicBezTo>
                  <a:lnTo>
                    <a:pt x="277935" y="3453"/>
                  </a:lnTo>
                  <a:cubicBezTo>
                    <a:pt x="279040" y="1381"/>
                    <a:pt x="281526" y="0"/>
                    <a:pt x="284151" y="0"/>
                  </a:cubicBezTo>
                  <a:cubicBezTo>
                    <a:pt x="286775" y="0"/>
                    <a:pt x="289262" y="1381"/>
                    <a:pt x="290367" y="3453"/>
                  </a:cubicBezTo>
                  <a:lnTo>
                    <a:pt x="368001" y="147532"/>
                  </a:lnTo>
                  <a:cubicBezTo>
                    <a:pt x="369244" y="149742"/>
                    <a:pt x="369106" y="152367"/>
                    <a:pt x="367863" y="154577"/>
                  </a:cubicBezTo>
                  <a:cubicBezTo>
                    <a:pt x="366619" y="156649"/>
                    <a:pt x="364271" y="158030"/>
                    <a:pt x="361785" y="158030"/>
                  </a:cubicBezTo>
                  <a:lnTo>
                    <a:pt x="324625" y="158030"/>
                  </a:lnTo>
                  <a:lnTo>
                    <a:pt x="324625" y="217430"/>
                  </a:lnTo>
                  <a:cubicBezTo>
                    <a:pt x="324625" y="270889"/>
                    <a:pt x="311640" y="311640"/>
                    <a:pt x="283598" y="345346"/>
                  </a:cubicBezTo>
                  <a:cubicBezTo>
                    <a:pt x="282217" y="347004"/>
                    <a:pt x="280283" y="347971"/>
                    <a:pt x="278073" y="347971"/>
                  </a:cubicBezTo>
                  <a:cubicBezTo>
                    <a:pt x="276415" y="347971"/>
                    <a:pt x="274757" y="347418"/>
                    <a:pt x="273514" y="346313"/>
                  </a:cubicBezTo>
                  <a:cubicBezTo>
                    <a:pt x="271995" y="345070"/>
                    <a:pt x="271166" y="343412"/>
                    <a:pt x="271028" y="341478"/>
                  </a:cubicBezTo>
                  <a:cubicBezTo>
                    <a:pt x="270889" y="339544"/>
                    <a:pt x="271442" y="337748"/>
                    <a:pt x="272685" y="336229"/>
                  </a:cubicBezTo>
                  <a:cubicBezTo>
                    <a:pt x="298379" y="305148"/>
                    <a:pt x="310397" y="267436"/>
                    <a:pt x="310397" y="217430"/>
                  </a:cubicBezTo>
                  <a:lnTo>
                    <a:pt x="310397" y="150985"/>
                  </a:lnTo>
                  <a:cubicBezTo>
                    <a:pt x="310397" y="147117"/>
                    <a:pt x="313574" y="143940"/>
                    <a:pt x="317442" y="143940"/>
                  </a:cubicBezTo>
                  <a:lnTo>
                    <a:pt x="349905" y="143940"/>
                  </a:lnTo>
                  <a:lnTo>
                    <a:pt x="284289" y="21964"/>
                  </a:lnTo>
                  <a:lnTo>
                    <a:pt x="218535" y="143940"/>
                  </a:lnTo>
                  <a:lnTo>
                    <a:pt x="250998" y="143940"/>
                  </a:lnTo>
                  <a:cubicBezTo>
                    <a:pt x="254865" y="143940"/>
                    <a:pt x="258043" y="147117"/>
                    <a:pt x="258043" y="150985"/>
                  </a:cubicBezTo>
                  <a:lnTo>
                    <a:pt x="258043" y="217430"/>
                  </a:lnTo>
                  <a:cubicBezTo>
                    <a:pt x="258043" y="339820"/>
                    <a:pt x="153057" y="412896"/>
                    <a:pt x="51526" y="412896"/>
                  </a:cubicBezTo>
                  <a:lnTo>
                    <a:pt x="7045" y="412896"/>
                  </a:lnTo>
                  <a:close/>
                </a:path>
              </a:pathLst>
            </a:custGeom>
            <a:grpFill/>
            <a:ln w="13803" cap="flat">
              <a:noFill/>
              <a:prstDash val="solid"/>
              <a:miter/>
            </a:ln>
          </p:spPr>
          <p:txBody>
            <a:bodyPr rtlCol="0" anchor="ctr"/>
            <a:lstStyle/>
            <a:p>
              <a:endParaRPr lang="ru-RU"/>
            </a:p>
          </p:txBody>
        </p:sp>
      </p:grpSp>
    </p:spTree>
    <p:extLst>
      <p:ext uri="{BB962C8B-B14F-4D97-AF65-F5344CB8AC3E}">
        <p14:creationId xmlns:p14="http://schemas.microsoft.com/office/powerpoint/2010/main" val="2957691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Полилиния: фигура 51">
            <a:extLst>
              <a:ext uri="{FF2B5EF4-FFF2-40B4-BE49-F238E27FC236}">
                <a16:creationId xmlns:a16="http://schemas.microsoft.com/office/drawing/2014/main" id="{177BB83F-DBBE-4B6A-9FFF-D4A242FBB273}"/>
              </a:ext>
            </a:extLst>
          </p:cNvPr>
          <p:cNvSpPr/>
          <p:nvPr/>
        </p:nvSpPr>
        <p:spPr>
          <a:xfrm>
            <a:off x="2624579" y="2596956"/>
            <a:ext cx="2457961" cy="1230742"/>
          </a:xfrm>
          <a:custGeom>
            <a:avLst/>
            <a:gdLst>
              <a:gd name="connsiteX0" fmla="*/ 94994 w 2694062"/>
              <a:gd name="connsiteY0" fmla="*/ 462 h 1222250"/>
              <a:gd name="connsiteX1" fmla="*/ 125474 w 2694062"/>
              <a:gd name="connsiteY1" fmla="*/ 427182 h 1222250"/>
              <a:gd name="connsiteX2" fmla="*/ 887474 w 2694062"/>
              <a:gd name="connsiteY2" fmla="*/ 1148542 h 1222250"/>
              <a:gd name="connsiteX3" fmla="*/ 2492754 w 2694062"/>
              <a:gd name="connsiteY3" fmla="*/ 1118062 h 1222250"/>
              <a:gd name="connsiteX4" fmla="*/ 2513074 w 2694062"/>
              <a:gd name="connsiteY4" fmla="*/ 437342 h 1222250"/>
              <a:gd name="connsiteX5" fmla="*/ 1060194 w 2694062"/>
              <a:gd name="connsiteY5" fmla="*/ 345902 h 1222250"/>
              <a:gd name="connsiteX6" fmla="*/ 94994 w 2694062"/>
              <a:gd name="connsiteY6" fmla="*/ 462 h 1222250"/>
              <a:gd name="connsiteX0" fmla="*/ 187404 w 2786472"/>
              <a:gd name="connsiteY0" fmla="*/ 54824 h 1276612"/>
              <a:gd name="connsiteX1" fmla="*/ 217884 w 2786472"/>
              <a:gd name="connsiteY1" fmla="*/ 481544 h 1276612"/>
              <a:gd name="connsiteX2" fmla="*/ 979884 w 2786472"/>
              <a:gd name="connsiteY2" fmla="*/ 1202904 h 1276612"/>
              <a:gd name="connsiteX3" fmla="*/ 2585164 w 2786472"/>
              <a:gd name="connsiteY3" fmla="*/ 1172424 h 1276612"/>
              <a:gd name="connsiteX4" fmla="*/ 2605484 w 2786472"/>
              <a:gd name="connsiteY4" fmla="*/ 491704 h 1276612"/>
              <a:gd name="connsiteX5" fmla="*/ 1152604 w 2786472"/>
              <a:gd name="connsiteY5" fmla="*/ 400264 h 1276612"/>
              <a:gd name="connsiteX6" fmla="*/ 187404 w 2786472"/>
              <a:gd name="connsiteY6" fmla="*/ 54824 h 1276612"/>
              <a:gd name="connsiteX0" fmla="*/ 200062 w 2799130"/>
              <a:gd name="connsiteY0" fmla="*/ 10 h 1221798"/>
              <a:gd name="connsiteX1" fmla="*/ 230542 w 2799130"/>
              <a:gd name="connsiteY1" fmla="*/ 426730 h 1221798"/>
              <a:gd name="connsiteX2" fmla="*/ 992542 w 2799130"/>
              <a:gd name="connsiteY2" fmla="*/ 1148090 h 1221798"/>
              <a:gd name="connsiteX3" fmla="*/ 2597822 w 2799130"/>
              <a:gd name="connsiteY3" fmla="*/ 1117610 h 1221798"/>
              <a:gd name="connsiteX4" fmla="*/ 2618142 w 2799130"/>
              <a:gd name="connsiteY4" fmla="*/ 436890 h 1221798"/>
              <a:gd name="connsiteX5" fmla="*/ 200062 w 2799130"/>
              <a:gd name="connsiteY5" fmla="*/ 10 h 1221798"/>
              <a:gd name="connsiteX0" fmla="*/ 284257 w 2883325"/>
              <a:gd name="connsiteY0" fmla="*/ 9 h 1117609"/>
              <a:gd name="connsiteX1" fmla="*/ 314737 w 2883325"/>
              <a:gd name="connsiteY1" fmla="*/ 426729 h 1117609"/>
              <a:gd name="connsiteX2" fmla="*/ 2682017 w 2883325"/>
              <a:gd name="connsiteY2" fmla="*/ 1117609 h 1117609"/>
              <a:gd name="connsiteX3" fmla="*/ 2702337 w 2883325"/>
              <a:gd name="connsiteY3" fmla="*/ 436889 h 1117609"/>
              <a:gd name="connsiteX4" fmla="*/ 284257 w 2883325"/>
              <a:gd name="connsiteY4" fmla="*/ 9 h 1117609"/>
              <a:gd name="connsiteX0" fmla="*/ 238509 w 2881056"/>
              <a:gd name="connsiteY0" fmla="*/ 2059 h 1121328"/>
              <a:gd name="connsiteX1" fmla="*/ 360429 w 2881056"/>
              <a:gd name="connsiteY1" fmla="*/ 611659 h 1121328"/>
              <a:gd name="connsiteX2" fmla="*/ 2636269 w 2881056"/>
              <a:gd name="connsiteY2" fmla="*/ 1119659 h 1121328"/>
              <a:gd name="connsiteX3" fmla="*/ 2656589 w 2881056"/>
              <a:gd name="connsiteY3" fmla="*/ 438939 h 1121328"/>
              <a:gd name="connsiteX4" fmla="*/ 238509 w 2881056"/>
              <a:gd name="connsiteY4" fmla="*/ 2059 h 1121328"/>
              <a:gd name="connsiteX0" fmla="*/ 327726 w 2970273"/>
              <a:gd name="connsiteY0" fmla="*/ 2059 h 1133120"/>
              <a:gd name="connsiteX1" fmla="*/ 449646 w 2970273"/>
              <a:gd name="connsiteY1" fmla="*/ 611659 h 1133120"/>
              <a:gd name="connsiteX2" fmla="*/ 2725486 w 2970273"/>
              <a:gd name="connsiteY2" fmla="*/ 1119659 h 1133120"/>
              <a:gd name="connsiteX3" fmla="*/ 2745806 w 2970273"/>
              <a:gd name="connsiteY3" fmla="*/ 438939 h 1133120"/>
              <a:gd name="connsiteX4" fmla="*/ 327726 w 2970273"/>
              <a:gd name="connsiteY4" fmla="*/ 2059 h 1133120"/>
              <a:gd name="connsiteX0" fmla="*/ 194853 w 2837400"/>
              <a:gd name="connsiteY0" fmla="*/ 2059 h 1123727"/>
              <a:gd name="connsiteX1" fmla="*/ 316773 w 2837400"/>
              <a:gd name="connsiteY1" fmla="*/ 611659 h 1123727"/>
              <a:gd name="connsiteX2" fmla="*/ 2592613 w 2837400"/>
              <a:gd name="connsiteY2" fmla="*/ 1119659 h 1123727"/>
              <a:gd name="connsiteX3" fmla="*/ 2612933 w 2837400"/>
              <a:gd name="connsiteY3" fmla="*/ 438939 h 1123727"/>
              <a:gd name="connsiteX4" fmla="*/ 194853 w 2837400"/>
              <a:gd name="connsiteY4" fmla="*/ 2059 h 1123727"/>
              <a:gd name="connsiteX0" fmla="*/ 202854 w 2845401"/>
              <a:gd name="connsiteY0" fmla="*/ 2059 h 1123727"/>
              <a:gd name="connsiteX1" fmla="*/ 324774 w 2845401"/>
              <a:gd name="connsiteY1" fmla="*/ 611659 h 1123727"/>
              <a:gd name="connsiteX2" fmla="*/ 2600614 w 2845401"/>
              <a:gd name="connsiteY2" fmla="*/ 1119659 h 1123727"/>
              <a:gd name="connsiteX3" fmla="*/ 2620934 w 2845401"/>
              <a:gd name="connsiteY3" fmla="*/ 438939 h 1123727"/>
              <a:gd name="connsiteX4" fmla="*/ 202854 w 2845401"/>
              <a:gd name="connsiteY4" fmla="*/ 2059 h 1123727"/>
              <a:gd name="connsiteX0" fmla="*/ 2296165 w 2520632"/>
              <a:gd name="connsiteY0" fmla="*/ 25496 h 707616"/>
              <a:gd name="connsiteX1" fmla="*/ 5 w 2520632"/>
              <a:gd name="connsiteY1" fmla="*/ 198216 h 707616"/>
              <a:gd name="connsiteX2" fmla="*/ 2275845 w 2520632"/>
              <a:gd name="connsiteY2" fmla="*/ 706216 h 707616"/>
              <a:gd name="connsiteX3" fmla="*/ 2296165 w 2520632"/>
              <a:gd name="connsiteY3" fmla="*/ 25496 h 707616"/>
              <a:gd name="connsiteX0" fmla="*/ 2296160 w 2296160"/>
              <a:gd name="connsiteY0" fmla="*/ 25496 h 198216"/>
              <a:gd name="connsiteX1" fmla="*/ 0 w 2296160"/>
              <a:gd name="connsiteY1" fmla="*/ 198216 h 198216"/>
              <a:gd name="connsiteX2" fmla="*/ 2296160 w 2296160"/>
              <a:gd name="connsiteY2" fmla="*/ 25496 h 198216"/>
              <a:gd name="connsiteX0" fmla="*/ 2357120 w 2357120"/>
              <a:gd name="connsiteY0" fmla="*/ 271053 h 271053"/>
              <a:gd name="connsiteX1" fmla="*/ 0 w 2357120"/>
              <a:gd name="connsiteY1" fmla="*/ 27213 h 271053"/>
              <a:gd name="connsiteX2" fmla="*/ 2357120 w 2357120"/>
              <a:gd name="connsiteY2" fmla="*/ 271053 h 271053"/>
              <a:gd name="connsiteX0" fmla="*/ 2357120 w 2358001"/>
              <a:gd name="connsiteY0" fmla="*/ 371820 h 579392"/>
              <a:gd name="connsiteX1" fmla="*/ 0 w 2358001"/>
              <a:gd name="connsiteY1" fmla="*/ 127980 h 579392"/>
              <a:gd name="connsiteX2" fmla="*/ 2357120 w 2358001"/>
              <a:gd name="connsiteY2" fmla="*/ 371820 h 579392"/>
              <a:gd name="connsiteX0" fmla="*/ 2357120 w 2357120"/>
              <a:gd name="connsiteY0" fmla="*/ 371820 h 619144"/>
              <a:gd name="connsiteX1" fmla="*/ 0 w 2357120"/>
              <a:gd name="connsiteY1" fmla="*/ 127980 h 619144"/>
              <a:gd name="connsiteX2" fmla="*/ 2357120 w 2357120"/>
              <a:gd name="connsiteY2" fmla="*/ 371820 h 619144"/>
              <a:gd name="connsiteX0" fmla="*/ 2357120 w 2357134"/>
              <a:gd name="connsiteY0" fmla="*/ 450124 h 746287"/>
              <a:gd name="connsiteX1" fmla="*/ 0 w 2357134"/>
              <a:gd name="connsiteY1" fmla="*/ 206284 h 746287"/>
              <a:gd name="connsiteX2" fmla="*/ 2357120 w 2357134"/>
              <a:gd name="connsiteY2" fmla="*/ 450124 h 746287"/>
              <a:gd name="connsiteX0" fmla="*/ 2377440 w 2377454"/>
              <a:gd name="connsiteY0" fmla="*/ 826206 h 1041657"/>
              <a:gd name="connsiteX1" fmla="*/ 0 w 2377454"/>
              <a:gd name="connsiteY1" fmla="*/ 33726 h 1041657"/>
              <a:gd name="connsiteX2" fmla="*/ 2377440 w 2377454"/>
              <a:gd name="connsiteY2" fmla="*/ 826206 h 1041657"/>
              <a:gd name="connsiteX0" fmla="*/ 2378825 w 2378839"/>
              <a:gd name="connsiteY0" fmla="*/ 826206 h 1217072"/>
              <a:gd name="connsiteX1" fmla="*/ 1385 w 2378839"/>
              <a:gd name="connsiteY1" fmla="*/ 33726 h 1217072"/>
              <a:gd name="connsiteX2" fmla="*/ 2378825 w 2378839"/>
              <a:gd name="connsiteY2" fmla="*/ 826206 h 1217072"/>
              <a:gd name="connsiteX0" fmla="*/ 2378825 w 2378840"/>
              <a:gd name="connsiteY0" fmla="*/ 887193 h 1278059"/>
              <a:gd name="connsiteX1" fmla="*/ 1385 w 2378840"/>
              <a:gd name="connsiteY1" fmla="*/ 94713 h 1278059"/>
              <a:gd name="connsiteX2" fmla="*/ 2378825 w 2378840"/>
              <a:gd name="connsiteY2" fmla="*/ 887193 h 1278059"/>
              <a:gd name="connsiteX0" fmla="*/ 2398852 w 2429978"/>
              <a:gd name="connsiteY0" fmla="*/ 891540 h 1282406"/>
              <a:gd name="connsiteX1" fmla="*/ 1291412 w 2429978"/>
              <a:gd name="connsiteY1" fmla="*/ 99059 h 1282406"/>
              <a:gd name="connsiteX2" fmla="*/ 21412 w 2429978"/>
              <a:gd name="connsiteY2" fmla="*/ 99060 h 1282406"/>
              <a:gd name="connsiteX3" fmla="*/ 2398852 w 2429978"/>
              <a:gd name="connsiteY3" fmla="*/ 891540 h 1282406"/>
              <a:gd name="connsiteX0" fmla="*/ 2398498 w 2430212"/>
              <a:gd name="connsiteY0" fmla="*/ 826633 h 1217499"/>
              <a:gd name="connsiteX1" fmla="*/ 1311378 w 2430212"/>
              <a:gd name="connsiteY1" fmla="*/ 318632 h 1217499"/>
              <a:gd name="connsiteX2" fmla="*/ 21058 w 2430212"/>
              <a:gd name="connsiteY2" fmla="*/ 34153 h 1217499"/>
              <a:gd name="connsiteX3" fmla="*/ 2398498 w 2430212"/>
              <a:gd name="connsiteY3" fmla="*/ 826633 h 1217499"/>
              <a:gd name="connsiteX0" fmla="*/ 2398498 w 2459507"/>
              <a:gd name="connsiteY0" fmla="*/ 826633 h 1217499"/>
              <a:gd name="connsiteX1" fmla="*/ 1311378 w 2459507"/>
              <a:gd name="connsiteY1" fmla="*/ 318632 h 1217499"/>
              <a:gd name="connsiteX2" fmla="*/ 21058 w 2459507"/>
              <a:gd name="connsiteY2" fmla="*/ 34153 h 1217499"/>
              <a:gd name="connsiteX3" fmla="*/ 2398498 w 2459507"/>
              <a:gd name="connsiteY3" fmla="*/ 826633 h 1217499"/>
              <a:gd name="connsiteX0" fmla="*/ 2412956 w 2473965"/>
              <a:gd name="connsiteY0" fmla="*/ 892915 h 1283781"/>
              <a:gd name="connsiteX1" fmla="*/ 1325836 w 2473965"/>
              <a:gd name="connsiteY1" fmla="*/ 384914 h 1283781"/>
              <a:gd name="connsiteX2" fmla="*/ 35516 w 2473965"/>
              <a:gd name="connsiteY2" fmla="*/ 100435 h 1283781"/>
              <a:gd name="connsiteX3" fmla="*/ 2412956 w 2473965"/>
              <a:gd name="connsiteY3" fmla="*/ 892915 h 1283781"/>
              <a:gd name="connsiteX0" fmla="*/ 2378826 w 2439835"/>
              <a:gd name="connsiteY0" fmla="*/ 1349583 h 1740449"/>
              <a:gd name="connsiteX1" fmla="*/ 1291706 w 2439835"/>
              <a:gd name="connsiteY1" fmla="*/ 841582 h 1740449"/>
              <a:gd name="connsiteX2" fmla="*/ 1386 w 2439835"/>
              <a:gd name="connsiteY2" fmla="*/ 557103 h 1740449"/>
              <a:gd name="connsiteX3" fmla="*/ 2378826 w 2439835"/>
              <a:gd name="connsiteY3" fmla="*/ 1349583 h 1740449"/>
              <a:gd name="connsiteX0" fmla="*/ 2486619 w 2547628"/>
              <a:gd name="connsiteY0" fmla="*/ 923510 h 1259936"/>
              <a:gd name="connsiteX1" fmla="*/ 1399499 w 2547628"/>
              <a:gd name="connsiteY1" fmla="*/ 415509 h 1259936"/>
              <a:gd name="connsiteX2" fmla="*/ 109179 w 2547628"/>
              <a:gd name="connsiteY2" fmla="*/ 131030 h 1259936"/>
              <a:gd name="connsiteX3" fmla="*/ 2486619 w 2547628"/>
              <a:gd name="connsiteY3" fmla="*/ 923510 h 1259936"/>
              <a:gd name="connsiteX0" fmla="*/ 2486619 w 2544182"/>
              <a:gd name="connsiteY0" fmla="*/ 923510 h 1259936"/>
              <a:gd name="connsiteX1" fmla="*/ 1399499 w 2544182"/>
              <a:gd name="connsiteY1" fmla="*/ 415509 h 1259936"/>
              <a:gd name="connsiteX2" fmla="*/ 109179 w 2544182"/>
              <a:gd name="connsiteY2" fmla="*/ 131030 h 1259936"/>
              <a:gd name="connsiteX3" fmla="*/ 2486619 w 2544182"/>
              <a:gd name="connsiteY3" fmla="*/ 923510 h 1259936"/>
              <a:gd name="connsiteX0" fmla="*/ 2486619 w 2528385"/>
              <a:gd name="connsiteY0" fmla="*/ 848745 h 1185171"/>
              <a:gd name="connsiteX1" fmla="*/ 1399499 w 2528385"/>
              <a:gd name="connsiteY1" fmla="*/ 340744 h 1185171"/>
              <a:gd name="connsiteX2" fmla="*/ 109179 w 2528385"/>
              <a:gd name="connsiteY2" fmla="*/ 56265 h 1185171"/>
              <a:gd name="connsiteX3" fmla="*/ 2486619 w 2528385"/>
              <a:gd name="connsiteY3" fmla="*/ 848745 h 1185171"/>
              <a:gd name="connsiteX0" fmla="*/ 2486619 w 2486619"/>
              <a:gd name="connsiteY0" fmla="*/ 848745 h 1185171"/>
              <a:gd name="connsiteX1" fmla="*/ 1399499 w 2486619"/>
              <a:gd name="connsiteY1" fmla="*/ 340744 h 1185171"/>
              <a:gd name="connsiteX2" fmla="*/ 109179 w 2486619"/>
              <a:gd name="connsiteY2" fmla="*/ 56265 h 1185171"/>
              <a:gd name="connsiteX3" fmla="*/ 2486619 w 2486619"/>
              <a:gd name="connsiteY3" fmla="*/ 848745 h 1185171"/>
              <a:gd name="connsiteX0" fmla="*/ 2486372 w 2486372"/>
              <a:gd name="connsiteY0" fmla="*/ 848745 h 1138682"/>
              <a:gd name="connsiteX1" fmla="*/ 1399252 w 2486372"/>
              <a:gd name="connsiteY1" fmla="*/ 340744 h 1138682"/>
              <a:gd name="connsiteX2" fmla="*/ 108932 w 2486372"/>
              <a:gd name="connsiteY2" fmla="*/ 56265 h 1138682"/>
              <a:gd name="connsiteX3" fmla="*/ 2486372 w 2486372"/>
              <a:gd name="connsiteY3" fmla="*/ 848745 h 1138682"/>
              <a:gd name="connsiteX0" fmla="*/ 2487570 w 2489888"/>
              <a:gd name="connsiteY0" fmla="*/ 848745 h 1179170"/>
              <a:gd name="connsiteX1" fmla="*/ 1400450 w 2489888"/>
              <a:gd name="connsiteY1" fmla="*/ 340744 h 1179170"/>
              <a:gd name="connsiteX2" fmla="*/ 110130 w 2489888"/>
              <a:gd name="connsiteY2" fmla="*/ 56265 h 1179170"/>
              <a:gd name="connsiteX3" fmla="*/ 2487570 w 2489888"/>
              <a:gd name="connsiteY3" fmla="*/ 848745 h 1179170"/>
              <a:gd name="connsiteX0" fmla="*/ 2527425 w 2529743"/>
              <a:gd name="connsiteY0" fmla="*/ 860498 h 1164402"/>
              <a:gd name="connsiteX1" fmla="*/ 1440305 w 2529743"/>
              <a:gd name="connsiteY1" fmla="*/ 352497 h 1164402"/>
              <a:gd name="connsiteX2" fmla="*/ 149985 w 2529743"/>
              <a:gd name="connsiteY2" fmla="*/ 68018 h 1164402"/>
              <a:gd name="connsiteX3" fmla="*/ 2527425 w 2529743"/>
              <a:gd name="connsiteY3" fmla="*/ 860498 h 1164402"/>
              <a:gd name="connsiteX0" fmla="*/ 2448504 w 2450822"/>
              <a:gd name="connsiteY0" fmla="*/ 871730 h 1150159"/>
              <a:gd name="connsiteX1" fmla="*/ 1361384 w 2450822"/>
              <a:gd name="connsiteY1" fmla="*/ 363729 h 1150159"/>
              <a:gd name="connsiteX2" fmla="*/ 71064 w 2450822"/>
              <a:gd name="connsiteY2" fmla="*/ 79250 h 1150159"/>
              <a:gd name="connsiteX3" fmla="*/ 2448504 w 2450822"/>
              <a:gd name="connsiteY3" fmla="*/ 871730 h 1150159"/>
              <a:gd name="connsiteX0" fmla="*/ 2462267 w 2464585"/>
              <a:gd name="connsiteY0" fmla="*/ 871730 h 1170270"/>
              <a:gd name="connsiteX1" fmla="*/ 1375147 w 2464585"/>
              <a:gd name="connsiteY1" fmla="*/ 363729 h 1170270"/>
              <a:gd name="connsiteX2" fmla="*/ 84827 w 2464585"/>
              <a:gd name="connsiteY2" fmla="*/ 79250 h 1170270"/>
              <a:gd name="connsiteX3" fmla="*/ 2462267 w 2464585"/>
              <a:gd name="connsiteY3" fmla="*/ 871730 h 1170270"/>
              <a:gd name="connsiteX0" fmla="*/ 2462267 w 2464585"/>
              <a:gd name="connsiteY0" fmla="*/ 883965 h 1182505"/>
              <a:gd name="connsiteX1" fmla="*/ 1375147 w 2464585"/>
              <a:gd name="connsiteY1" fmla="*/ 375964 h 1182505"/>
              <a:gd name="connsiteX2" fmla="*/ 84827 w 2464585"/>
              <a:gd name="connsiteY2" fmla="*/ 91485 h 1182505"/>
              <a:gd name="connsiteX3" fmla="*/ 2462267 w 2464585"/>
              <a:gd name="connsiteY3" fmla="*/ 883965 h 1182505"/>
              <a:gd name="connsiteX0" fmla="*/ 2219103 w 2240769"/>
              <a:gd name="connsiteY0" fmla="*/ 769076 h 770033"/>
              <a:gd name="connsiteX1" fmla="*/ 1131983 w 2240769"/>
              <a:gd name="connsiteY1" fmla="*/ 261075 h 770033"/>
              <a:gd name="connsiteX2" fmla="*/ 95663 w 2240769"/>
              <a:gd name="connsiteY2" fmla="*/ 118836 h 770033"/>
              <a:gd name="connsiteX3" fmla="*/ 2219103 w 2240769"/>
              <a:gd name="connsiteY3" fmla="*/ 769076 h 770033"/>
              <a:gd name="connsiteX0" fmla="*/ 2436994 w 2468146"/>
              <a:gd name="connsiteY0" fmla="*/ 828649 h 830762"/>
              <a:gd name="connsiteX1" fmla="*/ 1349874 w 2468146"/>
              <a:gd name="connsiteY1" fmla="*/ 320648 h 830762"/>
              <a:gd name="connsiteX2" fmla="*/ 90034 w 2468146"/>
              <a:gd name="connsiteY2" fmla="*/ 107289 h 830762"/>
              <a:gd name="connsiteX3" fmla="*/ 2436994 w 2468146"/>
              <a:gd name="connsiteY3" fmla="*/ 828649 h 830762"/>
              <a:gd name="connsiteX0" fmla="*/ 2438397 w 2469549"/>
              <a:gd name="connsiteY0" fmla="*/ 828649 h 1148499"/>
              <a:gd name="connsiteX1" fmla="*/ 1351277 w 2469549"/>
              <a:gd name="connsiteY1" fmla="*/ 320648 h 1148499"/>
              <a:gd name="connsiteX2" fmla="*/ 91437 w 2469549"/>
              <a:gd name="connsiteY2" fmla="*/ 107289 h 1148499"/>
              <a:gd name="connsiteX3" fmla="*/ 2438397 w 2469549"/>
              <a:gd name="connsiteY3" fmla="*/ 828649 h 1148499"/>
              <a:gd name="connsiteX0" fmla="*/ 2438397 w 2439137"/>
              <a:gd name="connsiteY0" fmla="*/ 828649 h 1148499"/>
              <a:gd name="connsiteX1" fmla="*/ 1351277 w 2439137"/>
              <a:gd name="connsiteY1" fmla="*/ 320648 h 1148499"/>
              <a:gd name="connsiteX2" fmla="*/ 91437 w 2439137"/>
              <a:gd name="connsiteY2" fmla="*/ 107289 h 1148499"/>
              <a:gd name="connsiteX3" fmla="*/ 2438397 w 2439137"/>
              <a:gd name="connsiteY3" fmla="*/ 828649 h 1148499"/>
              <a:gd name="connsiteX0" fmla="*/ 2438397 w 2441516"/>
              <a:gd name="connsiteY0" fmla="*/ 828649 h 1148499"/>
              <a:gd name="connsiteX1" fmla="*/ 1351277 w 2441516"/>
              <a:gd name="connsiteY1" fmla="*/ 320648 h 1148499"/>
              <a:gd name="connsiteX2" fmla="*/ 91437 w 2441516"/>
              <a:gd name="connsiteY2" fmla="*/ 107289 h 1148499"/>
              <a:gd name="connsiteX3" fmla="*/ 2438397 w 2441516"/>
              <a:gd name="connsiteY3" fmla="*/ 828649 h 1148499"/>
              <a:gd name="connsiteX0" fmla="*/ 2435099 w 2438218"/>
              <a:gd name="connsiteY0" fmla="*/ 828649 h 1158087"/>
              <a:gd name="connsiteX1" fmla="*/ 1347979 w 2438218"/>
              <a:gd name="connsiteY1" fmla="*/ 320648 h 1158087"/>
              <a:gd name="connsiteX2" fmla="*/ 88139 w 2438218"/>
              <a:gd name="connsiteY2" fmla="*/ 107289 h 1158087"/>
              <a:gd name="connsiteX3" fmla="*/ 2435099 w 2438218"/>
              <a:gd name="connsiteY3" fmla="*/ 828649 h 1158087"/>
              <a:gd name="connsiteX0" fmla="*/ 2435099 w 2438218"/>
              <a:gd name="connsiteY0" fmla="*/ 853658 h 1183096"/>
              <a:gd name="connsiteX1" fmla="*/ 1347979 w 2438218"/>
              <a:gd name="connsiteY1" fmla="*/ 345657 h 1183096"/>
              <a:gd name="connsiteX2" fmla="*/ 88139 w 2438218"/>
              <a:gd name="connsiteY2" fmla="*/ 132298 h 1183096"/>
              <a:gd name="connsiteX3" fmla="*/ 2435099 w 2438218"/>
              <a:gd name="connsiteY3" fmla="*/ 853658 h 1183096"/>
              <a:gd name="connsiteX0" fmla="*/ 2435099 w 2438218"/>
              <a:gd name="connsiteY0" fmla="*/ 843795 h 1173233"/>
              <a:gd name="connsiteX1" fmla="*/ 1347979 w 2438218"/>
              <a:gd name="connsiteY1" fmla="*/ 393794 h 1173233"/>
              <a:gd name="connsiteX2" fmla="*/ 88139 w 2438218"/>
              <a:gd name="connsiteY2" fmla="*/ 122435 h 1173233"/>
              <a:gd name="connsiteX3" fmla="*/ 2435099 w 2438218"/>
              <a:gd name="connsiteY3" fmla="*/ 843795 h 1173233"/>
              <a:gd name="connsiteX0" fmla="*/ 2435099 w 2438189"/>
              <a:gd name="connsiteY0" fmla="*/ 841547 h 1170985"/>
              <a:gd name="connsiteX1" fmla="*/ 1340359 w 2438189"/>
              <a:gd name="connsiteY1" fmla="*/ 406046 h 1170985"/>
              <a:gd name="connsiteX2" fmla="*/ 88139 w 2438189"/>
              <a:gd name="connsiteY2" fmla="*/ 120187 h 1170985"/>
              <a:gd name="connsiteX3" fmla="*/ 2435099 w 2438189"/>
              <a:gd name="connsiteY3" fmla="*/ 841547 h 1170985"/>
            </a:gdLst>
            <a:ahLst/>
            <a:cxnLst>
              <a:cxn ang="0">
                <a:pos x="connsiteX0" y="connsiteY0"/>
              </a:cxn>
              <a:cxn ang="0">
                <a:pos x="connsiteX1" y="connsiteY1"/>
              </a:cxn>
              <a:cxn ang="0">
                <a:pos x="connsiteX2" y="connsiteY2"/>
              </a:cxn>
              <a:cxn ang="0">
                <a:pos x="connsiteX3" y="connsiteY3"/>
              </a:cxn>
            </a:cxnLst>
            <a:rect l="l" t="t" r="r" b="b"/>
            <a:pathLst>
              <a:path w="2438189" h="1170985">
                <a:moveTo>
                  <a:pt x="2435099" y="841547"/>
                </a:moveTo>
                <a:cubicBezTo>
                  <a:pt x="2492672" y="250047"/>
                  <a:pt x="1731519" y="526273"/>
                  <a:pt x="1340359" y="406046"/>
                </a:cubicBezTo>
                <a:cubicBezTo>
                  <a:pt x="949199" y="285819"/>
                  <a:pt x="437108" y="-230449"/>
                  <a:pt x="88139" y="120187"/>
                </a:cubicBezTo>
                <a:cubicBezTo>
                  <a:pt x="-529470" y="870760"/>
                  <a:pt x="2296246" y="1620218"/>
                  <a:pt x="2435099" y="841547"/>
                </a:cubicBezTo>
                <a:close/>
              </a:path>
            </a:pathLst>
          </a:custGeom>
          <a:pattFill prst="ltUpDiag">
            <a:fgClr>
              <a:schemeClr val="bg1"/>
            </a:fgClr>
            <a:bgClr>
              <a:schemeClr val="bg2"/>
            </a:bgClr>
          </a:patt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a:extLst>
              <a:ext uri="{FF2B5EF4-FFF2-40B4-BE49-F238E27FC236}">
                <a16:creationId xmlns:a16="http://schemas.microsoft.com/office/drawing/2014/main" id="{9509B574-37E9-4BBC-BBEC-7256306A3B09}"/>
              </a:ext>
            </a:extLst>
          </p:cNvPr>
          <p:cNvSpPr>
            <a:spLocks noGrp="1"/>
          </p:cNvSpPr>
          <p:nvPr>
            <p:ph type="title"/>
          </p:nvPr>
        </p:nvSpPr>
        <p:spPr>
          <a:xfrm>
            <a:off x="511175" y="303718"/>
            <a:ext cx="11164215" cy="536128"/>
          </a:xfrm>
        </p:spPr>
        <p:txBody>
          <a:bodyPr>
            <a:normAutofit/>
          </a:bodyPr>
          <a:lstStyle/>
          <a:p>
            <a:r>
              <a:rPr lang="ru-RU" sz="2800"/>
              <a:t>Трансформация и корпоративная культура</a:t>
            </a:r>
          </a:p>
        </p:txBody>
      </p:sp>
      <p:sp>
        <p:nvSpPr>
          <p:cNvPr id="3" name="Текст 2">
            <a:extLst>
              <a:ext uri="{FF2B5EF4-FFF2-40B4-BE49-F238E27FC236}">
                <a16:creationId xmlns:a16="http://schemas.microsoft.com/office/drawing/2014/main" id="{BEFB4204-6BDE-4E63-8D96-4FDCA9933AC5}"/>
              </a:ext>
            </a:extLst>
          </p:cNvPr>
          <p:cNvSpPr>
            <a:spLocks noGrp="1"/>
          </p:cNvSpPr>
          <p:nvPr>
            <p:ph type="body" sz="quarter" idx="11"/>
          </p:nvPr>
        </p:nvSpPr>
        <p:spPr/>
        <p:txBody>
          <a:bodyPr/>
          <a:lstStyle/>
          <a:p>
            <a:endParaRPr lang="ru-RU"/>
          </a:p>
        </p:txBody>
      </p:sp>
      <p:pic>
        <p:nvPicPr>
          <p:cNvPr id="7170" name="Picture 2" descr="Рис. 1. Управленческие подходы и спиральная динамика">
            <a:extLst>
              <a:ext uri="{FF2B5EF4-FFF2-40B4-BE49-F238E27FC236}">
                <a16:creationId xmlns:a16="http://schemas.microsoft.com/office/drawing/2014/main" id="{55861022-1EF1-459E-A049-1352153099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72812" y="1739669"/>
            <a:ext cx="7461589" cy="5073881"/>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a:extLst>
              <a:ext uri="{FF2B5EF4-FFF2-40B4-BE49-F238E27FC236}">
                <a16:creationId xmlns:a16="http://schemas.microsoft.com/office/drawing/2014/main" id="{DB27EA98-80FC-46EF-B902-A8AAB6E15CE8}"/>
              </a:ext>
            </a:extLst>
          </p:cNvPr>
          <p:cNvSpPr/>
          <p:nvPr/>
        </p:nvSpPr>
        <p:spPr>
          <a:xfrm>
            <a:off x="8256588" y="1097281"/>
            <a:ext cx="3419475" cy="5211444"/>
          </a:xfrm>
          <a:prstGeom prst="rect">
            <a:avLst/>
          </a:prstGeom>
          <a:solidFill>
            <a:srgbClr val="FFFFFF"/>
          </a:solidFill>
          <a:ln w="6350" cap="flat" cmpd="sng" algn="ctr">
            <a:gradFill flip="none" rotWithShape="1">
              <a:gsLst>
                <a:gs pos="100000">
                  <a:schemeClr val="accent6">
                    <a:lumMod val="40000"/>
                    <a:lumOff val="60000"/>
                    <a:alpha val="0"/>
                  </a:schemeClr>
                </a:gs>
                <a:gs pos="58000">
                  <a:schemeClr val="accent6">
                    <a:lumMod val="40000"/>
                    <a:lumOff val="60000"/>
                  </a:schemeClr>
                </a:gs>
              </a:gsLst>
              <a:lin ang="0" scaled="1"/>
              <a:tileRect/>
            </a:gradFill>
            <a:prstDash val="solid"/>
            <a:miter lim="800000"/>
          </a:ln>
          <a:effectLst>
            <a:outerShdw blurRad="114300" dist="63500" dir="2700000" algn="ctr" rotWithShape="0">
              <a:srgbClr val="000000">
                <a:alpha val="8000"/>
              </a:srgbClr>
            </a:outerShdw>
          </a:effectLst>
        </p:spPr>
        <p:txBody>
          <a:bodyPr lIns="288000" tIns="1404000" rIns="252000" rtlCol="0" anchor="t"/>
          <a:lstStyle/>
          <a:p>
            <a:pPr algn="l"/>
            <a:r>
              <a:rPr lang="ru-RU" b="0" i="0">
                <a:effectLst/>
              </a:rPr>
              <a:t>Вы</a:t>
            </a:r>
            <a:r>
              <a:rPr lang="ru-RU" b="0" i="0">
                <a:solidFill>
                  <a:srgbClr val="000000"/>
                </a:solidFill>
                <a:effectLst/>
              </a:rPr>
              <a:t> </a:t>
            </a:r>
            <a:r>
              <a:rPr lang="ru-RU" b="0" i="0">
                <a:solidFill>
                  <a:schemeClr val="accent4"/>
                </a:solidFill>
                <a:effectLst/>
                <a:latin typeface="+mj-lt"/>
              </a:rPr>
              <a:t>не можете </a:t>
            </a:r>
            <a:br>
              <a:rPr lang="ru-RU" b="0" i="0">
                <a:solidFill>
                  <a:srgbClr val="000000"/>
                </a:solidFill>
                <a:effectLst/>
              </a:rPr>
            </a:br>
            <a:r>
              <a:rPr lang="ru-RU" b="0" i="0">
                <a:effectLst/>
              </a:rPr>
              <a:t>приступить к внедрению приглянувшегося вам управленческого подхода </a:t>
            </a:r>
            <a:r>
              <a:rPr lang="ru-RU" b="0" i="0">
                <a:solidFill>
                  <a:schemeClr val="tx1">
                    <a:alpha val="60000"/>
                  </a:schemeClr>
                </a:solidFill>
                <a:effectLst/>
              </a:rPr>
              <a:t>(например, кайдзен), </a:t>
            </a:r>
            <a:br>
              <a:rPr lang="ru-RU" b="0" i="0">
                <a:solidFill>
                  <a:schemeClr val="tx1">
                    <a:alpha val="60000"/>
                  </a:schemeClr>
                </a:solidFill>
                <a:effectLst/>
              </a:rPr>
            </a:br>
            <a:r>
              <a:rPr lang="ru-RU" b="0" i="0">
                <a:effectLst/>
              </a:rPr>
              <a:t>если компания находится </a:t>
            </a:r>
            <a:br>
              <a:rPr lang="ru-RU" b="0" i="0">
                <a:effectLst/>
              </a:rPr>
            </a:br>
            <a:r>
              <a:rPr lang="ru-RU" b="0" i="0">
                <a:effectLst/>
              </a:rPr>
              <a:t>от него </a:t>
            </a:r>
            <a:r>
              <a:rPr lang="ru-RU" b="0" i="0">
                <a:solidFill>
                  <a:schemeClr val="accent4"/>
                </a:solidFill>
                <a:effectLst/>
                <a:latin typeface="+mj-lt"/>
              </a:rPr>
              <a:t>в нескольких ступенях </a:t>
            </a:r>
            <a:r>
              <a:rPr lang="ru-RU" b="0" i="0">
                <a:effectLst/>
              </a:rPr>
              <a:t>по спиральной динамике </a:t>
            </a:r>
            <a:r>
              <a:rPr lang="ru-RU" b="0" i="0">
                <a:solidFill>
                  <a:schemeClr val="tx1">
                    <a:alpha val="60000"/>
                  </a:schemeClr>
                </a:solidFill>
                <a:effectLst/>
              </a:rPr>
              <a:t>(например, </a:t>
            </a:r>
            <a:br>
              <a:rPr lang="ru-RU" b="0" i="0">
                <a:solidFill>
                  <a:schemeClr val="tx1">
                    <a:alpha val="60000"/>
                  </a:schemeClr>
                </a:solidFill>
                <a:effectLst/>
              </a:rPr>
            </a:br>
            <a:r>
              <a:rPr lang="ru-RU" b="0" i="0">
                <a:solidFill>
                  <a:schemeClr val="tx1">
                    <a:alpha val="60000"/>
                  </a:schemeClr>
                </a:solidFill>
                <a:effectLst/>
              </a:rPr>
              <a:t>в культуре силы).</a:t>
            </a:r>
          </a:p>
        </p:txBody>
      </p:sp>
      <p:grpSp>
        <p:nvGrpSpPr>
          <p:cNvPr id="7" name="Группа 6">
            <a:extLst>
              <a:ext uri="{FF2B5EF4-FFF2-40B4-BE49-F238E27FC236}">
                <a16:creationId xmlns:a16="http://schemas.microsoft.com/office/drawing/2014/main" id="{F5473F7F-402F-4D2E-BD9A-BB6B7CC5F26E}"/>
              </a:ext>
            </a:extLst>
          </p:cNvPr>
          <p:cNvGrpSpPr/>
          <p:nvPr/>
        </p:nvGrpSpPr>
        <p:grpSpPr>
          <a:xfrm>
            <a:off x="8559327" y="1483363"/>
            <a:ext cx="636475" cy="636134"/>
            <a:chOff x="8300260" y="1873957"/>
            <a:chExt cx="523653" cy="523373"/>
          </a:xfrm>
          <a:solidFill>
            <a:schemeClr val="accent4"/>
          </a:solidFill>
        </p:grpSpPr>
        <p:sp>
          <p:nvSpPr>
            <p:cNvPr id="8" name="Полилиния: фигура 7">
              <a:extLst>
                <a:ext uri="{FF2B5EF4-FFF2-40B4-BE49-F238E27FC236}">
                  <a16:creationId xmlns:a16="http://schemas.microsoft.com/office/drawing/2014/main" id="{F2E6D7E2-A956-487C-B444-8F86136468C1}"/>
                </a:ext>
              </a:extLst>
            </p:cNvPr>
            <p:cNvSpPr/>
            <p:nvPr/>
          </p:nvSpPr>
          <p:spPr>
            <a:xfrm>
              <a:off x="8412003" y="1884573"/>
              <a:ext cx="102942" cy="103082"/>
            </a:xfrm>
            <a:custGeom>
              <a:avLst/>
              <a:gdLst>
                <a:gd name="connsiteX0" fmla="*/ 51541 w 102942"/>
                <a:gd name="connsiteY0" fmla="*/ 103082 h 103082"/>
                <a:gd name="connsiteX1" fmla="*/ 0 w 102942"/>
                <a:gd name="connsiteY1" fmla="*/ 51541 h 103082"/>
                <a:gd name="connsiteX2" fmla="*/ 51541 w 102942"/>
                <a:gd name="connsiteY2" fmla="*/ 0 h 103082"/>
                <a:gd name="connsiteX3" fmla="*/ 102943 w 102942"/>
                <a:gd name="connsiteY3" fmla="*/ 51541 h 103082"/>
                <a:gd name="connsiteX4" fmla="*/ 51541 w 102942"/>
                <a:gd name="connsiteY4" fmla="*/ 103082 h 103082"/>
                <a:gd name="connsiteX5" fmla="*/ 51541 w 102942"/>
                <a:gd name="connsiteY5" fmla="*/ 14387 h 103082"/>
                <a:gd name="connsiteX6" fmla="*/ 14387 w 102942"/>
                <a:gd name="connsiteY6" fmla="*/ 51541 h 103082"/>
                <a:gd name="connsiteX7" fmla="*/ 51541 w 102942"/>
                <a:gd name="connsiteY7" fmla="*/ 88696 h 103082"/>
                <a:gd name="connsiteX8" fmla="*/ 88696 w 102942"/>
                <a:gd name="connsiteY8" fmla="*/ 51541 h 103082"/>
                <a:gd name="connsiteX9" fmla="*/ 51541 w 102942"/>
                <a:gd name="connsiteY9" fmla="*/ 14387 h 10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42" h="103082">
                  <a:moveTo>
                    <a:pt x="51541" y="103082"/>
                  </a:moveTo>
                  <a:cubicBezTo>
                    <a:pt x="23187" y="103082"/>
                    <a:pt x="0" y="80036"/>
                    <a:pt x="0" y="51541"/>
                  </a:cubicBezTo>
                  <a:cubicBezTo>
                    <a:pt x="0" y="23047"/>
                    <a:pt x="23047" y="0"/>
                    <a:pt x="51541" y="0"/>
                  </a:cubicBezTo>
                  <a:cubicBezTo>
                    <a:pt x="79896" y="0"/>
                    <a:pt x="102943" y="23047"/>
                    <a:pt x="102943" y="51541"/>
                  </a:cubicBezTo>
                  <a:cubicBezTo>
                    <a:pt x="102943" y="80036"/>
                    <a:pt x="80035" y="103082"/>
                    <a:pt x="51541" y="103082"/>
                  </a:cubicBezTo>
                  <a:close/>
                  <a:moveTo>
                    <a:pt x="51541" y="14387"/>
                  </a:moveTo>
                  <a:cubicBezTo>
                    <a:pt x="31009" y="14387"/>
                    <a:pt x="14387" y="31009"/>
                    <a:pt x="14387" y="51541"/>
                  </a:cubicBezTo>
                  <a:cubicBezTo>
                    <a:pt x="14387" y="72074"/>
                    <a:pt x="31009" y="88696"/>
                    <a:pt x="51541" y="88696"/>
                  </a:cubicBezTo>
                  <a:cubicBezTo>
                    <a:pt x="72074" y="88696"/>
                    <a:pt x="88696" y="72074"/>
                    <a:pt x="88696" y="51541"/>
                  </a:cubicBezTo>
                  <a:cubicBezTo>
                    <a:pt x="88696" y="31009"/>
                    <a:pt x="72074" y="14387"/>
                    <a:pt x="51541" y="14387"/>
                  </a:cubicBezTo>
                  <a:close/>
                </a:path>
              </a:pathLst>
            </a:custGeom>
            <a:grpFill/>
            <a:ln w="13961" cap="flat">
              <a:noFill/>
              <a:prstDash val="solid"/>
              <a:miter/>
            </a:ln>
          </p:spPr>
          <p:txBody>
            <a:bodyPr rtlCol="0" anchor="ctr"/>
            <a:lstStyle/>
            <a:p>
              <a:endParaRPr lang="ru-RU"/>
            </a:p>
          </p:txBody>
        </p:sp>
        <p:sp>
          <p:nvSpPr>
            <p:cNvPr id="9" name="Полилиния: фигура 8">
              <a:extLst>
                <a:ext uri="{FF2B5EF4-FFF2-40B4-BE49-F238E27FC236}">
                  <a16:creationId xmlns:a16="http://schemas.microsoft.com/office/drawing/2014/main" id="{F181FE58-85EB-4FB3-9688-DE6E8E0B6BAA}"/>
                </a:ext>
              </a:extLst>
            </p:cNvPr>
            <p:cNvSpPr/>
            <p:nvPr/>
          </p:nvSpPr>
          <p:spPr>
            <a:xfrm>
              <a:off x="8488826" y="1873957"/>
              <a:ext cx="335087" cy="523373"/>
            </a:xfrm>
            <a:custGeom>
              <a:avLst/>
              <a:gdLst>
                <a:gd name="connsiteX0" fmla="*/ 7124 w 335087"/>
                <a:gd name="connsiteY0" fmla="*/ 523374 h 523373"/>
                <a:gd name="connsiteX1" fmla="*/ 0 w 335087"/>
                <a:gd name="connsiteY1" fmla="*/ 516250 h 523373"/>
                <a:gd name="connsiteX2" fmla="*/ 0 w 335087"/>
                <a:gd name="connsiteY2" fmla="*/ 460938 h 523373"/>
                <a:gd name="connsiteX3" fmla="*/ 7124 w 335087"/>
                <a:gd name="connsiteY3" fmla="*/ 453814 h 523373"/>
                <a:gd name="connsiteX4" fmla="*/ 110625 w 335087"/>
                <a:gd name="connsiteY4" fmla="*/ 453814 h 523373"/>
                <a:gd name="connsiteX5" fmla="*/ 110625 w 335087"/>
                <a:gd name="connsiteY5" fmla="*/ 339138 h 523373"/>
                <a:gd name="connsiteX6" fmla="*/ 117749 w 335087"/>
                <a:gd name="connsiteY6" fmla="*/ 332015 h 523373"/>
                <a:gd name="connsiteX7" fmla="*/ 221251 w 335087"/>
                <a:gd name="connsiteY7" fmla="*/ 332015 h 523373"/>
                <a:gd name="connsiteX8" fmla="*/ 221251 w 335087"/>
                <a:gd name="connsiteY8" fmla="*/ 217339 h 523373"/>
                <a:gd name="connsiteX9" fmla="*/ 228374 w 335087"/>
                <a:gd name="connsiteY9" fmla="*/ 210216 h 523373"/>
                <a:gd name="connsiteX10" fmla="*/ 276563 w 335087"/>
                <a:gd name="connsiteY10" fmla="*/ 210216 h 523373"/>
                <a:gd name="connsiteX11" fmla="*/ 276563 w 335087"/>
                <a:gd name="connsiteY11" fmla="*/ 107273 h 523373"/>
                <a:gd name="connsiteX12" fmla="*/ 251840 w 335087"/>
                <a:gd name="connsiteY12" fmla="*/ 97076 h 523373"/>
                <a:gd name="connsiteX13" fmla="*/ 220412 w 335087"/>
                <a:gd name="connsiteY13" fmla="*/ 105736 h 523373"/>
                <a:gd name="connsiteX14" fmla="*/ 176693 w 335087"/>
                <a:gd name="connsiteY14" fmla="*/ 116911 h 523373"/>
                <a:gd name="connsiteX15" fmla="*/ 147920 w 335087"/>
                <a:gd name="connsiteY15" fmla="*/ 110625 h 523373"/>
                <a:gd name="connsiteX16" fmla="*/ 143728 w 335087"/>
                <a:gd name="connsiteY16" fmla="*/ 105317 h 523373"/>
                <a:gd name="connsiteX17" fmla="*/ 145964 w 335087"/>
                <a:gd name="connsiteY17" fmla="*/ 98892 h 523373"/>
                <a:gd name="connsiteX18" fmla="*/ 169150 w 335087"/>
                <a:gd name="connsiteY18" fmla="*/ 67045 h 523373"/>
                <a:gd name="connsiteX19" fmla="*/ 145964 w 335087"/>
                <a:gd name="connsiteY19" fmla="*/ 34500 h 523373"/>
                <a:gd name="connsiteX20" fmla="*/ 144706 w 335087"/>
                <a:gd name="connsiteY20" fmla="*/ 25561 h 523373"/>
                <a:gd name="connsiteX21" fmla="*/ 150852 w 335087"/>
                <a:gd name="connsiteY21" fmla="*/ 22069 h 523373"/>
                <a:gd name="connsiteX22" fmla="*/ 153088 w 335087"/>
                <a:gd name="connsiteY22" fmla="*/ 22488 h 523373"/>
                <a:gd name="connsiteX23" fmla="*/ 178928 w 335087"/>
                <a:gd name="connsiteY23" fmla="*/ 26958 h 523373"/>
                <a:gd name="connsiteX24" fmla="*/ 219993 w 335087"/>
                <a:gd name="connsiteY24" fmla="*/ 16482 h 523373"/>
                <a:gd name="connsiteX25" fmla="*/ 252678 w 335087"/>
                <a:gd name="connsiteY25" fmla="*/ 7682 h 523373"/>
                <a:gd name="connsiteX26" fmla="*/ 276563 w 335087"/>
                <a:gd name="connsiteY26" fmla="*/ 14666 h 523373"/>
                <a:gd name="connsiteX27" fmla="*/ 276563 w 335087"/>
                <a:gd name="connsiteY27" fmla="*/ 7124 h 523373"/>
                <a:gd name="connsiteX28" fmla="*/ 283686 w 335087"/>
                <a:gd name="connsiteY28" fmla="*/ 0 h 523373"/>
                <a:gd name="connsiteX29" fmla="*/ 290810 w 335087"/>
                <a:gd name="connsiteY29" fmla="*/ 7124 h 523373"/>
                <a:gd name="connsiteX30" fmla="*/ 290810 w 335087"/>
                <a:gd name="connsiteY30" fmla="*/ 210355 h 523373"/>
                <a:gd name="connsiteX31" fmla="*/ 327964 w 335087"/>
                <a:gd name="connsiteY31" fmla="*/ 210355 h 523373"/>
                <a:gd name="connsiteX32" fmla="*/ 335088 w 335087"/>
                <a:gd name="connsiteY32" fmla="*/ 217479 h 523373"/>
                <a:gd name="connsiteX33" fmla="*/ 327964 w 335087"/>
                <a:gd name="connsiteY33" fmla="*/ 224602 h 523373"/>
                <a:gd name="connsiteX34" fmla="*/ 235497 w 335087"/>
                <a:gd name="connsiteY34" fmla="*/ 224602 h 523373"/>
                <a:gd name="connsiteX35" fmla="*/ 235497 w 335087"/>
                <a:gd name="connsiteY35" fmla="*/ 339278 h 523373"/>
                <a:gd name="connsiteX36" fmla="*/ 228374 w 335087"/>
                <a:gd name="connsiteY36" fmla="*/ 346402 h 523373"/>
                <a:gd name="connsiteX37" fmla="*/ 124872 w 335087"/>
                <a:gd name="connsiteY37" fmla="*/ 346402 h 523373"/>
                <a:gd name="connsiteX38" fmla="*/ 124872 w 335087"/>
                <a:gd name="connsiteY38" fmla="*/ 461077 h 523373"/>
                <a:gd name="connsiteX39" fmla="*/ 117749 w 335087"/>
                <a:gd name="connsiteY39" fmla="*/ 468201 h 523373"/>
                <a:gd name="connsiteX40" fmla="*/ 14247 w 335087"/>
                <a:gd name="connsiteY40" fmla="*/ 468201 h 523373"/>
                <a:gd name="connsiteX41" fmla="*/ 14247 w 335087"/>
                <a:gd name="connsiteY41" fmla="*/ 516390 h 523373"/>
                <a:gd name="connsiteX42" fmla="*/ 7124 w 335087"/>
                <a:gd name="connsiteY42" fmla="*/ 523374 h 523373"/>
                <a:gd name="connsiteX43" fmla="*/ 169988 w 335087"/>
                <a:gd name="connsiteY43" fmla="*/ 40507 h 523373"/>
                <a:gd name="connsiteX44" fmla="*/ 184096 w 335087"/>
                <a:gd name="connsiteY44" fmla="*/ 63554 h 523373"/>
                <a:gd name="connsiteX45" fmla="*/ 184096 w 335087"/>
                <a:gd name="connsiteY45" fmla="*/ 70258 h 523373"/>
                <a:gd name="connsiteX46" fmla="*/ 163842 w 335087"/>
                <a:gd name="connsiteY46" fmla="*/ 100708 h 523373"/>
                <a:gd name="connsiteX47" fmla="*/ 177112 w 335087"/>
                <a:gd name="connsiteY47" fmla="*/ 102384 h 523373"/>
                <a:gd name="connsiteX48" fmla="*/ 215383 w 335087"/>
                <a:gd name="connsiteY48" fmla="*/ 92327 h 523373"/>
                <a:gd name="connsiteX49" fmla="*/ 252398 w 335087"/>
                <a:gd name="connsiteY49" fmla="*/ 82550 h 523373"/>
                <a:gd name="connsiteX50" fmla="*/ 276842 w 335087"/>
                <a:gd name="connsiteY50" fmla="*/ 89394 h 523373"/>
                <a:gd name="connsiteX51" fmla="*/ 276842 w 335087"/>
                <a:gd name="connsiteY51" fmla="*/ 32266 h 523373"/>
                <a:gd name="connsiteX52" fmla="*/ 252678 w 335087"/>
                <a:gd name="connsiteY52" fmla="*/ 21790 h 523373"/>
                <a:gd name="connsiteX53" fmla="*/ 225859 w 335087"/>
                <a:gd name="connsiteY53" fmla="*/ 29332 h 523373"/>
                <a:gd name="connsiteX54" fmla="*/ 179207 w 335087"/>
                <a:gd name="connsiteY54" fmla="*/ 40926 h 523373"/>
                <a:gd name="connsiteX55" fmla="*/ 169988 w 335087"/>
                <a:gd name="connsiteY55" fmla="*/ 40507 h 523373"/>
                <a:gd name="connsiteX56" fmla="*/ 169988 w 335087"/>
                <a:gd name="connsiteY56" fmla="*/ 40507 h 523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5087" h="523373">
                  <a:moveTo>
                    <a:pt x="7124" y="523374"/>
                  </a:moveTo>
                  <a:cubicBezTo>
                    <a:pt x="3212" y="523374"/>
                    <a:pt x="0" y="520161"/>
                    <a:pt x="0" y="516250"/>
                  </a:cubicBezTo>
                  <a:lnTo>
                    <a:pt x="0" y="460938"/>
                  </a:lnTo>
                  <a:cubicBezTo>
                    <a:pt x="0" y="457027"/>
                    <a:pt x="3212" y="453814"/>
                    <a:pt x="7124" y="453814"/>
                  </a:cubicBezTo>
                  <a:lnTo>
                    <a:pt x="110625" y="453814"/>
                  </a:lnTo>
                  <a:lnTo>
                    <a:pt x="110625" y="339138"/>
                  </a:lnTo>
                  <a:cubicBezTo>
                    <a:pt x="110625" y="335227"/>
                    <a:pt x="113838" y="332015"/>
                    <a:pt x="117749" y="332015"/>
                  </a:cubicBezTo>
                  <a:lnTo>
                    <a:pt x="221251" y="332015"/>
                  </a:lnTo>
                  <a:lnTo>
                    <a:pt x="221251" y="217339"/>
                  </a:lnTo>
                  <a:cubicBezTo>
                    <a:pt x="221251" y="213428"/>
                    <a:pt x="224463" y="210216"/>
                    <a:pt x="228374" y="210216"/>
                  </a:cubicBezTo>
                  <a:lnTo>
                    <a:pt x="276563" y="210216"/>
                  </a:lnTo>
                  <a:lnTo>
                    <a:pt x="276563" y="107273"/>
                  </a:lnTo>
                  <a:cubicBezTo>
                    <a:pt x="268462" y="100289"/>
                    <a:pt x="260640" y="97076"/>
                    <a:pt x="251840" y="97076"/>
                  </a:cubicBezTo>
                  <a:cubicBezTo>
                    <a:pt x="242062" y="97076"/>
                    <a:pt x="232005" y="101127"/>
                    <a:pt x="220412" y="105736"/>
                  </a:cubicBezTo>
                  <a:cubicBezTo>
                    <a:pt x="207561" y="110904"/>
                    <a:pt x="192895" y="116911"/>
                    <a:pt x="176693" y="116911"/>
                  </a:cubicBezTo>
                  <a:cubicBezTo>
                    <a:pt x="166916" y="116911"/>
                    <a:pt x="157418" y="114815"/>
                    <a:pt x="147920" y="110625"/>
                  </a:cubicBezTo>
                  <a:cubicBezTo>
                    <a:pt x="145684" y="109647"/>
                    <a:pt x="144148" y="107692"/>
                    <a:pt x="143728" y="105317"/>
                  </a:cubicBezTo>
                  <a:cubicBezTo>
                    <a:pt x="143310" y="102943"/>
                    <a:pt x="144148" y="100568"/>
                    <a:pt x="145964" y="98892"/>
                  </a:cubicBezTo>
                  <a:cubicBezTo>
                    <a:pt x="155462" y="89953"/>
                    <a:pt x="165379" y="73750"/>
                    <a:pt x="169150" y="67045"/>
                  </a:cubicBezTo>
                  <a:cubicBezTo>
                    <a:pt x="165379" y="60201"/>
                    <a:pt x="155322" y="43300"/>
                    <a:pt x="145964" y="34500"/>
                  </a:cubicBezTo>
                  <a:cubicBezTo>
                    <a:pt x="143450" y="32266"/>
                    <a:pt x="142890" y="28494"/>
                    <a:pt x="144706" y="25561"/>
                  </a:cubicBezTo>
                  <a:cubicBezTo>
                    <a:pt x="145964" y="23326"/>
                    <a:pt x="148338" y="22069"/>
                    <a:pt x="150852" y="22069"/>
                  </a:cubicBezTo>
                  <a:cubicBezTo>
                    <a:pt x="151551" y="22069"/>
                    <a:pt x="152389" y="22209"/>
                    <a:pt x="153088" y="22488"/>
                  </a:cubicBezTo>
                  <a:cubicBezTo>
                    <a:pt x="162166" y="25561"/>
                    <a:pt x="170547" y="26958"/>
                    <a:pt x="178928" y="26958"/>
                  </a:cubicBezTo>
                  <a:cubicBezTo>
                    <a:pt x="194711" y="26958"/>
                    <a:pt x="207561" y="21650"/>
                    <a:pt x="219993" y="16482"/>
                  </a:cubicBezTo>
                  <a:cubicBezTo>
                    <a:pt x="230329" y="12152"/>
                    <a:pt x="241085" y="7682"/>
                    <a:pt x="252678" y="7682"/>
                  </a:cubicBezTo>
                  <a:cubicBezTo>
                    <a:pt x="260919" y="7682"/>
                    <a:pt x="268741" y="9917"/>
                    <a:pt x="276563" y="14666"/>
                  </a:cubicBezTo>
                  <a:lnTo>
                    <a:pt x="276563" y="7124"/>
                  </a:lnTo>
                  <a:cubicBezTo>
                    <a:pt x="276563" y="3213"/>
                    <a:pt x="279776" y="0"/>
                    <a:pt x="283686" y="0"/>
                  </a:cubicBezTo>
                  <a:cubicBezTo>
                    <a:pt x="287598" y="0"/>
                    <a:pt x="290810" y="3213"/>
                    <a:pt x="290810" y="7124"/>
                  </a:cubicBezTo>
                  <a:lnTo>
                    <a:pt x="290810" y="210355"/>
                  </a:lnTo>
                  <a:lnTo>
                    <a:pt x="327964" y="210355"/>
                  </a:lnTo>
                  <a:cubicBezTo>
                    <a:pt x="331875" y="210355"/>
                    <a:pt x="335088" y="213568"/>
                    <a:pt x="335088" y="217479"/>
                  </a:cubicBezTo>
                  <a:cubicBezTo>
                    <a:pt x="335088" y="221390"/>
                    <a:pt x="331875" y="224602"/>
                    <a:pt x="327964" y="224602"/>
                  </a:cubicBezTo>
                  <a:lnTo>
                    <a:pt x="235497" y="224602"/>
                  </a:lnTo>
                  <a:lnTo>
                    <a:pt x="235497" y="339278"/>
                  </a:lnTo>
                  <a:cubicBezTo>
                    <a:pt x="235497" y="343189"/>
                    <a:pt x="232285" y="346402"/>
                    <a:pt x="228374" y="346402"/>
                  </a:cubicBezTo>
                  <a:lnTo>
                    <a:pt x="124872" y="346402"/>
                  </a:lnTo>
                  <a:lnTo>
                    <a:pt x="124872" y="461077"/>
                  </a:lnTo>
                  <a:cubicBezTo>
                    <a:pt x="124872" y="464988"/>
                    <a:pt x="121660" y="468201"/>
                    <a:pt x="117749" y="468201"/>
                  </a:cubicBezTo>
                  <a:lnTo>
                    <a:pt x="14247" y="468201"/>
                  </a:lnTo>
                  <a:lnTo>
                    <a:pt x="14247" y="516390"/>
                  </a:lnTo>
                  <a:cubicBezTo>
                    <a:pt x="14247" y="520161"/>
                    <a:pt x="11034" y="523374"/>
                    <a:pt x="7124" y="523374"/>
                  </a:cubicBezTo>
                  <a:close/>
                  <a:moveTo>
                    <a:pt x="169988" y="40507"/>
                  </a:moveTo>
                  <a:cubicBezTo>
                    <a:pt x="177671" y="51541"/>
                    <a:pt x="183397" y="62436"/>
                    <a:pt x="184096" y="63554"/>
                  </a:cubicBezTo>
                  <a:cubicBezTo>
                    <a:pt x="185213" y="65649"/>
                    <a:pt x="185213" y="68163"/>
                    <a:pt x="184096" y="70258"/>
                  </a:cubicBezTo>
                  <a:cubicBezTo>
                    <a:pt x="183956" y="70398"/>
                    <a:pt x="174877" y="87438"/>
                    <a:pt x="163842" y="100708"/>
                  </a:cubicBezTo>
                  <a:cubicBezTo>
                    <a:pt x="168312" y="101825"/>
                    <a:pt x="172503" y="102384"/>
                    <a:pt x="177112" y="102384"/>
                  </a:cubicBezTo>
                  <a:cubicBezTo>
                    <a:pt x="190521" y="102384"/>
                    <a:pt x="202673" y="97495"/>
                    <a:pt x="215383" y="92327"/>
                  </a:cubicBezTo>
                  <a:cubicBezTo>
                    <a:pt x="227257" y="87578"/>
                    <a:pt x="239548" y="82550"/>
                    <a:pt x="252398" y="82550"/>
                  </a:cubicBezTo>
                  <a:cubicBezTo>
                    <a:pt x="261058" y="82550"/>
                    <a:pt x="269020" y="84785"/>
                    <a:pt x="276842" y="89394"/>
                  </a:cubicBezTo>
                  <a:lnTo>
                    <a:pt x="276842" y="32266"/>
                  </a:lnTo>
                  <a:cubicBezTo>
                    <a:pt x="268601" y="25002"/>
                    <a:pt x="260919" y="21790"/>
                    <a:pt x="252678" y="21790"/>
                  </a:cubicBezTo>
                  <a:cubicBezTo>
                    <a:pt x="244157" y="21790"/>
                    <a:pt x="235637" y="25282"/>
                    <a:pt x="225859" y="29332"/>
                  </a:cubicBezTo>
                  <a:cubicBezTo>
                    <a:pt x="212869" y="34780"/>
                    <a:pt x="198063" y="40926"/>
                    <a:pt x="179207" y="40926"/>
                  </a:cubicBezTo>
                  <a:cubicBezTo>
                    <a:pt x="176134" y="40926"/>
                    <a:pt x="173201" y="40786"/>
                    <a:pt x="169988" y="40507"/>
                  </a:cubicBezTo>
                  <a:lnTo>
                    <a:pt x="169988" y="40507"/>
                  </a:lnTo>
                  <a:close/>
                </a:path>
              </a:pathLst>
            </a:custGeom>
            <a:grpFill/>
            <a:ln w="13961" cap="flat">
              <a:noFill/>
              <a:prstDash val="solid"/>
              <a:miter/>
            </a:ln>
          </p:spPr>
          <p:txBody>
            <a:bodyPr rtlCol="0" anchor="ctr"/>
            <a:lstStyle/>
            <a:p>
              <a:endParaRPr lang="ru-RU"/>
            </a:p>
          </p:txBody>
        </p:sp>
        <p:sp>
          <p:nvSpPr>
            <p:cNvPr id="10" name="Полилиния: фигура 9">
              <a:extLst>
                <a:ext uri="{FF2B5EF4-FFF2-40B4-BE49-F238E27FC236}">
                  <a16:creationId xmlns:a16="http://schemas.microsoft.com/office/drawing/2014/main" id="{0EA444A4-E6EE-4703-8A67-C755D3A07B76}"/>
                </a:ext>
              </a:extLst>
            </p:cNvPr>
            <p:cNvSpPr/>
            <p:nvPr/>
          </p:nvSpPr>
          <p:spPr>
            <a:xfrm>
              <a:off x="8300260" y="1998969"/>
              <a:ext cx="269090" cy="376153"/>
            </a:xfrm>
            <a:custGeom>
              <a:avLst/>
              <a:gdLst>
                <a:gd name="connsiteX0" fmla="*/ 85763 w 269090"/>
                <a:gd name="connsiteY0" fmla="*/ 376153 h 376153"/>
                <a:gd name="connsiteX1" fmla="*/ 83109 w 269090"/>
                <a:gd name="connsiteY1" fmla="*/ 375594 h 376153"/>
                <a:gd name="connsiteX2" fmla="*/ 79197 w 269090"/>
                <a:gd name="connsiteY2" fmla="*/ 371823 h 376153"/>
                <a:gd name="connsiteX3" fmla="*/ 79058 w 269090"/>
                <a:gd name="connsiteY3" fmla="*/ 366376 h 376153"/>
                <a:gd name="connsiteX4" fmla="*/ 118168 w 269090"/>
                <a:gd name="connsiteY4" fmla="*/ 265388 h 376153"/>
                <a:gd name="connsiteX5" fmla="*/ 83807 w 269090"/>
                <a:gd name="connsiteY5" fmla="*/ 265388 h 376153"/>
                <a:gd name="connsiteX6" fmla="*/ 48189 w 269090"/>
                <a:gd name="connsiteY6" fmla="*/ 371264 h 376153"/>
                <a:gd name="connsiteX7" fmla="*/ 41345 w 269090"/>
                <a:gd name="connsiteY7" fmla="*/ 376153 h 376153"/>
                <a:gd name="connsiteX8" fmla="*/ 39110 w 269090"/>
                <a:gd name="connsiteY8" fmla="*/ 375734 h 376153"/>
                <a:gd name="connsiteX9" fmla="*/ 34920 w 269090"/>
                <a:gd name="connsiteY9" fmla="*/ 372103 h 376153"/>
                <a:gd name="connsiteX10" fmla="*/ 34501 w 269090"/>
                <a:gd name="connsiteY10" fmla="*/ 366655 h 376153"/>
                <a:gd name="connsiteX11" fmla="*/ 68582 w 269090"/>
                <a:gd name="connsiteY11" fmla="*/ 265388 h 376153"/>
                <a:gd name="connsiteX12" fmla="*/ 7124 w 269090"/>
                <a:gd name="connsiteY12" fmla="*/ 265388 h 376153"/>
                <a:gd name="connsiteX13" fmla="*/ 0 w 269090"/>
                <a:gd name="connsiteY13" fmla="*/ 258265 h 376153"/>
                <a:gd name="connsiteX14" fmla="*/ 0 w 269090"/>
                <a:gd name="connsiteY14" fmla="*/ 158535 h 376153"/>
                <a:gd name="connsiteX15" fmla="*/ 7124 w 269090"/>
                <a:gd name="connsiteY15" fmla="*/ 151411 h 376153"/>
                <a:gd name="connsiteX16" fmla="*/ 44278 w 269090"/>
                <a:gd name="connsiteY16" fmla="*/ 151411 h 376153"/>
                <a:gd name="connsiteX17" fmla="*/ 44278 w 269090"/>
                <a:gd name="connsiteY17" fmla="*/ 52379 h 376153"/>
                <a:gd name="connsiteX18" fmla="*/ 58385 w 269090"/>
                <a:gd name="connsiteY18" fmla="*/ 23187 h 376153"/>
                <a:gd name="connsiteX19" fmla="*/ 81851 w 269090"/>
                <a:gd name="connsiteY19" fmla="*/ 8381 h 376153"/>
                <a:gd name="connsiteX20" fmla="*/ 112441 w 269090"/>
                <a:gd name="connsiteY20" fmla="*/ 0 h 376153"/>
                <a:gd name="connsiteX21" fmla="*/ 143868 w 269090"/>
                <a:gd name="connsiteY21" fmla="*/ 8241 h 376153"/>
                <a:gd name="connsiteX22" fmla="*/ 151411 w 269090"/>
                <a:gd name="connsiteY22" fmla="*/ 11873 h 376153"/>
                <a:gd name="connsiteX23" fmla="*/ 180604 w 269090"/>
                <a:gd name="connsiteY23" fmla="*/ 47770 h 376153"/>
                <a:gd name="connsiteX24" fmla="*/ 180604 w 269090"/>
                <a:gd name="connsiteY24" fmla="*/ 87858 h 376153"/>
                <a:gd name="connsiteX25" fmla="*/ 243319 w 269090"/>
                <a:gd name="connsiteY25" fmla="*/ 122498 h 376153"/>
                <a:gd name="connsiteX26" fmla="*/ 246113 w 269090"/>
                <a:gd name="connsiteY26" fmla="*/ 132275 h 376153"/>
                <a:gd name="connsiteX27" fmla="*/ 239827 w 269090"/>
                <a:gd name="connsiteY27" fmla="*/ 136046 h 376153"/>
                <a:gd name="connsiteX28" fmla="*/ 236335 w 269090"/>
                <a:gd name="connsiteY28" fmla="*/ 135208 h 376153"/>
                <a:gd name="connsiteX29" fmla="*/ 180604 w 269090"/>
                <a:gd name="connsiteY29" fmla="*/ 104479 h 376153"/>
                <a:gd name="connsiteX30" fmla="*/ 180604 w 269090"/>
                <a:gd name="connsiteY30" fmla="*/ 154624 h 376153"/>
                <a:gd name="connsiteX31" fmla="*/ 254075 w 269090"/>
                <a:gd name="connsiteY31" fmla="*/ 196806 h 376153"/>
                <a:gd name="connsiteX32" fmla="*/ 257566 w 269090"/>
                <a:gd name="connsiteY32" fmla="*/ 202254 h 376153"/>
                <a:gd name="connsiteX33" fmla="*/ 269020 w 269090"/>
                <a:gd name="connsiteY33" fmla="*/ 301984 h 376153"/>
                <a:gd name="connsiteX34" fmla="*/ 267484 w 269090"/>
                <a:gd name="connsiteY34" fmla="*/ 307292 h 376153"/>
                <a:gd name="connsiteX35" fmla="*/ 262735 w 269090"/>
                <a:gd name="connsiteY35" fmla="*/ 309946 h 376153"/>
                <a:gd name="connsiteX36" fmla="*/ 262595 w 269090"/>
                <a:gd name="connsiteY36" fmla="*/ 309946 h 376153"/>
                <a:gd name="connsiteX37" fmla="*/ 254773 w 269090"/>
                <a:gd name="connsiteY37" fmla="*/ 303660 h 376153"/>
                <a:gd name="connsiteX38" fmla="*/ 243739 w 269090"/>
                <a:gd name="connsiteY38" fmla="*/ 207562 h 376153"/>
                <a:gd name="connsiteX39" fmla="*/ 169849 w 269090"/>
                <a:gd name="connsiteY39" fmla="*/ 165100 h 376153"/>
                <a:gd name="connsiteX40" fmla="*/ 166217 w 269090"/>
                <a:gd name="connsiteY40" fmla="*/ 158954 h 376153"/>
                <a:gd name="connsiteX41" fmla="*/ 166217 w 269090"/>
                <a:gd name="connsiteY41" fmla="*/ 48189 h 376153"/>
                <a:gd name="connsiteX42" fmla="*/ 145964 w 269090"/>
                <a:gd name="connsiteY42" fmla="*/ 25561 h 376153"/>
                <a:gd name="connsiteX43" fmla="*/ 137444 w 269090"/>
                <a:gd name="connsiteY43" fmla="*/ 21371 h 376153"/>
                <a:gd name="connsiteX44" fmla="*/ 112720 w 269090"/>
                <a:gd name="connsiteY44" fmla="*/ 14666 h 376153"/>
                <a:gd name="connsiteX45" fmla="*/ 89115 w 269090"/>
                <a:gd name="connsiteY45" fmla="*/ 21231 h 376153"/>
                <a:gd name="connsiteX46" fmla="*/ 67465 w 269090"/>
                <a:gd name="connsiteY46" fmla="*/ 34780 h 376153"/>
                <a:gd name="connsiteX47" fmla="*/ 58945 w 269090"/>
                <a:gd name="connsiteY47" fmla="*/ 52659 h 376153"/>
                <a:gd name="connsiteX48" fmla="*/ 58945 w 269090"/>
                <a:gd name="connsiteY48" fmla="*/ 151690 h 376153"/>
                <a:gd name="connsiteX49" fmla="*/ 88835 w 269090"/>
                <a:gd name="connsiteY49" fmla="*/ 151690 h 376153"/>
                <a:gd name="connsiteX50" fmla="*/ 88835 w 269090"/>
                <a:gd name="connsiteY50" fmla="*/ 65369 h 376153"/>
                <a:gd name="connsiteX51" fmla="*/ 95959 w 269090"/>
                <a:gd name="connsiteY51" fmla="*/ 58246 h 376153"/>
                <a:gd name="connsiteX52" fmla="*/ 103083 w 269090"/>
                <a:gd name="connsiteY52" fmla="*/ 65369 h 376153"/>
                <a:gd name="connsiteX53" fmla="*/ 103083 w 269090"/>
                <a:gd name="connsiteY53" fmla="*/ 151551 h 376153"/>
                <a:gd name="connsiteX54" fmla="*/ 140237 w 269090"/>
                <a:gd name="connsiteY54" fmla="*/ 151551 h 376153"/>
                <a:gd name="connsiteX55" fmla="*/ 147360 w 269090"/>
                <a:gd name="connsiteY55" fmla="*/ 158674 h 376153"/>
                <a:gd name="connsiteX56" fmla="*/ 147360 w 269090"/>
                <a:gd name="connsiteY56" fmla="*/ 200159 h 376153"/>
                <a:gd name="connsiteX57" fmla="*/ 208959 w 269090"/>
                <a:gd name="connsiteY57" fmla="*/ 223904 h 376153"/>
                <a:gd name="connsiteX58" fmla="*/ 213429 w 269090"/>
                <a:gd name="connsiteY58" fmla="*/ 229491 h 376153"/>
                <a:gd name="connsiteX59" fmla="*/ 224183 w 269090"/>
                <a:gd name="connsiteY59" fmla="*/ 301425 h 376153"/>
                <a:gd name="connsiteX60" fmla="*/ 218177 w 269090"/>
                <a:gd name="connsiteY60" fmla="*/ 309527 h 376153"/>
                <a:gd name="connsiteX61" fmla="*/ 217060 w 269090"/>
                <a:gd name="connsiteY61" fmla="*/ 309666 h 376153"/>
                <a:gd name="connsiteX62" fmla="*/ 209937 w 269090"/>
                <a:gd name="connsiteY62" fmla="*/ 303521 h 376153"/>
                <a:gd name="connsiteX63" fmla="*/ 199740 w 269090"/>
                <a:gd name="connsiteY63" fmla="*/ 235637 h 376153"/>
                <a:gd name="connsiteX64" fmla="*/ 147220 w 269090"/>
                <a:gd name="connsiteY64" fmla="*/ 215384 h 376153"/>
                <a:gd name="connsiteX65" fmla="*/ 147220 w 269090"/>
                <a:gd name="connsiteY65" fmla="*/ 258125 h 376153"/>
                <a:gd name="connsiteX66" fmla="*/ 140098 w 269090"/>
                <a:gd name="connsiteY66" fmla="*/ 265249 h 376153"/>
                <a:gd name="connsiteX67" fmla="*/ 133672 w 269090"/>
                <a:gd name="connsiteY67" fmla="*/ 265249 h 376153"/>
                <a:gd name="connsiteX68" fmla="*/ 92467 w 269090"/>
                <a:gd name="connsiteY68" fmla="*/ 371404 h 376153"/>
                <a:gd name="connsiteX69" fmla="*/ 85763 w 269090"/>
                <a:gd name="connsiteY69" fmla="*/ 376153 h 376153"/>
                <a:gd name="connsiteX70" fmla="*/ 14666 w 269090"/>
                <a:gd name="connsiteY70" fmla="*/ 251141 h 376153"/>
                <a:gd name="connsiteX71" fmla="*/ 133114 w 269090"/>
                <a:gd name="connsiteY71" fmla="*/ 251141 h 376153"/>
                <a:gd name="connsiteX72" fmla="*/ 133114 w 269090"/>
                <a:gd name="connsiteY72" fmla="*/ 165798 h 376153"/>
                <a:gd name="connsiteX73" fmla="*/ 97076 w 269090"/>
                <a:gd name="connsiteY73" fmla="*/ 165798 h 376153"/>
                <a:gd name="connsiteX74" fmla="*/ 95959 w 269090"/>
                <a:gd name="connsiteY74" fmla="*/ 165798 h 376153"/>
                <a:gd name="connsiteX75" fmla="*/ 14526 w 269090"/>
                <a:gd name="connsiteY75" fmla="*/ 165798 h 376153"/>
                <a:gd name="connsiteX76" fmla="*/ 14526 w 269090"/>
                <a:gd name="connsiteY76" fmla="*/ 251141 h 37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69090" h="376153">
                  <a:moveTo>
                    <a:pt x="85763" y="376153"/>
                  </a:moveTo>
                  <a:cubicBezTo>
                    <a:pt x="84925" y="376153"/>
                    <a:pt x="83947" y="376013"/>
                    <a:pt x="83109" y="375594"/>
                  </a:cubicBezTo>
                  <a:cubicBezTo>
                    <a:pt x="81293" y="374896"/>
                    <a:pt x="79896" y="373499"/>
                    <a:pt x="79197" y="371823"/>
                  </a:cubicBezTo>
                  <a:cubicBezTo>
                    <a:pt x="78359" y="370007"/>
                    <a:pt x="78359" y="368191"/>
                    <a:pt x="79058" y="366376"/>
                  </a:cubicBezTo>
                  <a:lnTo>
                    <a:pt x="118168" y="265388"/>
                  </a:lnTo>
                  <a:lnTo>
                    <a:pt x="83807" y="265388"/>
                  </a:lnTo>
                  <a:lnTo>
                    <a:pt x="48189" y="371264"/>
                  </a:lnTo>
                  <a:cubicBezTo>
                    <a:pt x="47211" y="374198"/>
                    <a:pt x="44418" y="376153"/>
                    <a:pt x="41345" y="376153"/>
                  </a:cubicBezTo>
                  <a:cubicBezTo>
                    <a:pt x="40507" y="376153"/>
                    <a:pt x="39809" y="376013"/>
                    <a:pt x="39110" y="375734"/>
                  </a:cubicBezTo>
                  <a:cubicBezTo>
                    <a:pt x="37294" y="375175"/>
                    <a:pt x="35897" y="373779"/>
                    <a:pt x="34920" y="372103"/>
                  </a:cubicBezTo>
                  <a:cubicBezTo>
                    <a:pt x="34081" y="370426"/>
                    <a:pt x="33942" y="368471"/>
                    <a:pt x="34501" y="366655"/>
                  </a:cubicBezTo>
                  <a:lnTo>
                    <a:pt x="68582" y="265388"/>
                  </a:lnTo>
                  <a:lnTo>
                    <a:pt x="7124" y="265388"/>
                  </a:lnTo>
                  <a:cubicBezTo>
                    <a:pt x="3212" y="265388"/>
                    <a:pt x="0" y="262176"/>
                    <a:pt x="0" y="258265"/>
                  </a:cubicBezTo>
                  <a:lnTo>
                    <a:pt x="0" y="158535"/>
                  </a:lnTo>
                  <a:cubicBezTo>
                    <a:pt x="0" y="154624"/>
                    <a:pt x="3212" y="151411"/>
                    <a:pt x="7124" y="151411"/>
                  </a:cubicBezTo>
                  <a:lnTo>
                    <a:pt x="44278" y="151411"/>
                  </a:lnTo>
                  <a:lnTo>
                    <a:pt x="44278" y="52379"/>
                  </a:lnTo>
                  <a:cubicBezTo>
                    <a:pt x="44278" y="40646"/>
                    <a:pt x="48887" y="31148"/>
                    <a:pt x="58385" y="23187"/>
                  </a:cubicBezTo>
                  <a:cubicBezTo>
                    <a:pt x="58525" y="23047"/>
                    <a:pt x="69420" y="15225"/>
                    <a:pt x="81851" y="8381"/>
                  </a:cubicBezTo>
                  <a:cubicBezTo>
                    <a:pt x="92048" y="2794"/>
                    <a:pt x="101965" y="0"/>
                    <a:pt x="112441" y="0"/>
                  </a:cubicBezTo>
                  <a:cubicBezTo>
                    <a:pt x="122638" y="0"/>
                    <a:pt x="133114" y="2794"/>
                    <a:pt x="143868" y="8241"/>
                  </a:cubicBezTo>
                  <a:cubicBezTo>
                    <a:pt x="146522" y="9638"/>
                    <a:pt x="149036" y="10755"/>
                    <a:pt x="151411" y="11873"/>
                  </a:cubicBezTo>
                  <a:cubicBezTo>
                    <a:pt x="166776" y="19136"/>
                    <a:pt x="180604" y="25701"/>
                    <a:pt x="180604" y="47770"/>
                  </a:cubicBezTo>
                  <a:lnTo>
                    <a:pt x="180604" y="87858"/>
                  </a:lnTo>
                  <a:lnTo>
                    <a:pt x="243319" y="122498"/>
                  </a:lnTo>
                  <a:cubicBezTo>
                    <a:pt x="246811" y="124453"/>
                    <a:pt x="248068" y="128783"/>
                    <a:pt x="246113" y="132275"/>
                  </a:cubicBezTo>
                  <a:cubicBezTo>
                    <a:pt x="244856" y="134510"/>
                    <a:pt x="242481" y="136046"/>
                    <a:pt x="239827" y="136046"/>
                  </a:cubicBezTo>
                  <a:cubicBezTo>
                    <a:pt x="238570" y="136046"/>
                    <a:pt x="237453" y="135767"/>
                    <a:pt x="236335" y="135208"/>
                  </a:cubicBezTo>
                  <a:lnTo>
                    <a:pt x="180604" y="104479"/>
                  </a:lnTo>
                  <a:lnTo>
                    <a:pt x="180604" y="154624"/>
                  </a:lnTo>
                  <a:lnTo>
                    <a:pt x="254075" y="196806"/>
                  </a:lnTo>
                  <a:cubicBezTo>
                    <a:pt x="256030" y="197924"/>
                    <a:pt x="257427" y="199879"/>
                    <a:pt x="257566" y="202254"/>
                  </a:cubicBezTo>
                  <a:lnTo>
                    <a:pt x="269020" y="301984"/>
                  </a:lnTo>
                  <a:cubicBezTo>
                    <a:pt x="269300" y="303940"/>
                    <a:pt x="268741" y="305755"/>
                    <a:pt x="267484" y="307292"/>
                  </a:cubicBezTo>
                  <a:cubicBezTo>
                    <a:pt x="266226" y="308828"/>
                    <a:pt x="264550" y="309666"/>
                    <a:pt x="262735" y="309946"/>
                  </a:cubicBezTo>
                  <a:cubicBezTo>
                    <a:pt x="262735" y="309946"/>
                    <a:pt x="262595" y="309946"/>
                    <a:pt x="262595" y="309946"/>
                  </a:cubicBezTo>
                  <a:cubicBezTo>
                    <a:pt x="258125" y="309946"/>
                    <a:pt x="255192" y="307292"/>
                    <a:pt x="254773" y="303660"/>
                  </a:cubicBezTo>
                  <a:lnTo>
                    <a:pt x="243739" y="207562"/>
                  </a:lnTo>
                  <a:lnTo>
                    <a:pt x="169849" y="165100"/>
                  </a:lnTo>
                  <a:cubicBezTo>
                    <a:pt x="167614" y="163842"/>
                    <a:pt x="166217" y="161468"/>
                    <a:pt x="166217" y="158954"/>
                  </a:cubicBezTo>
                  <a:lnTo>
                    <a:pt x="166217" y="48189"/>
                  </a:lnTo>
                  <a:cubicBezTo>
                    <a:pt x="166217" y="35758"/>
                    <a:pt x="161049" y="32685"/>
                    <a:pt x="145964" y="25561"/>
                  </a:cubicBezTo>
                  <a:cubicBezTo>
                    <a:pt x="143170" y="24164"/>
                    <a:pt x="140376" y="22907"/>
                    <a:pt x="137444" y="21371"/>
                  </a:cubicBezTo>
                  <a:cubicBezTo>
                    <a:pt x="128644" y="16901"/>
                    <a:pt x="120542" y="14666"/>
                    <a:pt x="112720" y="14666"/>
                  </a:cubicBezTo>
                  <a:cubicBezTo>
                    <a:pt x="104898" y="14666"/>
                    <a:pt x="97216" y="16761"/>
                    <a:pt x="89115" y="21231"/>
                  </a:cubicBezTo>
                  <a:cubicBezTo>
                    <a:pt x="78499" y="27098"/>
                    <a:pt x="68582" y="34081"/>
                    <a:pt x="67465" y="34780"/>
                  </a:cubicBezTo>
                  <a:cubicBezTo>
                    <a:pt x="61599" y="39669"/>
                    <a:pt x="58945" y="45395"/>
                    <a:pt x="58945" y="52659"/>
                  </a:cubicBezTo>
                  <a:lnTo>
                    <a:pt x="58945" y="151690"/>
                  </a:lnTo>
                  <a:lnTo>
                    <a:pt x="88835" y="151690"/>
                  </a:lnTo>
                  <a:lnTo>
                    <a:pt x="88835" y="65369"/>
                  </a:lnTo>
                  <a:cubicBezTo>
                    <a:pt x="88835" y="61458"/>
                    <a:pt x="92048" y="58246"/>
                    <a:pt x="95959" y="58246"/>
                  </a:cubicBezTo>
                  <a:cubicBezTo>
                    <a:pt x="99870" y="58246"/>
                    <a:pt x="103083" y="61458"/>
                    <a:pt x="103083" y="65369"/>
                  </a:cubicBezTo>
                  <a:lnTo>
                    <a:pt x="103083" y="151551"/>
                  </a:lnTo>
                  <a:lnTo>
                    <a:pt x="140237" y="151551"/>
                  </a:lnTo>
                  <a:cubicBezTo>
                    <a:pt x="144148" y="151551"/>
                    <a:pt x="147360" y="154763"/>
                    <a:pt x="147360" y="158674"/>
                  </a:cubicBezTo>
                  <a:lnTo>
                    <a:pt x="147360" y="200159"/>
                  </a:lnTo>
                  <a:lnTo>
                    <a:pt x="208959" y="223904"/>
                  </a:lnTo>
                  <a:cubicBezTo>
                    <a:pt x="211333" y="224882"/>
                    <a:pt x="213149" y="226977"/>
                    <a:pt x="213429" y="229491"/>
                  </a:cubicBezTo>
                  <a:lnTo>
                    <a:pt x="224183" y="301425"/>
                  </a:lnTo>
                  <a:cubicBezTo>
                    <a:pt x="224742" y="305336"/>
                    <a:pt x="222089" y="308968"/>
                    <a:pt x="218177" y="309527"/>
                  </a:cubicBezTo>
                  <a:cubicBezTo>
                    <a:pt x="217759" y="309527"/>
                    <a:pt x="217479" y="309666"/>
                    <a:pt x="217060" y="309666"/>
                  </a:cubicBezTo>
                  <a:cubicBezTo>
                    <a:pt x="213568" y="309666"/>
                    <a:pt x="210495" y="307012"/>
                    <a:pt x="209937" y="303521"/>
                  </a:cubicBezTo>
                  <a:lnTo>
                    <a:pt x="199740" y="235637"/>
                  </a:lnTo>
                  <a:lnTo>
                    <a:pt x="147220" y="215384"/>
                  </a:lnTo>
                  <a:lnTo>
                    <a:pt x="147220" y="258125"/>
                  </a:lnTo>
                  <a:cubicBezTo>
                    <a:pt x="147220" y="262036"/>
                    <a:pt x="144008" y="265249"/>
                    <a:pt x="140098" y="265249"/>
                  </a:cubicBezTo>
                  <a:lnTo>
                    <a:pt x="133672" y="265249"/>
                  </a:lnTo>
                  <a:lnTo>
                    <a:pt x="92467" y="371404"/>
                  </a:lnTo>
                  <a:cubicBezTo>
                    <a:pt x="91489" y="374337"/>
                    <a:pt x="88696" y="376153"/>
                    <a:pt x="85763" y="376153"/>
                  </a:cubicBezTo>
                  <a:close/>
                  <a:moveTo>
                    <a:pt x="14666" y="251141"/>
                  </a:moveTo>
                  <a:lnTo>
                    <a:pt x="133114" y="251141"/>
                  </a:lnTo>
                  <a:lnTo>
                    <a:pt x="133114" y="165798"/>
                  </a:lnTo>
                  <a:lnTo>
                    <a:pt x="97076" y="165798"/>
                  </a:lnTo>
                  <a:lnTo>
                    <a:pt x="95959" y="165798"/>
                  </a:lnTo>
                  <a:lnTo>
                    <a:pt x="14526" y="165798"/>
                  </a:lnTo>
                  <a:lnTo>
                    <a:pt x="14526" y="251141"/>
                  </a:lnTo>
                  <a:close/>
                </a:path>
              </a:pathLst>
            </a:custGeom>
            <a:grpFill/>
            <a:ln w="13961" cap="flat">
              <a:noFill/>
              <a:prstDash val="solid"/>
              <a:miter/>
            </a:ln>
          </p:spPr>
          <p:txBody>
            <a:bodyPr rtlCol="0" anchor="ctr"/>
            <a:lstStyle/>
            <a:p>
              <a:endParaRPr lang="ru-RU"/>
            </a:p>
          </p:txBody>
        </p:sp>
      </p:grpSp>
      <p:cxnSp>
        <p:nvCxnSpPr>
          <p:cNvPr id="11" name="Прямая соединительная линия 10">
            <a:extLst>
              <a:ext uri="{FF2B5EF4-FFF2-40B4-BE49-F238E27FC236}">
                <a16:creationId xmlns:a16="http://schemas.microsoft.com/office/drawing/2014/main" id="{EAE6B44A-7B48-4B52-B850-13B3F0CF5178}"/>
              </a:ext>
            </a:extLst>
          </p:cNvPr>
          <p:cNvCxnSpPr>
            <a:cxnSpLocks/>
          </p:cNvCxnSpPr>
          <p:nvPr/>
        </p:nvCxnSpPr>
        <p:spPr>
          <a:xfrm>
            <a:off x="8570976" y="2316480"/>
            <a:ext cx="2832672"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A89A6E95-FB59-43B7-87DC-E35FCC461FE0}"/>
              </a:ext>
            </a:extLst>
          </p:cNvPr>
          <p:cNvSpPr txBox="1"/>
          <p:nvPr/>
        </p:nvSpPr>
        <p:spPr>
          <a:xfrm>
            <a:off x="4039274" y="1432561"/>
            <a:ext cx="3915694" cy="45243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синтеза: </a:t>
            </a:r>
            <a:br>
              <a:rPr lang="ru-RU" sz="1300">
                <a:solidFill>
                  <a:schemeClr val="accent6">
                    <a:lumMod val="75000"/>
                  </a:schemeClr>
                </a:solidFill>
                <a:latin typeface="+mj-lt"/>
              </a:rPr>
            </a:br>
            <a:r>
              <a:rPr lang="ru-RU" sz="1300" err="1">
                <a:solidFill>
                  <a:schemeClr val="accent6">
                    <a:lumMod val="75000"/>
                  </a:schemeClr>
                </a:solidFill>
              </a:rPr>
              <a:t>холократия</a:t>
            </a:r>
            <a:r>
              <a:rPr lang="ru-RU" sz="1300">
                <a:solidFill>
                  <a:schemeClr val="accent6">
                    <a:lumMod val="75000"/>
                  </a:schemeClr>
                </a:solidFill>
              </a:rPr>
              <a:t>, организация осознанного развития</a:t>
            </a:r>
          </a:p>
        </p:txBody>
      </p:sp>
      <p:sp>
        <p:nvSpPr>
          <p:cNvPr id="20" name="TextBox 19">
            <a:extLst>
              <a:ext uri="{FF2B5EF4-FFF2-40B4-BE49-F238E27FC236}">
                <a16:creationId xmlns:a16="http://schemas.microsoft.com/office/drawing/2014/main" id="{05218129-27E9-45A9-A9A1-098B4A4713E6}"/>
              </a:ext>
            </a:extLst>
          </p:cNvPr>
          <p:cNvSpPr txBox="1"/>
          <p:nvPr/>
        </p:nvSpPr>
        <p:spPr>
          <a:xfrm>
            <a:off x="4603989" y="2468228"/>
            <a:ext cx="2215673" cy="27238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согласия: </a:t>
            </a:r>
            <a:r>
              <a:rPr lang="en-US" sz="1300">
                <a:solidFill>
                  <a:schemeClr val="accent6">
                    <a:lumMod val="75000"/>
                  </a:schemeClr>
                </a:solidFill>
              </a:rPr>
              <a:t>Agile</a:t>
            </a:r>
            <a:endParaRPr lang="ru-RU" sz="1300">
              <a:solidFill>
                <a:schemeClr val="accent6">
                  <a:lumMod val="75000"/>
                </a:schemeClr>
              </a:solidFill>
            </a:endParaRPr>
          </a:p>
        </p:txBody>
      </p:sp>
      <p:sp>
        <p:nvSpPr>
          <p:cNvPr id="21" name="TextBox 20">
            <a:extLst>
              <a:ext uri="{FF2B5EF4-FFF2-40B4-BE49-F238E27FC236}">
                <a16:creationId xmlns:a16="http://schemas.microsoft.com/office/drawing/2014/main" id="{FDDBF352-90AD-4905-B1E9-00CCAD3E437C}"/>
              </a:ext>
            </a:extLst>
          </p:cNvPr>
          <p:cNvSpPr txBox="1"/>
          <p:nvPr/>
        </p:nvSpPr>
        <p:spPr>
          <a:xfrm>
            <a:off x="5110083" y="3061959"/>
            <a:ext cx="3094514" cy="632481"/>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синхронизации: </a:t>
            </a:r>
            <a:br>
              <a:rPr lang="ru-RU" sz="1300">
                <a:solidFill>
                  <a:schemeClr val="accent6">
                    <a:lumMod val="75000"/>
                  </a:schemeClr>
                </a:solidFill>
                <a:latin typeface="+mj-lt"/>
              </a:rPr>
            </a:br>
            <a:r>
              <a:rPr lang="ru-RU" sz="1300">
                <a:solidFill>
                  <a:schemeClr val="accent6">
                    <a:lumMod val="75000"/>
                  </a:schemeClr>
                </a:solidFill>
              </a:rPr>
              <a:t>пять направляющих шагов, барабан – буфер – канат, </a:t>
            </a:r>
            <a:r>
              <a:rPr lang="ru-RU" sz="1300" err="1">
                <a:solidFill>
                  <a:schemeClr val="accent6">
                    <a:lumMod val="75000"/>
                  </a:schemeClr>
                </a:solidFill>
              </a:rPr>
              <a:t>Канбан</a:t>
            </a:r>
            <a:r>
              <a:rPr lang="ru-RU" sz="1300">
                <a:solidFill>
                  <a:schemeClr val="accent6">
                    <a:lumMod val="75000"/>
                  </a:schemeClr>
                </a:solidFill>
              </a:rPr>
              <a:t>, </a:t>
            </a:r>
            <a:r>
              <a:rPr lang="en-US" sz="1300">
                <a:solidFill>
                  <a:schemeClr val="accent6">
                    <a:lumMod val="75000"/>
                  </a:schemeClr>
                </a:solidFill>
              </a:rPr>
              <a:t>Just in time</a:t>
            </a:r>
            <a:endParaRPr lang="ru-RU" sz="1300">
              <a:solidFill>
                <a:schemeClr val="accent6">
                  <a:lumMod val="75000"/>
                </a:schemeClr>
              </a:solidFill>
            </a:endParaRPr>
          </a:p>
        </p:txBody>
      </p:sp>
      <p:sp>
        <p:nvSpPr>
          <p:cNvPr id="22" name="TextBox 21">
            <a:extLst>
              <a:ext uri="{FF2B5EF4-FFF2-40B4-BE49-F238E27FC236}">
                <a16:creationId xmlns:a16="http://schemas.microsoft.com/office/drawing/2014/main" id="{23F8BA8F-3006-464A-A219-B811371E3BA0}"/>
              </a:ext>
            </a:extLst>
          </p:cNvPr>
          <p:cNvSpPr txBox="1"/>
          <p:nvPr/>
        </p:nvSpPr>
        <p:spPr>
          <a:xfrm>
            <a:off x="5519738" y="4033509"/>
            <a:ext cx="2599214" cy="632481"/>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правил: </a:t>
            </a:r>
            <a:br>
              <a:rPr lang="ru-RU" sz="1300">
                <a:solidFill>
                  <a:schemeClr val="accent6">
                    <a:lumMod val="75000"/>
                  </a:schemeClr>
                </a:solidFill>
                <a:latin typeface="+mj-lt"/>
              </a:rPr>
            </a:br>
            <a:r>
              <a:rPr lang="ru-RU" sz="1300">
                <a:solidFill>
                  <a:schemeClr val="accent6">
                    <a:lumMod val="75000"/>
                  </a:schemeClr>
                </a:solidFill>
              </a:rPr>
              <a:t>процессный подход, </a:t>
            </a:r>
            <a:br>
              <a:rPr lang="ru-RU" sz="1300">
                <a:solidFill>
                  <a:schemeClr val="accent6">
                    <a:lumMod val="75000"/>
                  </a:schemeClr>
                </a:solidFill>
              </a:rPr>
            </a:br>
            <a:r>
              <a:rPr lang="ru-RU" sz="1300">
                <a:solidFill>
                  <a:schemeClr val="accent6">
                    <a:lumMod val="75000"/>
                  </a:schemeClr>
                </a:solidFill>
              </a:rPr>
              <a:t>система менеджмента качества</a:t>
            </a:r>
          </a:p>
        </p:txBody>
      </p:sp>
      <p:sp>
        <p:nvSpPr>
          <p:cNvPr id="23" name="TextBox 22">
            <a:extLst>
              <a:ext uri="{FF2B5EF4-FFF2-40B4-BE49-F238E27FC236}">
                <a16:creationId xmlns:a16="http://schemas.microsoft.com/office/drawing/2014/main" id="{0F70A58D-A789-44F3-88D1-8819AC145FFC}"/>
              </a:ext>
            </a:extLst>
          </p:cNvPr>
          <p:cNvSpPr txBox="1"/>
          <p:nvPr/>
        </p:nvSpPr>
        <p:spPr>
          <a:xfrm>
            <a:off x="5987257" y="5006083"/>
            <a:ext cx="1749742" cy="45243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принадлежности</a:t>
            </a:r>
            <a:endParaRPr lang="ru-RU" sz="1300">
              <a:solidFill>
                <a:schemeClr val="accent6">
                  <a:lumMod val="75000"/>
                </a:schemeClr>
              </a:solidFill>
            </a:endParaRPr>
          </a:p>
        </p:txBody>
      </p:sp>
      <p:sp>
        <p:nvSpPr>
          <p:cNvPr id="24" name="TextBox 23">
            <a:extLst>
              <a:ext uri="{FF2B5EF4-FFF2-40B4-BE49-F238E27FC236}">
                <a16:creationId xmlns:a16="http://schemas.microsoft.com/office/drawing/2014/main" id="{262E0034-D834-4C0C-AA6B-C76F52BAAA7B}"/>
              </a:ext>
            </a:extLst>
          </p:cNvPr>
          <p:cNvSpPr txBox="1"/>
          <p:nvPr/>
        </p:nvSpPr>
        <p:spPr>
          <a:xfrm>
            <a:off x="6342698" y="5900690"/>
            <a:ext cx="1683702" cy="515320"/>
          </a:xfrm>
          <a:prstGeom prst="rect">
            <a:avLst/>
          </a:prstGeom>
          <a:noFill/>
        </p:spPr>
        <p:txBody>
          <a:bodyPr wrap="square" lIns="108000" tIns="108000" rtlCol="0">
            <a:spAutoFit/>
          </a:bodyPr>
          <a:lstStyle/>
          <a:p>
            <a:pPr>
              <a:lnSpc>
                <a:spcPct val="90000"/>
              </a:lnSpc>
            </a:pPr>
            <a:r>
              <a:rPr lang="ru-RU" sz="1300">
                <a:solidFill>
                  <a:schemeClr val="accent6">
                    <a:lumMod val="75000"/>
                  </a:schemeClr>
                </a:solidFill>
                <a:latin typeface="+mj-lt"/>
              </a:rPr>
              <a:t>Потребность в принадлежности</a:t>
            </a:r>
            <a:endParaRPr lang="ru-RU" sz="1300">
              <a:solidFill>
                <a:schemeClr val="accent6">
                  <a:lumMod val="75000"/>
                </a:schemeClr>
              </a:solidFill>
            </a:endParaRPr>
          </a:p>
        </p:txBody>
      </p:sp>
      <p:sp>
        <p:nvSpPr>
          <p:cNvPr id="25" name="TextBox 24">
            <a:extLst>
              <a:ext uri="{FF2B5EF4-FFF2-40B4-BE49-F238E27FC236}">
                <a16:creationId xmlns:a16="http://schemas.microsoft.com/office/drawing/2014/main" id="{4078ECF1-0496-4F83-B317-5295715A7515}"/>
              </a:ext>
            </a:extLst>
          </p:cNvPr>
          <p:cNvSpPr txBox="1"/>
          <p:nvPr/>
        </p:nvSpPr>
        <p:spPr>
          <a:xfrm>
            <a:off x="429578" y="5900690"/>
            <a:ext cx="2638742" cy="515320"/>
          </a:xfrm>
          <a:prstGeom prst="rect">
            <a:avLst/>
          </a:prstGeom>
          <a:noFill/>
        </p:spPr>
        <p:txBody>
          <a:bodyPr wrap="square" lIns="108000" tIns="108000" rtlCol="0">
            <a:spAutoFit/>
          </a:bodyPr>
          <a:lstStyle/>
          <a:p>
            <a:pPr>
              <a:lnSpc>
                <a:spcPct val="90000"/>
              </a:lnSpc>
            </a:pPr>
            <a:r>
              <a:rPr lang="ru-RU" sz="1300">
                <a:solidFill>
                  <a:schemeClr val="accent6">
                    <a:lumMod val="75000"/>
                  </a:schemeClr>
                </a:solidFill>
                <a:latin typeface="+mj-lt"/>
              </a:rPr>
              <a:t>Потребность в автономии, субъективности</a:t>
            </a:r>
            <a:endParaRPr lang="ru-RU" sz="1300">
              <a:solidFill>
                <a:schemeClr val="accent6">
                  <a:lumMod val="75000"/>
                </a:schemeClr>
              </a:solidFill>
            </a:endParaRPr>
          </a:p>
        </p:txBody>
      </p:sp>
      <p:cxnSp>
        <p:nvCxnSpPr>
          <p:cNvPr id="26" name="Прямая со стрелкой 25">
            <a:extLst>
              <a:ext uri="{FF2B5EF4-FFF2-40B4-BE49-F238E27FC236}">
                <a16:creationId xmlns:a16="http://schemas.microsoft.com/office/drawing/2014/main" id="{61391B99-64C2-448C-9371-82F10BCCADBC}"/>
              </a:ext>
            </a:extLst>
          </p:cNvPr>
          <p:cNvCxnSpPr>
            <a:cxnSpLocks/>
          </p:cNvCxnSpPr>
          <p:nvPr/>
        </p:nvCxnSpPr>
        <p:spPr>
          <a:xfrm>
            <a:off x="515938" y="5900690"/>
            <a:ext cx="7398702" cy="0"/>
          </a:xfrm>
          <a:prstGeom prst="straightConnector1">
            <a:avLst/>
          </a:prstGeom>
          <a:ln w="12700">
            <a:gradFill flip="none" rotWithShape="1">
              <a:gsLst>
                <a:gs pos="0">
                  <a:schemeClr val="accent6">
                    <a:alpha val="0"/>
                  </a:schemeClr>
                </a:gs>
                <a:gs pos="50000">
                  <a:schemeClr val="accent6"/>
                </a:gs>
                <a:gs pos="100000">
                  <a:schemeClr val="accent6">
                    <a:alpha val="0"/>
                  </a:schemeClr>
                </a:gs>
              </a:gsLst>
              <a:lin ang="0" scaled="1"/>
              <a:tileRect/>
            </a:gradFill>
          </a:ln>
          <a:effectLst>
            <a:outerShdw blurRad="63500" dist="127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796C5B0-6AEA-481B-B2CC-F1349031194E}"/>
              </a:ext>
            </a:extLst>
          </p:cNvPr>
          <p:cNvSpPr txBox="1"/>
          <p:nvPr/>
        </p:nvSpPr>
        <p:spPr>
          <a:xfrm>
            <a:off x="427038" y="2688502"/>
            <a:ext cx="2306002" cy="45243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вовлечения: </a:t>
            </a:r>
            <a:br>
              <a:rPr lang="ru-RU" sz="1300">
                <a:solidFill>
                  <a:schemeClr val="accent6">
                    <a:lumMod val="75000"/>
                  </a:schemeClr>
                </a:solidFill>
                <a:latin typeface="+mj-lt"/>
              </a:rPr>
            </a:br>
            <a:r>
              <a:rPr lang="en-US" sz="1300">
                <a:solidFill>
                  <a:schemeClr val="accent6">
                    <a:lumMod val="75000"/>
                  </a:schemeClr>
                </a:solidFill>
              </a:rPr>
              <a:t>TPS</a:t>
            </a:r>
            <a:r>
              <a:rPr lang="ru-RU" sz="1300">
                <a:solidFill>
                  <a:schemeClr val="accent6">
                    <a:lumMod val="75000"/>
                  </a:schemeClr>
                </a:solidFill>
              </a:rPr>
              <a:t>, кайдзен</a:t>
            </a:r>
          </a:p>
        </p:txBody>
      </p:sp>
      <p:sp>
        <p:nvSpPr>
          <p:cNvPr id="18" name="TextBox 17">
            <a:extLst>
              <a:ext uri="{FF2B5EF4-FFF2-40B4-BE49-F238E27FC236}">
                <a16:creationId xmlns:a16="http://schemas.microsoft.com/office/drawing/2014/main" id="{6825DFD3-4AF3-411B-BAA2-2B8DD2EE11D4}"/>
              </a:ext>
            </a:extLst>
          </p:cNvPr>
          <p:cNvSpPr txBox="1"/>
          <p:nvPr/>
        </p:nvSpPr>
        <p:spPr>
          <a:xfrm>
            <a:off x="427038" y="3568644"/>
            <a:ext cx="2037815" cy="66603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успеха: </a:t>
            </a:r>
            <a:r>
              <a:rPr lang="ru-RU" sz="1300">
                <a:solidFill>
                  <a:schemeClr val="accent6">
                    <a:lumMod val="75000"/>
                  </a:schemeClr>
                </a:solidFill>
              </a:rPr>
              <a:t>индивидуальные </a:t>
            </a:r>
            <a:r>
              <a:rPr lang="en-US" sz="1300">
                <a:solidFill>
                  <a:schemeClr val="accent6">
                    <a:lumMod val="75000"/>
                  </a:schemeClr>
                </a:solidFill>
              </a:rPr>
              <a:t>KPI</a:t>
            </a:r>
            <a:r>
              <a:rPr lang="ru-RU" sz="1300">
                <a:solidFill>
                  <a:schemeClr val="accent6">
                    <a:lumMod val="75000"/>
                  </a:schemeClr>
                </a:solidFill>
              </a:rPr>
              <a:t>, управление по целям</a:t>
            </a:r>
          </a:p>
        </p:txBody>
      </p:sp>
      <p:sp>
        <p:nvSpPr>
          <p:cNvPr id="19" name="TextBox 18">
            <a:extLst>
              <a:ext uri="{FF2B5EF4-FFF2-40B4-BE49-F238E27FC236}">
                <a16:creationId xmlns:a16="http://schemas.microsoft.com/office/drawing/2014/main" id="{249381A6-6E6F-41A2-A30E-84A7941B9084}"/>
              </a:ext>
            </a:extLst>
          </p:cNvPr>
          <p:cNvSpPr txBox="1"/>
          <p:nvPr/>
        </p:nvSpPr>
        <p:spPr>
          <a:xfrm>
            <a:off x="427038" y="4678429"/>
            <a:ext cx="1187248" cy="476432"/>
          </a:xfrm>
          <a:prstGeom prst="rect">
            <a:avLst/>
          </a:prstGeom>
          <a:noFill/>
        </p:spPr>
        <p:txBody>
          <a:bodyPr wrap="square" lIns="108000" rtlCol="0">
            <a:spAutoFit/>
          </a:bodyPr>
          <a:lstStyle/>
          <a:p>
            <a:pPr>
              <a:lnSpc>
                <a:spcPct val="90000"/>
              </a:lnSpc>
            </a:pPr>
            <a:r>
              <a:rPr lang="ru-RU" sz="1300">
                <a:solidFill>
                  <a:schemeClr val="accent6">
                    <a:lumMod val="75000"/>
                  </a:schemeClr>
                </a:solidFill>
                <a:latin typeface="+mj-lt"/>
              </a:rPr>
              <a:t>Культура силы</a:t>
            </a:r>
            <a:endParaRPr lang="ru-RU" sz="1300">
              <a:solidFill>
                <a:schemeClr val="accent6">
                  <a:lumMod val="75000"/>
                </a:schemeClr>
              </a:solidFill>
            </a:endParaRPr>
          </a:p>
        </p:txBody>
      </p:sp>
      <p:sp>
        <p:nvSpPr>
          <p:cNvPr id="29" name="Равнобедренный треугольник 28">
            <a:extLst>
              <a:ext uri="{FF2B5EF4-FFF2-40B4-BE49-F238E27FC236}">
                <a16:creationId xmlns:a16="http://schemas.microsoft.com/office/drawing/2014/main" id="{47D8308F-D6DB-4DE9-B2D1-0B5E8F68F2E9}"/>
              </a:ext>
            </a:extLst>
          </p:cNvPr>
          <p:cNvSpPr/>
          <p:nvPr/>
        </p:nvSpPr>
        <p:spPr>
          <a:xfrm>
            <a:off x="1432404" y="1666177"/>
            <a:ext cx="4686140" cy="4236784"/>
          </a:xfrm>
          <a:prstGeom prst="triangle">
            <a:avLst/>
          </a:prstGeom>
          <a:noFill/>
          <a:ln>
            <a:gradFill flip="none" rotWithShape="1">
              <a:gsLst>
                <a:gs pos="17000">
                  <a:srgbClr val="7D8696">
                    <a:alpha val="40000"/>
                  </a:srgbClr>
                </a:gs>
                <a:gs pos="0">
                  <a:schemeClr val="accent6">
                    <a:alpha val="0"/>
                  </a:schemeClr>
                </a:gs>
                <a:gs pos="100000">
                  <a:schemeClr val="accent6"/>
                </a:gs>
              </a:gsLst>
              <a:lin ang="16200000" scaled="1"/>
              <a:tileRect/>
            </a:gradFill>
          </a:ln>
          <a:effectLst>
            <a:outerShdw blurRad="101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Овал 30">
            <a:extLst>
              <a:ext uri="{FF2B5EF4-FFF2-40B4-BE49-F238E27FC236}">
                <a16:creationId xmlns:a16="http://schemas.microsoft.com/office/drawing/2014/main" id="{6E51B2F7-5537-4762-9B10-7077B9BBAB5B}"/>
              </a:ext>
            </a:extLst>
          </p:cNvPr>
          <p:cNvSpPr/>
          <p:nvPr/>
        </p:nvSpPr>
        <p:spPr>
          <a:xfrm>
            <a:off x="5542494" y="5037086"/>
            <a:ext cx="404867" cy="404867"/>
          </a:xfrm>
          <a:prstGeom prst="ellipse">
            <a:avLst/>
          </a:prstGeom>
          <a:solidFill>
            <a:schemeClr val="tx2"/>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Овал 32">
            <a:extLst>
              <a:ext uri="{FF2B5EF4-FFF2-40B4-BE49-F238E27FC236}">
                <a16:creationId xmlns:a16="http://schemas.microsoft.com/office/drawing/2014/main" id="{C84B9DAC-DCA3-42E5-A5A1-7A2BFBB96FC7}"/>
              </a:ext>
            </a:extLst>
          </p:cNvPr>
          <p:cNvSpPr/>
          <p:nvPr/>
        </p:nvSpPr>
        <p:spPr>
          <a:xfrm>
            <a:off x="1703912" y="4714212"/>
            <a:ext cx="404867" cy="404867"/>
          </a:xfrm>
          <a:prstGeom prst="ellipse">
            <a:avLst/>
          </a:prstGeom>
          <a:solidFill>
            <a:schemeClr val="accent5"/>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 name="Полилиния: фигура 29">
            <a:extLst>
              <a:ext uri="{FF2B5EF4-FFF2-40B4-BE49-F238E27FC236}">
                <a16:creationId xmlns:a16="http://schemas.microsoft.com/office/drawing/2014/main" id="{B3A7BFE6-F6C6-4FE3-BBF7-D642E3151C1A}"/>
              </a:ext>
            </a:extLst>
          </p:cNvPr>
          <p:cNvSpPr/>
          <p:nvPr/>
        </p:nvSpPr>
        <p:spPr>
          <a:xfrm>
            <a:off x="2092047" y="5154534"/>
            <a:ext cx="3404513" cy="451337"/>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3124200 w 3124200"/>
              <a:gd name="connsiteY0" fmla="*/ 363311 h 442665"/>
              <a:gd name="connsiteX1" fmla="*/ 0 w 3124200"/>
              <a:gd name="connsiteY1" fmla="*/ 0 h 442665"/>
              <a:gd name="connsiteX0" fmla="*/ 3124200 w 3124200"/>
              <a:gd name="connsiteY0" fmla="*/ 363311 h 479517"/>
              <a:gd name="connsiteX1" fmla="*/ 0 w 3124200"/>
              <a:gd name="connsiteY1" fmla="*/ 0 h 479517"/>
              <a:gd name="connsiteX0" fmla="*/ 3124200 w 3124200"/>
              <a:gd name="connsiteY0" fmla="*/ 363311 h 536704"/>
              <a:gd name="connsiteX1" fmla="*/ 0 w 3124200"/>
              <a:gd name="connsiteY1" fmla="*/ 0 h 536704"/>
              <a:gd name="connsiteX0" fmla="*/ 3252691 w 3252691"/>
              <a:gd name="connsiteY0" fmla="*/ 258152 h 475677"/>
              <a:gd name="connsiteX1" fmla="*/ 0 w 3252691"/>
              <a:gd name="connsiteY1" fmla="*/ 0 h 475677"/>
              <a:gd name="connsiteX0" fmla="*/ 3252691 w 3252691"/>
              <a:gd name="connsiteY0" fmla="*/ 258152 h 451351"/>
              <a:gd name="connsiteX1" fmla="*/ 0 w 3252691"/>
              <a:gd name="connsiteY1" fmla="*/ 0 h 451351"/>
              <a:gd name="connsiteX0" fmla="*/ 3321878 w 3321878"/>
              <a:gd name="connsiteY0" fmla="*/ 363311 h 516402"/>
              <a:gd name="connsiteX1" fmla="*/ 0 w 3321878"/>
              <a:gd name="connsiteY1" fmla="*/ 0 h 516402"/>
              <a:gd name="connsiteX0" fmla="*/ 3321878 w 3321878"/>
              <a:gd name="connsiteY0" fmla="*/ 363311 h 557310"/>
              <a:gd name="connsiteX1" fmla="*/ 0 w 3321878"/>
              <a:gd name="connsiteY1" fmla="*/ 0 h 557310"/>
              <a:gd name="connsiteX0" fmla="*/ 3311994 w 3311994"/>
              <a:gd name="connsiteY0" fmla="*/ 281521 h 504156"/>
              <a:gd name="connsiteX1" fmla="*/ 0 w 3311994"/>
              <a:gd name="connsiteY1" fmla="*/ 0 h 504156"/>
              <a:gd name="connsiteX0" fmla="*/ 3311994 w 3311994"/>
              <a:gd name="connsiteY0" fmla="*/ 281521 h 519054"/>
              <a:gd name="connsiteX1" fmla="*/ 0 w 3311994"/>
              <a:gd name="connsiteY1" fmla="*/ 0 h 519054"/>
            </a:gdLst>
            <a:ahLst/>
            <a:cxnLst>
              <a:cxn ang="0">
                <a:pos x="connsiteX0" y="connsiteY0"/>
              </a:cxn>
              <a:cxn ang="0">
                <a:pos x="connsiteX1" y="connsiteY1"/>
              </a:cxn>
            </a:cxnLst>
            <a:rect l="l" t="t" r="r" b="b"/>
            <a:pathLst>
              <a:path w="3311994" h="519054">
                <a:moveTo>
                  <a:pt x="3311994" y="281521"/>
                </a:moveTo>
                <a:cubicBezTo>
                  <a:pt x="2682901" y="655662"/>
                  <a:pt x="580887" y="606557"/>
                  <a:pt x="0" y="0"/>
                </a:cubicBezTo>
              </a:path>
            </a:pathLst>
          </a:custGeom>
          <a:noFill/>
          <a:ln>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олилиния: фигура 34">
            <a:extLst>
              <a:ext uri="{FF2B5EF4-FFF2-40B4-BE49-F238E27FC236}">
                <a16:creationId xmlns:a16="http://schemas.microsoft.com/office/drawing/2014/main" id="{6996DE8E-134B-4DFD-A020-F0F9EB6DBBE1}"/>
              </a:ext>
            </a:extLst>
          </p:cNvPr>
          <p:cNvSpPr/>
          <p:nvPr/>
        </p:nvSpPr>
        <p:spPr>
          <a:xfrm flipH="1" flipV="1">
            <a:off x="2197714" y="4307885"/>
            <a:ext cx="2802790" cy="440592"/>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5119363 w 5119363"/>
              <a:gd name="connsiteY0" fmla="*/ 0 h 448721"/>
              <a:gd name="connsiteX1" fmla="*/ 0 w 5119363"/>
              <a:gd name="connsiteY1" fmla="*/ 275954 h 448721"/>
              <a:gd name="connsiteX0" fmla="*/ 5119363 w 5119363"/>
              <a:gd name="connsiteY0" fmla="*/ 0 h 340120"/>
              <a:gd name="connsiteX1" fmla="*/ 0 w 5119363"/>
              <a:gd name="connsiteY1" fmla="*/ 275954 h 340120"/>
              <a:gd name="connsiteX0" fmla="*/ 5163082 w 5163082"/>
              <a:gd name="connsiteY0" fmla="*/ 0 h 394557"/>
              <a:gd name="connsiteX1" fmla="*/ 0 w 5163082"/>
              <a:gd name="connsiteY1" fmla="*/ 337685 h 394557"/>
              <a:gd name="connsiteX0" fmla="*/ 5119363 w 5119363"/>
              <a:gd name="connsiteY0" fmla="*/ 0 h 355499"/>
              <a:gd name="connsiteX1" fmla="*/ 0 w 5119363"/>
              <a:gd name="connsiteY1" fmla="*/ 293592 h 355499"/>
              <a:gd name="connsiteX0" fmla="*/ 5119363 w 5119363"/>
              <a:gd name="connsiteY0" fmla="*/ 0 h 309625"/>
              <a:gd name="connsiteX1" fmla="*/ 0 w 5119363"/>
              <a:gd name="connsiteY1" fmla="*/ 293592 h 309625"/>
              <a:gd name="connsiteX0" fmla="*/ 5119363 w 5119363"/>
              <a:gd name="connsiteY0" fmla="*/ 0 h 311247"/>
              <a:gd name="connsiteX1" fmla="*/ 0 w 5119363"/>
              <a:gd name="connsiteY1" fmla="*/ 293592 h 311247"/>
              <a:gd name="connsiteX0" fmla="*/ 5239363 w 5239363"/>
              <a:gd name="connsiteY0" fmla="*/ 0 h 249433"/>
              <a:gd name="connsiteX1" fmla="*/ 0 w 5239363"/>
              <a:gd name="connsiteY1" fmla="*/ 225584 h 249433"/>
              <a:gd name="connsiteX0" fmla="*/ 5239363 w 5239363"/>
              <a:gd name="connsiteY0" fmla="*/ 0 h 248945"/>
              <a:gd name="connsiteX1" fmla="*/ 0 w 5239363"/>
              <a:gd name="connsiteY1" fmla="*/ 225584 h 248945"/>
            </a:gdLst>
            <a:ahLst/>
            <a:cxnLst>
              <a:cxn ang="0">
                <a:pos x="connsiteX0" y="connsiteY0"/>
              </a:cxn>
              <a:cxn ang="0">
                <a:pos x="connsiteX1" y="connsiteY1"/>
              </a:cxn>
            </a:cxnLst>
            <a:rect l="l" t="t" r="r" b="b"/>
            <a:pathLst>
              <a:path w="5239363" h="248945">
                <a:moveTo>
                  <a:pt x="5239363" y="0"/>
                </a:moveTo>
                <a:cubicBezTo>
                  <a:pt x="4605502" y="185229"/>
                  <a:pt x="1878756" y="301039"/>
                  <a:pt x="0" y="225584"/>
                </a:cubicBezTo>
              </a:path>
            </a:pathLst>
          </a:custGeom>
          <a:noFill/>
          <a:ln>
            <a:solidFill>
              <a:schemeClr val="accent1">
                <a:shade val="50000"/>
                <a:alpha val="50000"/>
              </a:schemeClr>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Овал 35">
            <a:extLst>
              <a:ext uri="{FF2B5EF4-FFF2-40B4-BE49-F238E27FC236}">
                <a16:creationId xmlns:a16="http://schemas.microsoft.com/office/drawing/2014/main" id="{CE04EE11-5A9B-4D7E-8BA4-4CB4EF340C11}"/>
              </a:ext>
            </a:extLst>
          </p:cNvPr>
          <p:cNvSpPr/>
          <p:nvPr/>
        </p:nvSpPr>
        <p:spPr>
          <a:xfrm>
            <a:off x="5061041" y="4162941"/>
            <a:ext cx="404867" cy="404867"/>
          </a:xfrm>
          <a:prstGeom prst="ellipse">
            <a:avLst/>
          </a:prstGeom>
          <a:solidFill>
            <a:schemeClr val="accent2"/>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Овал 36">
            <a:extLst>
              <a:ext uri="{FF2B5EF4-FFF2-40B4-BE49-F238E27FC236}">
                <a16:creationId xmlns:a16="http://schemas.microsoft.com/office/drawing/2014/main" id="{25E9F5EA-FB2A-4DA2-AAC3-6E432C275EB9}"/>
              </a:ext>
            </a:extLst>
          </p:cNvPr>
          <p:cNvSpPr/>
          <p:nvPr/>
        </p:nvSpPr>
        <p:spPr>
          <a:xfrm>
            <a:off x="4542142" y="3181569"/>
            <a:ext cx="404867" cy="404867"/>
          </a:xfrm>
          <a:prstGeom prst="ellipse">
            <a:avLst/>
          </a:prstGeom>
          <a:solidFill>
            <a:schemeClr val="accent1"/>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Овал 37">
            <a:extLst>
              <a:ext uri="{FF2B5EF4-FFF2-40B4-BE49-F238E27FC236}">
                <a16:creationId xmlns:a16="http://schemas.microsoft.com/office/drawing/2014/main" id="{6FF9605F-E149-461B-94D3-923DF24EAACE}"/>
              </a:ext>
            </a:extLst>
          </p:cNvPr>
          <p:cNvSpPr/>
          <p:nvPr/>
        </p:nvSpPr>
        <p:spPr>
          <a:xfrm>
            <a:off x="4123156" y="2422306"/>
            <a:ext cx="404867" cy="404867"/>
          </a:xfrm>
          <a:prstGeom prst="ellipse">
            <a:avLst/>
          </a:prstGeom>
          <a:solidFill>
            <a:schemeClr val="accent3"/>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Овал 38">
            <a:extLst>
              <a:ext uri="{FF2B5EF4-FFF2-40B4-BE49-F238E27FC236}">
                <a16:creationId xmlns:a16="http://schemas.microsoft.com/office/drawing/2014/main" id="{884EB848-8308-4736-A06C-7D14AD83F15F}"/>
              </a:ext>
            </a:extLst>
          </p:cNvPr>
          <p:cNvSpPr/>
          <p:nvPr/>
        </p:nvSpPr>
        <p:spPr>
          <a:xfrm>
            <a:off x="3573041" y="1483361"/>
            <a:ext cx="404867" cy="404867"/>
          </a:xfrm>
          <a:prstGeom prst="ellipse">
            <a:avLst/>
          </a:prstGeom>
          <a:solidFill>
            <a:srgbClr val="4CC2BC"/>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Овал 39">
            <a:extLst>
              <a:ext uri="{FF2B5EF4-FFF2-40B4-BE49-F238E27FC236}">
                <a16:creationId xmlns:a16="http://schemas.microsoft.com/office/drawing/2014/main" id="{F1B2B091-B166-4B45-9A21-3AC7C318B819}"/>
              </a:ext>
            </a:extLst>
          </p:cNvPr>
          <p:cNvSpPr/>
          <p:nvPr/>
        </p:nvSpPr>
        <p:spPr>
          <a:xfrm>
            <a:off x="2324785" y="3699226"/>
            <a:ext cx="404867" cy="404867"/>
          </a:xfrm>
          <a:prstGeom prst="ellipse">
            <a:avLst/>
          </a:prstGeom>
          <a:solidFill>
            <a:schemeClr val="accent4"/>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Овал 40">
            <a:extLst>
              <a:ext uri="{FF2B5EF4-FFF2-40B4-BE49-F238E27FC236}">
                <a16:creationId xmlns:a16="http://schemas.microsoft.com/office/drawing/2014/main" id="{F4F4AEC3-E079-46AA-B1A3-BA2E53B8BB7B}"/>
              </a:ext>
            </a:extLst>
          </p:cNvPr>
          <p:cNvSpPr/>
          <p:nvPr/>
        </p:nvSpPr>
        <p:spPr>
          <a:xfrm>
            <a:off x="2827636" y="2724284"/>
            <a:ext cx="404867" cy="404867"/>
          </a:xfrm>
          <a:prstGeom prst="ellipse">
            <a:avLst/>
          </a:prstGeom>
          <a:solidFill>
            <a:schemeClr val="accent4">
              <a:lumMod val="75000"/>
            </a:schemeClr>
          </a:solidFill>
          <a:ln w="41275">
            <a:solidFill>
              <a:schemeClr val="bg1"/>
            </a:solid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Овал 33">
            <a:extLst>
              <a:ext uri="{FF2B5EF4-FFF2-40B4-BE49-F238E27FC236}">
                <a16:creationId xmlns:a16="http://schemas.microsoft.com/office/drawing/2014/main" id="{77BF8633-17F4-440F-ACD5-583AA51699AE}"/>
              </a:ext>
            </a:extLst>
          </p:cNvPr>
          <p:cNvSpPr/>
          <p:nvPr/>
        </p:nvSpPr>
        <p:spPr>
          <a:xfrm>
            <a:off x="3026548" y="4320854"/>
            <a:ext cx="208630" cy="1404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олилиния: фигура 41">
            <a:extLst>
              <a:ext uri="{FF2B5EF4-FFF2-40B4-BE49-F238E27FC236}">
                <a16:creationId xmlns:a16="http://schemas.microsoft.com/office/drawing/2014/main" id="{37F2D0A3-5AF1-40EA-ABD3-4A2D2A188063}"/>
              </a:ext>
            </a:extLst>
          </p:cNvPr>
          <p:cNvSpPr/>
          <p:nvPr/>
        </p:nvSpPr>
        <p:spPr>
          <a:xfrm rot="181482">
            <a:off x="2724723" y="4210051"/>
            <a:ext cx="2285212" cy="367260"/>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3008408 w 3008408"/>
              <a:gd name="connsiteY0" fmla="*/ 390273 h 463608"/>
              <a:gd name="connsiteX1" fmla="*/ 0 w 3008408"/>
              <a:gd name="connsiteY1" fmla="*/ 0 h 463608"/>
              <a:gd name="connsiteX0" fmla="*/ 3481683 w 3481683"/>
              <a:gd name="connsiteY0" fmla="*/ 284723 h 385978"/>
              <a:gd name="connsiteX1" fmla="*/ -1 w 3481683"/>
              <a:gd name="connsiteY1" fmla="*/ 0 h 385978"/>
              <a:gd name="connsiteX0" fmla="*/ 3481684 w 3481684"/>
              <a:gd name="connsiteY0" fmla="*/ 284723 h 427665"/>
              <a:gd name="connsiteX1" fmla="*/ 0 w 3481684"/>
              <a:gd name="connsiteY1" fmla="*/ 0 h 427665"/>
              <a:gd name="connsiteX0" fmla="*/ 3501494 w 3501494"/>
              <a:gd name="connsiteY0" fmla="*/ 240620 h 403427"/>
              <a:gd name="connsiteX1" fmla="*/ 0 w 3501494"/>
              <a:gd name="connsiteY1" fmla="*/ 0 h 403427"/>
              <a:gd name="connsiteX0" fmla="*/ 3501494 w 3501494"/>
              <a:gd name="connsiteY0" fmla="*/ 240620 h 395931"/>
              <a:gd name="connsiteX1" fmla="*/ 0 w 3501494"/>
              <a:gd name="connsiteY1" fmla="*/ 0 h 395931"/>
              <a:gd name="connsiteX0" fmla="*/ 3501494 w 3501494"/>
              <a:gd name="connsiteY0" fmla="*/ 240620 h 395904"/>
              <a:gd name="connsiteX1" fmla="*/ 0 w 3501494"/>
              <a:gd name="connsiteY1" fmla="*/ 0 h 395904"/>
            </a:gdLst>
            <a:ahLst/>
            <a:cxnLst>
              <a:cxn ang="0">
                <a:pos x="connsiteX0" y="connsiteY0"/>
              </a:cxn>
              <a:cxn ang="0">
                <a:pos x="connsiteX1" y="connsiteY1"/>
              </a:cxn>
            </a:cxnLst>
            <a:rect l="l" t="t" r="r" b="b"/>
            <a:pathLst>
              <a:path w="3501494" h="395904">
                <a:moveTo>
                  <a:pt x="3501494" y="240620"/>
                </a:moveTo>
                <a:cubicBezTo>
                  <a:pt x="2937711" y="403111"/>
                  <a:pt x="1059244" y="570570"/>
                  <a:pt x="0" y="0"/>
                </a:cubicBezTo>
              </a:path>
            </a:pathLst>
          </a:custGeom>
          <a:noFill/>
          <a:ln>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олилиния: фигура 46">
            <a:extLst>
              <a:ext uri="{FF2B5EF4-FFF2-40B4-BE49-F238E27FC236}">
                <a16:creationId xmlns:a16="http://schemas.microsoft.com/office/drawing/2014/main" id="{318F7F65-E17B-4920-8CD6-91FD314321E5}"/>
              </a:ext>
            </a:extLst>
          </p:cNvPr>
          <p:cNvSpPr/>
          <p:nvPr/>
        </p:nvSpPr>
        <p:spPr>
          <a:xfrm flipH="1" flipV="1">
            <a:off x="2818253" y="3297767"/>
            <a:ext cx="1620556" cy="401211"/>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5119363 w 5119363"/>
              <a:gd name="connsiteY0" fmla="*/ 0 h 448721"/>
              <a:gd name="connsiteX1" fmla="*/ 0 w 5119363"/>
              <a:gd name="connsiteY1" fmla="*/ 275954 h 448721"/>
              <a:gd name="connsiteX0" fmla="*/ 5119363 w 5119363"/>
              <a:gd name="connsiteY0" fmla="*/ 0 h 340120"/>
              <a:gd name="connsiteX1" fmla="*/ 0 w 5119363"/>
              <a:gd name="connsiteY1" fmla="*/ 275954 h 340120"/>
              <a:gd name="connsiteX0" fmla="*/ 5163082 w 5163082"/>
              <a:gd name="connsiteY0" fmla="*/ 0 h 394557"/>
              <a:gd name="connsiteX1" fmla="*/ 0 w 5163082"/>
              <a:gd name="connsiteY1" fmla="*/ 337685 h 394557"/>
              <a:gd name="connsiteX0" fmla="*/ 5119363 w 5119363"/>
              <a:gd name="connsiteY0" fmla="*/ 0 h 355499"/>
              <a:gd name="connsiteX1" fmla="*/ 0 w 5119363"/>
              <a:gd name="connsiteY1" fmla="*/ 293592 h 355499"/>
              <a:gd name="connsiteX0" fmla="*/ 5119363 w 5119363"/>
              <a:gd name="connsiteY0" fmla="*/ 0 h 309625"/>
              <a:gd name="connsiteX1" fmla="*/ 0 w 5119363"/>
              <a:gd name="connsiteY1" fmla="*/ 293592 h 309625"/>
              <a:gd name="connsiteX0" fmla="*/ 5119363 w 5119363"/>
              <a:gd name="connsiteY0" fmla="*/ 0 h 311247"/>
              <a:gd name="connsiteX1" fmla="*/ 0 w 5119363"/>
              <a:gd name="connsiteY1" fmla="*/ 293592 h 311247"/>
              <a:gd name="connsiteX0" fmla="*/ 5239363 w 5239363"/>
              <a:gd name="connsiteY0" fmla="*/ 0 h 249433"/>
              <a:gd name="connsiteX1" fmla="*/ 0 w 5239363"/>
              <a:gd name="connsiteY1" fmla="*/ 225584 h 249433"/>
              <a:gd name="connsiteX0" fmla="*/ 5239363 w 5239363"/>
              <a:gd name="connsiteY0" fmla="*/ 0 h 248945"/>
              <a:gd name="connsiteX1" fmla="*/ 0 w 5239363"/>
              <a:gd name="connsiteY1" fmla="*/ 225584 h 248945"/>
            </a:gdLst>
            <a:ahLst/>
            <a:cxnLst>
              <a:cxn ang="0">
                <a:pos x="connsiteX0" y="connsiteY0"/>
              </a:cxn>
              <a:cxn ang="0">
                <a:pos x="connsiteX1" y="connsiteY1"/>
              </a:cxn>
            </a:cxnLst>
            <a:rect l="l" t="t" r="r" b="b"/>
            <a:pathLst>
              <a:path w="5239363" h="248945">
                <a:moveTo>
                  <a:pt x="5239363" y="0"/>
                </a:moveTo>
                <a:cubicBezTo>
                  <a:pt x="4605502" y="185229"/>
                  <a:pt x="1878756" y="301039"/>
                  <a:pt x="0" y="225584"/>
                </a:cubicBezTo>
              </a:path>
            </a:pathLst>
          </a:custGeom>
          <a:noFill/>
          <a:ln>
            <a:solidFill>
              <a:schemeClr val="accent1">
                <a:shade val="50000"/>
                <a:alpha val="50000"/>
              </a:schemeClr>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Овал 47">
            <a:extLst>
              <a:ext uri="{FF2B5EF4-FFF2-40B4-BE49-F238E27FC236}">
                <a16:creationId xmlns:a16="http://schemas.microsoft.com/office/drawing/2014/main" id="{3DCE04CB-B0A0-4D18-856E-75C34134B5E0}"/>
              </a:ext>
            </a:extLst>
          </p:cNvPr>
          <p:cNvSpPr/>
          <p:nvPr/>
        </p:nvSpPr>
        <p:spPr>
          <a:xfrm>
            <a:off x="3219129" y="3371322"/>
            <a:ext cx="208630" cy="140424"/>
          </a:xfrm>
          <a:prstGeom prst="ellipse">
            <a:avLst/>
          </a:prstGeom>
          <a:pattFill prst="ltUpDiag">
            <a:fgClr>
              <a:schemeClr val="bg1"/>
            </a:fgClr>
            <a:bgClr>
              <a:schemeClr val="bg2"/>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олилиния: фигура 42">
            <a:extLst>
              <a:ext uri="{FF2B5EF4-FFF2-40B4-BE49-F238E27FC236}">
                <a16:creationId xmlns:a16="http://schemas.microsoft.com/office/drawing/2014/main" id="{BFCB47BF-9C5D-4091-9DC5-1836BEC265A5}"/>
              </a:ext>
            </a:extLst>
          </p:cNvPr>
          <p:cNvSpPr/>
          <p:nvPr/>
        </p:nvSpPr>
        <p:spPr>
          <a:xfrm rot="181482">
            <a:off x="3108443" y="3226667"/>
            <a:ext cx="1439847" cy="382804"/>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2896573 w 2896574"/>
              <a:gd name="connsiteY0" fmla="*/ 202063 h 334441"/>
              <a:gd name="connsiteX1" fmla="*/ 0 w 2896574"/>
              <a:gd name="connsiteY1" fmla="*/ 0 h 334441"/>
              <a:gd name="connsiteX0" fmla="*/ 2896573 w 2896574"/>
              <a:gd name="connsiteY0" fmla="*/ 202063 h 328708"/>
              <a:gd name="connsiteX1" fmla="*/ 0 w 2896574"/>
              <a:gd name="connsiteY1" fmla="*/ 0 h 328708"/>
              <a:gd name="connsiteX0" fmla="*/ 2682296 w 2682297"/>
              <a:gd name="connsiteY0" fmla="*/ 251643 h 358254"/>
              <a:gd name="connsiteX1" fmla="*/ 0 w 2682297"/>
              <a:gd name="connsiteY1" fmla="*/ 0 h 358254"/>
              <a:gd name="connsiteX0" fmla="*/ 2682296 w 2682297"/>
              <a:gd name="connsiteY0" fmla="*/ 251643 h 342032"/>
              <a:gd name="connsiteX1" fmla="*/ 0 w 2682297"/>
              <a:gd name="connsiteY1" fmla="*/ 0 h 342032"/>
            </a:gdLst>
            <a:ahLst/>
            <a:cxnLst>
              <a:cxn ang="0">
                <a:pos x="connsiteX0" y="connsiteY0"/>
              </a:cxn>
              <a:cxn ang="0">
                <a:pos x="connsiteX1" y="connsiteY1"/>
              </a:cxn>
            </a:cxnLst>
            <a:rect l="l" t="t" r="r" b="b"/>
            <a:pathLst>
              <a:path w="2682297" h="342032">
                <a:moveTo>
                  <a:pt x="2682296" y="251643"/>
                </a:moveTo>
                <a:cubicBezTo>
                  <a:pt x="2127032" y="400053"/>
                  <a:pt x="504748" y="397423"/>
                  <a:pt x="0" y="0"/>
                </a:cubicBezTo>
              </a:path>
            </a:pathLst>
          </a:custGeom>
          <a:noFill/>
          <a:ln>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олилиния: фигура 49">
            <a:extLst>
              <a:ext uri="{FF2B5EF4-FFF2-40B4-BE49-F238E27FC236}">
                <a16:creationId xmlns:a16="http://schemas.microsoft.com/office/drawing/2014/main" id="{64F46161-44B0-452C-A384-28294427AA79}"/>
              </a:ext>
            </a:extLst>
          </p:cNvPr>
          <p:cNvSpPr/>
          <p:nvPr/>
        </p:nvSpPr>
        <p:spPr>
          <a:xfrm flipH="1" flipV="1">
            <a:off x="3320979" y="2552842"/>
            <a:ext cx="674792" cy="174384"/>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5119363 w 5119363"/>
              <a:gd name="connsiteY0" fmla="*/ 0 h 448721"/>
              <a:gd name="connsiteX1" fmla="*/ 0 w 5119363"/>
              <a:gd name="connsiteY1" fmla="*/ 275954 h 448721"/>
              <a:gd name="connsiteX0" fmla="*/ 5119363 w 5119363"/>
              <a:gd name="connsiteY0" fmla="*/ 0 h 340120"/>
              <a:gd name="connsiteX1" fmla="*/ 0 w 5119363"/>
              <a:gd name="connsiteY1" fmla="*/ 275954 h 340120"/>
              <a:gd name="connsiteX0" fmla="*/ 5163082 w 5163082"/>
              <a:gd name="connsiteY0" fmla="*/ 0 h 394557"/>
              <a:gd name="connsiteX1" fmla="*/ 0 w 5163082"/>
              <a:gd name="connsiteY1" fmla="*/ 337685 h 394557"/>
              <a:gd name="connsiteX0" fmla="*/ 5119363 w 5119363"/>
              <a:gd name="connsiteY0" fmla="*/ 0 h 355499"/>
              <a:gd name="connsiteX1" fmla="*/ 0 w 5119363"/>
              <a:gd name="connsiteY1" fmla="*/ 293592 h 355499"/>
              <a:gd name="connsiteX0" fmla="*/ 5119363 w 5119363"/>
              <a:gd name="connsiteY0" fmla="*/ 0 h 309625"/>
              <a:gd name="connsiteX1" fmla="*/ 0 w 5119363"/>
              <a:gd name="connsiteY1" fmla="*/ 293592 h 309625"/>
              <a:gd name="connsiteX0" fmla="*/ 5119363 w 5119363"/>
              <a:gd name="connsiteY0" fmla="*/ 0 h 311247"/>
              <a:gd name="connsiteX1" fmla="*/ 0 w 5119363"/>
              <a:gd name="connsiteY1" fmla="*/ 293592 h 311247"/>
              <a:gd name="connsiteX0" fmla="*/ 5239363 w 5239363"/>
              <a:gd name="connsiteY0" fmla="*/ 0 h 249433"/>
              <a:gd name="connsiteX1" fmla="*/ 0 w 5239363"/>
              <a:gd name="connsiteY1" fmla="*/ 225584 h 249433"/>
              <a:gd name="connsiteX0" fmla="*/ 5239363 w 5239363"/>
              <a:gd name="connsiteY0" fmla="*/ 0 h 248945"/>
              <a:gd name="connsiteX1" fmla="*/ 0 w 5239363"/>
              <a:gd name="connsiteY1" fmla="*/ 225584 h 248945"/>
            </a:gdLst>
            <a:ahLst/>
            <a:cxnLst>
              <a:cxn ang="0">
                <a:pos x="connsiteX0" y="connsiteY0"/>
              </a:cxn>
              <a:cxn ang="0">
                <a:pos x="connsiteX1" y="connsiteY1"/>
              </a:cxn>
            </a:cxnLst>
            <a:rect l="l" t="t" r="r" b="b"/>
            <a:pathLst>
              <a:path w="5239363" h="248945">
                <a:moveTo>
                  <a:pt x="5239363" y="0"/>
                </a:moveTo>
                <a:cubicBezTo>
                  <a:pt x="4605502" y="185229"/>
                  <a:pt x="1878756" y="301039"/>
                  <a:pt x="0" y="225584"/>
                </a:cubicBezTo>
              </a:path>
            </a:pathLst>
          </a:custGeom>
          <a:noFill/>
          <a:ln>
            <a:solidFill>
              <a:schemeClr val="accent1">
                <a:shade val="50000"/>
                <a:alpha val="50000"/>
              </a:schemeClr>
            </a:solidFill>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Овал 50">
            <a:extLst>
              <a:ext uri="{FF2B5EF4-FFF2-40B4-BE49-F238E27FC236}">
                <a16:creationId xmlns:a16="http://schemas.microsoft.com/office/drawing/2014/main" id="{82F7E05C-1C4E-49AE-B476-D4B1D6596461}"/>
              </a:ext>
            </a:extLst>
          </p:cNvPr>
          <p:cNvSpPr/>
          <p:nvPr/>
        </p:nvSpPr>
        <p:spPr>
          <a:xfrm>
            <a:off x="3524049" y="2499400"/>
            <a:ext cx="208630" cy="1404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Полилиния: фигура 48">
            <a:extLst>
              <a:ext uri="{FF2B5EF4-FFF2-40B4-BE49-F238E27FC236}">
                <a16:creationId xmlns:a16="http://schemas.microsoft.com/office/drawing/2014/main" id="{53A53ABD-8B91-4EC7-BE8C-3AB691B0430B}"/>
              </a:ext>
            </a:extLst>
          </p:cNvPr>
          <p:cNvSpPr/>
          <p:nvPr/>
        </p:nvSpPr>
        <p:spPr>
          <a:xfrm rot="181482">
            <a:off x="3612569" y="1986065"/>
            <a:ext cx="431550" cy="756277"/>
          </a:xfrm>
          <a:custGeom>
            <a:avLst/>
            <a:gdLst>
              <a:gd name="connsiteX0" fmla="*/ 3093720 w 3093720"/>
              <a:gd name="connsiteY0" fmla="*/ 449580 h 450860"/>
              <a:gd name="connsiteX1" fmla="*/ 1508760 w 3093720"/>
              <a:gd name="connsiteY1" fmla="*/ 381000 h 450860"/>
              <a:gd name="connsiteX2" fmla="*/ 0 w 3093720"/>
              <a:gd name="connsiteY2" fmla="*/ 0 h 450860"/>
              <a:gd name="connsiteX0" fmla="*/ 3093720 w 3093720"/>
              <a:gd name="connsiteY0" fmla="*/ 449580 h 449580"/>
              <a:gd name="connsiteX1" fmla="*/ 0 w 3093720"/>
              <a:gd name="connsiteY1" fmla="*/ 0 h 449580"/>
              <a:gd name="connsiteX0" fmla="*/ 3048000 w 3048000"/>
              <a:gd name="connsiteY0" fmla="*/ 495300 h 495300"/>
              <a:gd name="connsiteX1" fmla="*/ 0 w 3048000"/>
              <a:gd name="connsiteY1" fmla="*/ 0 h 495300"/>
              <a:gd name="connsiteX0" fmla="*/ 3048000 w 3048000"/>
              <a:gd name="connsiteY0" fmla="*/ 495300 h 495300"/>
              <a:gd name="connsiteX1" fmla="*/ 0 w 3048000"/>
              <a:gd name="connsiteY1" fmla="*/ 0 h 495300"/>
              <a:gd name="connsiteX0" fmla="*/ 3048000 w 3048000"/>
              <a:gd name="connsiteY0" fmla="*/ 495300 h 561799"/>
              <a:gd name="connsiteX1" fmla="*/ 0 w 3048000"/>
              <a:gd name="connsiteY1" fmla="*/ 0 h 561799"/>
              <a:gd name="connsiteX0" fmla="*/ 3070860 w 3070860"/>
              <a:gd name="connsiteY0" fmla="*/ 495300 h 561799"/>
              <a:gd name="connsiteX1" fmla="*/ 0 w 3070860"/>
              <a:gd name="connsiteY1" fmla="*/ 0 h 561799"/>
              <a:gd name="connsiteX0" fmla="*/ 3070860 w 3070860"/>
              <a:gd name="connsiteY0" fmla="*/ 495300 h 625710"/>
              <a:gd name="connsiteX1" fmla="*/ 0 w 3070860"/>
              <a:gd name="connsiteY1" fmla="*/ 0 h 625710"/>
              <a:gd name="connsiteX0" fmla="*/ 3070860 w 3070860"/>
              <a:gd name="connsiteY0" fmla="*/ 495300 h 571862"/>
              <a:gd name="connsiteX1" fmla="*/ 0 w 3070860"/>
              <a:gd name="connsiteY1" fmla="*/ 0 h 571862"/>
              <a:gd name="connsiteX0" fmla="*/ 3093720 w 3093720"/>
              <a:gd name="connsiteY0" fmla="*/ 464820 h 548281"/>
              <a:gd name="connsiteX1" fmla="*/ 0 w 3093720"/>
              <a:gd name="connsiteY1" fmla="*/ 0 h 548281"/>
              <a:gd name="connsiteX0" fmla="*/ 3093720 w 3093720"/>
              <a:gd name="connsiteY0" fmla="*/ 464820 h 524715"/>
              <a:gd name="connsiteX1" fmla="*/ 0 w 3093720"/>
              <a:gd name="connsiteY1" fmla="*/ 0 h 524715"/>
              <a:gd name="connsiteX0" fmla="*/ 2896573 w 2896574"/>
              <a:gd name="connsiteY0" fmla="*/ 202063 h 334441"/>
              <a:gd name="connsiteX1" fmla="*/ 0 w 2896574"/>
              <a:gd name="connsiteY1" fmla="*/ 0 h 334441"/>
              <a:gd name="connsiteX0" fmla="*/ 2896573 w 2896574"/>
              <a:gd name="connsiteY0" fmla="*/ 202063 h 328708"/>
              <a:gd name="connsiteX1" fmla="*/ 0 w 2896574"/>
              <a:gd name="connsiteY1" fmla="*/ 0 h 328708"/>
              <a:gd name="connsiteX0" fmla="*/ 2682296 w 2682297"/>
              <a:gd name="connsiteY0" fmla="*/ 251643 h 358254"/>
              <a:gd name="connsiteX1" fmla="*/ 0 w 2682297"/>
              <a:gd name="connsiteY1" fmla="*/ 0 h 358254"/>
              <a:gd name="connsiteX0" fmla="*/ 2682296 w 2682297"/>
              <a:gd name="connsiteY0" fmla="*/ 251643 h 342032"/>
              <a:gd name="connsiteX1" fmla="*/ 0 w 2682297"/>
              <a:gd name="connsiteY1" fmla="*/ 0 h 342032"/>
              <a:gd name="connsiteX0" fmla="*/ 579245 w 579244"/>
              <a:gd name="connsiteY0" fmla="*/ 458406 h 506212"/>
              <a:gd name="connsiteX1" fmla="*/ 0 w 579244"/>
              <a:gd name="connsiteY1" fmla="*/ 0 h 506212"/>
              <a:gd name="connsiteX0" fmla="*/ 579245 w 579244"/>
              <a:gd name="connsiteY0" fmla="*/ 458406 h 458406"/>
              <a:gd name="connsiteX1" fmla="*/ 0 w 579244"/>
              <a:gd name="connsiteY1" fmla="*/ 0 h 458406"/>
              <a:gd name="connsiteX0" fmla="*/ 711040 w 711039"/>
              <a:gd name="connsiteY0" fmla="*/ 458406 h 458406"/>
              <a:gd name="connsiteX1" fmla="*/ 131795 w 711039"/>
              <a:gd name="connsiteY1" fmla="*/ 0 h 458406"/>
              <a:gd name="connsiteX0" fmla="*/ 927185 w 927184"/>
              <a:gd name="connsiteY0" fmla="*/ 486741 h 486741"/>
              <a:gd name="connsiteX1" fmla="*/ 82460 w 927184"/>
              <a:gd name="connsiteY1" fmla="*/ 0 h 486741"/>
              <a:gd name="connsiteX0" fmla="*/ 849326 w 849325"/>
              <a:gd name="connsiteY0" fmla="*/ 486741 h 486741"/>
              <a:gd name="connsiteX1" fmla="*/ 4601 w 849325"/>
              <a:gd name="connsiteY1" fmla="*/ 0 h 486741"/>
              <a:gd name="connsiteX0" fmla="*/ 847721 w 847720"/>
              <a:gd name="connsiteY0" fmla="*/ 486741 h 486741"/>
              <a:gd name="connsiteX1" fmla="*/ 358940 w 847720"/>
              <a:gd name="connsiteY1" fmla="*/ 369683 h 486741"/>
              <a:gd name="connsiteX2" fmla="*/ 2996 w 847720"/>
              <a:gd name="connsiteY2" fmla="*/ 0 h 486741"/>
              <a:gd name="connsiteX0" fmla="*/ 905209 w 905210"/>
              <a:gd name="connsiteY0" fmla="*/ 518529 h 518529"/>
              <a:gd name="connsiteX1" fmla="*/ 358936 w 905210"/>
              <a:gd name="connsiteY1" fmla="*/ 369683 h 518529"/>
              <a:gd name="connsiteX2" fmla="*/ 2992 w 905210"/>
              <a:gd name="connsiteY2" fmla="*/ 0 h 518529"/>
              <a:gd name="connsiteX0" fmla="*/ 905209 w 905210"/>
              <a:gd name="connsiteY0" fmla="*/ 518529 h 518529"/>
              <a:gd name="connsiteX1" fmla="*/ 358936 w 905210"/>
              <a:gd name="connsiteY1" fmla="*/ 369683 h 518529"/>
              <a:gd name="connsiteX2" fmla="*/ 2992 w 905210"/>
              <a:gd name="connsiteY2" fmla="*/ 0 h 518529"/>
              <a:gd name="connsiteX0" fmla="*/ 902219 w 902220"/>
              <a:gd name="connsiteY0" fmla="*/ 518529 h 518529"/>
              <a:gd name="connsiteX1" fmla="*/ 2 w 902220"/>
              <a:gd name="connsiteY1" fmla="*/ 0 h 518529"/>
              <a:gd name="connsiteX0" fmla="*/ 717475 w 717476"/>
              <a:gd name="connsiteY0" fmla="*/ 505225 h 505225"/>
              <a:gd name="connsiteX1" fmla="*/ 1 w 717476"/>
              <a:gd name="connsiteY1" fmla="*/ 0 h 505225"/>
              <a:gd name="connsiteX0" fmla="*/ 721789 w 721790"/>
              <a:gd name="connsiteY0" fmla="*/ 505225 h 505225"/>
              <a:gd name="connsiteX1" fmla="*/ 4315 w 721790"/>
              <a:gd name="connsiteY1" fmla="*/ 0 h 505225"/>
              <a:gd name="connsiteX0" fmla="*/ 726898 w 726899"/>
              <a:gd name="connsiteY0" fmla="*/ 505225 h 505225"/>
              <a:gd name="connsiteX1" fmla="*/ 9424 w 726899"/>
              <a:gd name="connsiteY1" fmla="*/ 0 h 505225"/>
              <a:gd name="connsiteX0" fmla="*/ 872348 w 872347"/>
              <a:gd name="connsiteY0" fmla="*/ 478224 h 478224"/>
              <a:gd name="connsiteX1" fmla="*/ 6163 w 872347"/>
              <a:gd name="connsiteY1" fmla="*/ 0 h 478224"/>
              <a:gd name="connsiteX0" fmla="*/ 1004448 w 1004447"/>
              <a:gd name="connsiteY0" fmla="*/ 478224 h 485647"/>
              <a:gd name="connsiteX1" fmla="*/ 138263 w 1004447"/>
              <a:gd name="connsiteY1" fmla="*/ 0 h 485647"/>
              <a:gd name="connsiteX0" fmla="*/ 1104542 w 1104541"/>
              <a:gd name="connsiteY0" fmla="*/ 478224 h 483517"/>
              <a:gd name="connsiteX1" fmla="*/ 238357 w 1104541"/>
              <a:gd name="connsiteY1" fmla="*/ 0 h 483517"/>
              <a:gd name="connsiteX0" fmla="*/ 1144889 w 1144888"/>
              <a:gd name="connsiteY0" fmla="*/ 482076 h 487324"/>
              <a:gd name="connsiteX1" fmla="*/ 216798 w 1144888"/>
              <a:gd name="connsiteY1" fmla="*/ 0 h 487324"/>
              <a:gd name="connsiteX0" fmla="*/ 1088609 w 1088608"/>
              <a:gd name="connsiteY0" fmla="*/ 482076 h 487846"/>
              <a:gd name="connsiteX1" fmla="*/ 160518 w 1088608"/>
              <a:gd name="connsiteY1" fmla="*/ 0 h 487846"/>
            </a:gdLst>
            <a:ahLst/>
            <a:cxnLst>
              <a:cxn ang="0">
                <a:pos x="connsiteX0" y="connsiteY0"/>
              </a:cxn>
              <a:cxn ang="0">
                <a:pos x="connsiteX1" y="connsiteY1"/>
              </a:cxn>
            </a:cxnLst>
            <a:rect l="l" t="t" r="r" b="b"/>
            <a:pathLst>
              <a:path w="1088608" h="487846">
                <a:moveTo>
                  <a:pt x="1088609" y="482076"/>
                </a:moveTo>
                <a:cubicBezTo>
                  <a:pt x="-355983" y="538088"/>
                  <a:pt x="-4183" y="172117"/>
                  <a:pt x="160518" y="0"/>
                </a:cubicBezTo>
              </a:path>
            </a:pathLst>
          </a:custGeom>
          <a:noFill/>
          <a:ln>
            <a:tailEnd type="arrow"/>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28004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12D872A-7706-47BF-8425-D8D08B7CDE96}"/>
              </a:ext>
            </a:extLst>
          </p:cNvPr>
          <p:cNvSpPr>
            <a:spLocks noGrp="1"/>
          </p:cNvSpPr>
          <p:nvPr>
            <p:ph type="title"/>
          </p:nvPr>
        </p:nvSpPr>
        <p:spPr>
          <a:xfrm>
            <a:off x="425873" y="304247"/>
            <a:ext cx="11166196" cy="458926"/>
          </a:xfrm>
        </p:spPr>
        <p:txBody>
          <a:bodyPr/>
          <a:lstStyle/>
          <a:p>
            <a:r>
              <a:rPr lang="ru-RU" sz="2800"/>
              <a:t>Альтернативный подход к трансформациям</a:t>
            </a:r>
          </a:p>
        </p:txBody>
      </p:sp>
      <p:sp>
        <p:nvSpPr>
          <p:cNvPr id="11" name="TextBox 10">
            <a:extLst>
              <a:ext uri="{FF2B5EF4-FFF2-40B4-BE49-F238E27FC236}">
                <a16:creationId xmlns:a16="http://schemas.microsoft.com/office/drawing/2014/main" id="{33751DF0-CB3C-4DBA-9D2B-3913CBF837CA}"/>
              </a:ext>
            </a:extLst>
          </p:cNvPr>
          <p:cNvSpPr txBox="1"/>
          <p:nvPr/>
        </p:nvSpPr>
        <p:spPr>
          <a:xfrm>
            <a:off x="416349" y="3538688"/>
            <a:ext cx="3546052" cy="2677656"/>
          </a:xfrm>
          <a:prstGeom prst="rect">
            <a:avLst/>
          </a:prstGeom>
          <a:noFill/>
        </p:spPr>
        <p:txBody>
          <a:bodyPr wrap="square">
            <a:spAutoFit/>
          </a:bodyPr>
          <a:lstStyle/>
          <a:p>
            <a:endParaRPr lang="ru-RU" sz="1400" b="0" i="0">
              <a:solidFill>
                <a:srgbClr val="000000"/>
              </a:solidFill>
              <a:effectLst/>
            </a:endParaRPr>
          </a:p>
          <a:p>
            <a:r>
              <a:rPr lang="ru-RU" sz="1400" b="0" i="0">
                <a:solidFill>
                  <a:srgbClr val="000000"/>
                </a:solidFill>
                <a:effectLst/>
              </a:rPr>
              <a:t>Все новые бизнес-модели, способы организации и ведения бизнеса, </a:t>
            </a:r>
            <a:br>
              <a:rPr lang="ru-RU" sz="1400" b="0" i="0">
                <a:solidFill>
                  <a:srgbClr val="000000"/>
                </a:solidFill>
                <a:effectLst/>
              </a:rPr>
            </a:br>
            <a:r>
              <a:rPr lang="ru-RU" sz="1400" b="0" i="0">
                <a:solidFill>
                  <a:srgbClr val="000000"/>
                </a:solidFill>
                <a:effectLst/>
              </a:rPr>
              <a:t>то, как мы взаимодействуем с другими </a:t>
            </a:r>
            <a:br>
              <a:rPr lang="ru-RU" sz="1400" b="0" i="0">
                <a:solidFill>
                  <a:srgbClr val="000000"/>
                </a:solidFill>
                <a:effectLst/>
              </a:rPr>
            </a:br>
            <a:r>
              <a:rPr lang="ru-RU" sz="1400" b="0" i="0">
                <a:solidFill>
                  <a:srgbClr val="000000"/>
                </a:solidFill>
                <a:effectLst/>
              </a:rPr>
              <a:t>и как мы мотивируем участников, - всё будет запускаться и расти здесь, </a:t>
            </a:r>
            <a:br>
              <a:rPr lang="ru-RU" sz="1400" b="0" i="0">
                <a:solidFill>
                  <a:srgbClr val="000000"/>
                </a:solidFill>
                <a:effectLst/>
              </a:rPr>
            </a:br>
            <a:r>
              <a:rPr lang="ru-RU" sz="1400" b="0" i="0">
                <a:solidFill>
                  <a:srgbClr val="000000"/>
                </a:solidFill>
                <a:effectLst/>
              </a:rPr>
              <a:t>где способы ведения бизнеса только начинают формироваться. Поскольку инициатива зреет на краю бизнеса, </a:t>
            </a:r>
            <a:br>
              <a:rPr lang="ru-RU" sz="1400" b="0" i="0">
                <a:solidFill>
                  <a:srgbClr val="000000"/>
                </a:solidFill>
                <a:effectLst/>
              </a:rPr>
            </a:br>
            <a:r>
              <a:rPr lang="ru-RU" sz="1400" b="0" i="0">
                <a:solidFill>
                  <a:srgbClr val="000000"/>
                </a:solidFill>
                <a:effectLst/>
              </a:rPr>
              <a:t>новое предприятие создаётся с нуля, </a:t>
            </a:r>
            <a:br>
              <a:rPr lang="ru-RU" sz="1400" b="0" i="0">
                <a:solidFill>
                  <a:srgbClr val="000000"/>
                </a:solidFill>
                <a:effectLst/>
              </a:rPr>
            </a:br>
            <a:r>
              <a:rPr lang="ru-RU" sz="1400" b="0" i="0">
                <a:solidFill>
                  <a:srgbClr val="000000"/>
                </a:solidFill>
                <a:effectLst/>
              </a:rPr>
              <a:t>то потенциальное внутреннее сопротивление будет меньшим.</a:t>
            </a:r>
          </a:p>
        </p:txBody>
      </p:sp>
      <p:pic>
        <p:nvPicPr>
          <p:cNvPr id="8201" name="Picture 9">
            <a:extLst>
              <a:ext uri="{FF2B5EF4-FFF2-40B4-BE49-F238E27FC236}">
                <a16:creationId xmlns:a16="http://schemas.microsoft.com/office/drawing/2014/main" id="{74BFB906-6CF0-4F9C-9D12-676FC10307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2432" y="1113511"/>
            <a:ext cx="7287019" cy="39940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D83C939-F431-4967-B306-244AEA0B1246}"/>
              </a:ext>
            </a:extLst>
          </p:cNvPr>
          <p:cNvSpPr txBox="1"/>
          <p:nvPr/>
        </p:nvSpPr>
        <p:spPr>
          <a:xfrm>
            <a:off x="416348" y="1319003"/>
            <a:ext cx="4096085" cy="307777"/>
          </a:xfrm>
          <a:prstGeom prst="rect">
            <a:avLst/>
          </a:prstGeom>
          <a:noFill/>
        </p:spPr>
        <p:txBody>
          <a:bodyPr wrap="square">
            <a:spAutoFit/>
          </a:bodyPr>
          <a:lstStyle/>
          <a:p>
            <a:r>
              <a:rPr lang="ru-RU" sz="1400" b="0" i="0">
                <a:solidFill>
                  <a:srgbClr val="000000"/>
                </a:solidFill>
                <a:effectLst/>
              </a:rPr>
              <a:t>Цель состоит в том, чтобы </a:t>
            </a:r>
            <a:endParaRPr lang="ru-RU" sz="1400"/>
          </a:p>
        </p:txBody>
      </p:sp>
      <p:sp>
        <p:nvSpPr>
          <p:cNvPr id="9" name="TextBox 8">
            <a:extLst>
              <a:ext uri="{FF2B5EF4-FFF2-40B4-BE49-F238E27FC236}">
                <a16:creationId xmlns:a16="http://schemas.microsoft.com/office/drawing/2014/main" id="{FCAF9E57-694C-493E-8063-5AB6F018D9C0}"/>
              </a:ext>
            </a:extLst>
          </p:cNvPr>
          <p:cNvSpPr txBox="1"/>
          <p:nvPr/>
        </p:nvSpPr>
        <p:spPr>
          <a:xfrm>
            <a:off x="416348" y="1668167"/>
            <a:ext cx="5274333" cy="2062103"/>
          </a:xfrm>
          <a:prstGeom prst="rect">
            <a:avLst/>
          </a:prstGeom>
          <a:noFill/>
        </p:spPr>
        <p:txBody>
          <a:bodyPr wrap="square">
            <a:spAutoFit/>
          </a:bodyPr>
          <a:lstStyle/>
          <a:p>
            <a:pPr>
              <a:lnSpc>
                <a:spcPct val="80000"/>
              </a:lnSpc>
            </a:pPr>
            <a:r>
              <a:rPr lang="ru-RU" sz="4000" b="0" i="0">
                <a:solidFill>
                  <a:schemeClr val="accent3"/>
                </a:solidFill>
                <a:effectLst/>
                <a:latin typeface="+mj-lt"/>
              </a:rPr>
              <a:t>сдвинуть трансформацию </a:t>
            </a:r>
            <a:br>
              <a:rPr lang="ru-RU" sz="4000" b="0" i="0">
                <a:solidFill>
                  <a:schemeClr val="accent3"/>
                </a:solidFill>
                <a:effectLst/>
                <a:latin typeface="+mj-lt"/>
              </a:rPr>
            </a:br>
            <a:r>
              <a:rPr lang="ru-RU" sz="4000" b="0" i="0">
                <a:solidFill>
                  <a:schemeClr val="accent3"/>
                </a:solidFill>
                <a:effectLst/>
                <a:latin typeface="+mj-lt"/>
              </a:rPr>
              <a:t>от края в центр</a:t>
            </a:r>
            <a:endParaRPr lang="ru-RU" sz="4000">
              <a:solidFill>
                <a:schemeClr val="accent3"/>
              </a:solidFill>
              <a:latin typeface="+mj-lt"/>
            </a:endParaRPr>
          </a:p>
          <a:p>
            <a:pPr>
              <a:lnSpc>
                <a:spcPct val="80000"/>
              </a:lnSpc>
            </a:pPr>
            <a:r>
              <a:rPr lang="ru-RU" sz="4000" b="0" i="0">
                <a:solidFill>
                  <a:schemeClr val="accent3"/>
                </a:solidFill>
                <a:effectLst/>
                <a:latin typeface="+mj-lt"/>
              </a:rPr>
              <a:t> </a:t>
            </a:r>
            <a:endParaRPr lang="ru-RU" sz="4000">
              <a:solidFill>
                <a:schemeClr val="accent3"/>
              </a:solidFill>
              <a:latin typeface="+mj-lt"/>
            </a:endParaRPr>
          </a:p>
        </p:txBody>
      </p:sp>
      <p:sp>
        <p:nvSpPr>
          <p:cNvPr id="12" name="TextBox 11">
            <a:extLst>
              <a:ext uri="{FF2B5EF4-FFF2-40B4-BE49-F238E27FC236}">
                <a16:creationId xmlns:a16="http://schemas.microsoft.com/office/drawing/2014/main" id="{E59EB1A4-F1D0-4E97-8577-54A646647148}"/>
              </a:ext>
            </a:extLst>
          </p:cNvPr>
          <p:cNvSpPr txBox="1"/>
          <p:nvPr/>
        </p:nvSpPr>
        <p:spPr>
          <a:xfrm>
            <a:off x="4803104" y="5292610"/>
            <a:ext cx="6679921" cy="954107"/>
          </a:xfrm>
          <a:prstGeom prst="rect">
            <a:avLst/>
          </a:prstGeom>
          <a:noFill/>
        </p:spPr>
        <p:txBody>
          <a:bodyPr wrap="square">
            <a:spAutoFit/>
          </a:bodyPr>
          <a:lstStyle/>
          <a:p>
            <a:r>
              <a:rPr lang="ru-RU" sz="1400" b="0" i="0">
                <a:solidFill>
                  <a:srgbClr val="000000"/>
                </a:solidFill>
                <a:effectLst/>
              </a:rPr>
              <a:t>Трансформация и масштабирование на периферии основного бизнеса фокусируется на том, что проект будет развиваться на том же месте. Постепенно его импульс и привлекательность притянут больше людей и ресурсов в проект </a:t>
            </a:r>
            <a:br>
              <a:rPr lang="ru-RU" sz="1400" b="0" i="0">
                <a:solidFill>
                  <a:srgbClr val="000000"/>
                </a:solidFill>
                <a:effectLst/>
              </a:rPr>
            </a:br>
            <a:r>
              <a:rPr lang="ru-RU" sz="1400" b="0" i="0">
                <a:solidFill>
                  <a:srgbClr val="000000"/>
                </a:solidFill>
                <a:effectLst/>
              </a:rPr>
              <a:t>из ядра. И так будет происходить, пока этот край не станет новым центром.</a:t>
            </a:r>
            <a:endParaRPr lang="ru-RU" sz="1400"/>
          </a:p>
        </p:txBody>
      </p:sp>
    </p:spTree>
    <p:extLst>
      <p:ext uri="{BB962C8B-B14F-4D97-AF65-F5344CB8AC3E}">
        <p14:creationId xmlns:p14="http://schemas.microsoft.com/office/powerpoint/2010/main" val="8719589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2A32E48-0C4A-4BA4-A688-9FA0AED4363C}"/>
              </a:ext>
            </a:extLst>
          </p:cNvPr>
          <p:cNvSpPr>
            <a:spLocks noGrp="1"/>
          </p:cNvSpPr>
          <p:nvPr>
            <p:ph type="title"/>
          </p:nvPr>
        </p:nvSpPr>
        <p:spPr>
          <a:xfrm>
            <a:off x="511847" y="305968"/>
            <a:ext cx="11164215" cy="536128"/>
          </a:xfrm>
        </p:spPr>
        <p:txBody>
          <a:bodyPr>
            <a:normAutofit/>
          </a:bodyPr>
          <a:lstStyle/>
          <a:p>
            <a:r>
              <a:rPr lang="ru-RU" sz="2800"/>
              <a:t>Эмоциональный цикл перемен</a:t>
            </a:r>
          </a:p>
        </p:txBody>
      </p:sp>
      <p:sp>
        <p:nvSpPr>
          <p:cNvPr id="8" name="Текст 7">
            <a:extLst>
              <a:ext uri="{FF2B5EF4-FFF2-40B4-BE49-F238E27FC236}">
                <a16:creationId xmlns:a16="http://schemas.microsoft.com/office/drawing/2014/main" id="{ED5B3858-C928-4312-8CFC-C6995DD9711D}"/>
              </a:ext>
            </a:extLst>
          </p:cNvPr>
          <p:cNvSpPr>
            <a:spLocks noGrp="1"/>
          </p:cNvSpPr>
          <p:nvPr>
            <p:ph type="body" sz="quarter" idx="11"/>
          </p:nvPr>
        </p:nvSpPr>
        <p:spPr/>
        <p:txBody>
          <a:bodyPr/>
          <a:lstStyle/>
          <a:p>
            <a:endParaRPr lang="ru-RU"/>
          </a:p>
        </p:txBody>
      </p:sp>
      <p:pic>
        <p:nvPicPr>
          <p:cNvPr id="4" name="Рисунок 3">
            <a:extLst>
              <a:ext uri="{FF2B5EF4-FFF2-40B4-BE49-F238E27FC236}">
                <a16:creationId xmlns:a16="http://schemas.microsoft.com/office/drawing/2014/main" id="{F970781C-F14E-4824-B40C-5F7567669526}"/>
              </a:ext>
            </a:extLst>
          </p:cNvPr>
          <p:cNvPicPr>
            <a:picLocks noChangeAspect="1"/>
          </p:cNvPicPr>
          <p:nvPr/>
        </p:nvPicPr>
        <p:blipFill rotWithShape="1">
          <a:blip r:embed="rId2"/>
          <a:srcRect t="12193"/>
          <a:stretch/>
        </p:blipFill>
        <p:spPr>
          <a:xfrm>
            <a:off x="12387904" y="3086100"/>
            <a:ext cx="4486939" cy="2628900"/>
          </a:xfrm>
          <a:prstGeom prst="rect">
            <a:avLst/>
          </a:prstGeom>
        </p:spPr>
      </p:pic>
      <p:sp>
        <p:nvSpPr>
          <p:cNvPr id="7" name="TextBox 6">
            <a:extLst>
              <a:ext uri="{FF2B5EF4-FFF2-40B4-BE49-F238E27FC236}">
                <a16:creationId xmlns:a16="http://schemas.microsoft.com/office/drawing/2014/main" id="{003A8205-AE63-4210-98DF-C7EC332995BF}"/>
              </a:ext>
            </a:extLst>
          </p:cNvPr>
          <p:cNvSpPr txBox="1"/>
          <p:nvPr/>
        </p:nvSpPr>
        <p:spPr>
          <a:xfrm>
            <a:off x="1632248" y="1601752"/>
            <a:ext cx="2272982" cy="424732"/>
          </a:xfrm>
          <a:prstGeom prst="rect">
            <a:avLst/>
          </a:prstGeom>
          <a:noFill/>
        </p:spPr>
        <p:txBody>
          <a:bodyPr wrap="square" lIns="108000" rtlCol="0">
            <a:spAutoFit/>
          </a:bodyPr>
          <a:lstStyle/>
          <a:p>
            <a:pPr>
              <a:lnSpc>
                <a:spcPct val="80000"/>
              </a:lnSpc>
            </a:pPr>
            <a:r>
              <a:rPr lang="ru-RU" sz="1300">
                <a:solidFill>
                  <a:schemeClr val="accent6">
                    <a:lumMod val="75000"/>
                  </a:schemeClr>
                </a:solidFill>
                <a:latin typeface="+mj-lt"/>
              </a:rPr>
              <a:t>Неинформированный оптимизм</a:t>
            </a:r>
            <a:endParaRPr lang="ru-RU" sz="1300">
              <a:solidFill>
                <a:schemeClr val="accent6">
                  <a:lumMod val="75000"/>
                </a:schemeClr>
              </a:solidFill>
            </a:endParaRPr>
          </a:p>
        </p:txBody>
      </p:sp>
      <p:sp>
        <p:nvSpPr>
          <p:cNvPr id="9" name="TextBox 8">
            <a:extLst>
              <a:ext uri="{FF2B5EF4-FFF2-40B4-BE49-F238E27FC236}">
                <a16:creationId xmlns:a16="http://schemas.microsoft.com/office/drawing/2014/main" id="{B66133A7-3EEB-45D6-94A4-0F1AD02C57AF}"/>
              </a:ext>
            </a:extLst>
          </p:cNvPr>
          <p:cNvSpPr txBox="1"/>
          <p:nvPr/>
        </p:nvSpPr>
        <p:spPr>
          <a:xfrm>
            <a:off x="1632248" y="2920944"/>
            <a:ext cx="1069022" cy="292388"/>
          </a:xfrm>
          <a:prstGeom prst="rect">
            <a:avLst/>
          </a:prstGeom>
          <a:noFill/>
        </p:spPr>
        <p:txBody>
          <a:bodyPr wrap="square" lIns="108000" rtlCol="0">
            <a:spAutoFit/>
          </a:bodyPr>
          <a:lstStyle/>
          <a:p>
            <a:r>
              <a:rPr lang="ru-RU" sz="1300">
                <a:solidFill>
                  <a:schemeClr val="accent6">
                    <a:lumMod val="75000"/>
                  </a:schemeClr>
                </a:solidFill>
                <a:latin typeface="+mj-lt"/>
              </a:rPr>
              <a:t>Шок</a:t>
            </a:r>
            <a:endParaRPr lang="ru-RU" sz="1300">
              <a:solidFill>
                <a:schemeClr val="accent6">
                  <a:lumMod val="75000"/>
                </a:schemeClr>
              </a:solidFill>
            </a:endParaRPr>
          </a:p>
        </p:txBody>
      </p:sp>
      <p:sp>
        <p:nvSpPr>
          <p:cNvPr id="10" name="TextBox 9">
            <a:extLst>
              <a:ext uri="{FF2B5EF4-FFF2-40B4-BE49-F238E27FC236}">
                <a16:creationId xmlns:a16="http://schemas.microsoft.com/office/drawing/2014/main" id="{D1DF150B-72E4-493E-8FCF-8218B58AD940}"/>
              </a:ext>
            </a:extLst>
          </p:cNvPr>
          <p:cNvSpPr txBox="1"/>
          <p:nvPr/>
        </p:nvSpPr>
        <p:spPr>
          <a:xfrm rot="16200000">
            <a:off x="124777" y="1134710"/>
            <a:ext cx="1149353" cy="480131"/>
          </a:xfrm>
          <a:prstGeom prst="rect">
            <a:avLst/>
          </a:prstGeom>
          <a:noFill/>
        </p:spPr>
        <p:txBody>
          <a:bodyPr wrap="square" lIns="108000" rtlCol="0">
            <a:spAutoFit/>
          </a:bodyPr>
          <a:lstStyle/>
          <a:p>
            <a:pPr>
              <a:lnSpc>
                <a:spcPct val="90000"/>
              </a:lnSpc>
            </a:pPr>
            <a:r>
              <a:rPr lang="ru-RU" sz="1400">
                <a:solidFill>
                  <a:schemeClr val="accent3"/>
                </a:solidFill>
                <a:latin typeface="+mj-lt"/>
              </a:rPr>
              <a:t>Реакция оптимиста</a:t>
            </a:r>
            <a:endParaRPr lang="ru-RU" sz="1350">
              <a:solidFill>
                <a:schemeClr val="accent3"/>
              </a:solidFill>
              <a:latin typeface="+mj-lt"/>
            </a:endParaRPr>
          </a:p>
        </p:txBody>
      </p:sp>
      <p:sp>
        <p:nvSpPr>
          <p:cNvPr id="11" name="TextBox 10">
            <a:extLst>
              <a:ext uri="{FF2B5EF4-FFF2-40B4-BE49-F238E27FC236}">
                <a16:creationId xmlns:a16="http://schemas.microsoft.com/office/drawing/2014/main" id="{9E8B40DB-EA7D-4E69-882F-5DE9AFAF69AF}"/>
              </a:ext>
            </a:extLst>
          </p:cNvPr>
          <p:cNvSpPr txBox="1"/>
          <p:nvPr/>
        </p:nvSpPr>
        <p:spPr>
          <a:xfrm rot="16200000">
            <a:off x="80647" y="3368957"/>
            <a:ext cx="1237615" cy="480131"/>
          </a:xfrm>
          <a:prstGeom prst="rect">
            <a:avLst/>
          </a:prstGeom>
          <a:noFill/>
        </p:spPr>
        <p:txBody>
          <a:bodyPr wrap="square" lIns="108000" rtlCol="0">
            <a:spAutoFit/>
          </a:bodyPr>
          <a:lstStyle/>
          <a:p>
            <a:pPr algn="r">
              <a:lnSpc>
                <a:spcPct val="90000"/>
              </a:lnSpc>
            </a:pPr>
            <a:r>
              <a:rPr lang="ru-RU" sz="1400">
                <a:solidFill>
                  <a:schemeClr val="accent5"/>
                </a:solidFill>
                <a:latin typeface="+mj-lt"/>
              </a:rPr>
              <a:t>Реакция пессимиста</a:t>
            </a:r>
            <a:endParaRPr lang="ru-RU" sz="1350">
              <a:solidFill>
                <a:schemeClr val="accent5"/>
              </a:solidFill>
              <a:latin typeface="+mj-lt"/>
            </a:endParaRPr>
          </a:p>
        </p:txBody>
      </p:sp>
      <p:sp>
        <p:nvSpPr>
          <p:cNvPr id="12" name="TextBox 11">
            <a:extLst>
              <a:ext uri="{FF2B5EF4-FFF2-40B4-BE49-F238E27FC236}">
                <a16:creationId xmlns:a16="http://schemas.microsoft.com/office/drawing/2014/main" id="{C5E117EF-BCA0-436A-8DA8-0BDD89B4A660}"/>
              </a:ext>
            </a:extLst>
          </p:cNvPr>
          <p:cNvSpPr txBox="1"/>
          <p:nvPr/>
        </p:nvSpPr>
        <p:spPr>
          <a:xfrm>
            <a:off x="4203906" y="2537933"/>
            <a:ext cx="2272982" cy="424732"/>
          </a:xfrm>
          <a:prstGeom prst="rect">
            <a:avLst/>
          </a:prstGeom>
          <a:noFill/>
        </p:spPr>
        <p:txBody>
          <a:bodyPr wrap="square" lIns="108000" rtlCol="0">
            <a:spAutoFit/>
          </a:bodyPr>
          <a:lstStyle/>
          <a:p>
            <a:pPr>
              <a:lnSpc>
                <a:spcPct val="80000"/>
              </a:lnSpc>
            </a:pPr>
            <a:r>
              <a:rPr lang="ru-RU" sz="1300">
                <a:solidFill>
                  <a:schemeClr val="accent6">
                    <a:lumMod val="75000"/>
                  </a:schemeClr>
                </a:solidFill>
                <a:latin typeface="+mj-lt"/>
              </a:rPr>
              <a:t>Информированный пессимизм</a:t>
            </a:r>
            <a:endParaRPr lang="ru-RU" sz="1300">
              <a:solidFill>
                <a:schemeClr val="accent6">
                  <a:lumMod val="75000"/>
                </a:schemeClr>
              </a:solidFill>
            </a:endParaRPr>
          </a:p>
        </p:txBody>
      </p:sp>
      <p:sp>
        <p:nvSpPr>
          <p:cNvPr id="15" name="TextBox 14">
            <a:extLst>
              <a:ext uri="{FF2B5EF4-FFF2-40B4-BE49-F238E27FC236}">
                <a16:creationId xmlns:a16="http://schemas.microsoft.com/office/drawing/2014/main" id="{AFFF3B4D-02EB-4DF8-BEE4-A2E86056C910}"/>
              </a:ext>
            </a:extLst>
          </p:cNvPr>
          <p:cNvSpPr txBox="1"/>
          <p:nvPr/>
        </p:nvSpPr>
        <p:spPr>
          <a:xfrm>
            <a:off x="6491288" y="5674628"/>
            <a:ext cx="1964711" cy="292388"/>
          </a:xfrm>
          <a:prstGeom prst="rect">
            <a:avLst/>
          </a:prstGeom>
          <a:noFill/>
        </p:spPr>
        <p:txBody>
          <a:bodyPr wrap="square" lIns="108000" rtlCol="0">
            <a:spAutoFit/>
          </a:bodyPr>
          <a:lstStyle/>
          <a:p>
            <a:r>
              <a:rPr lang="ru-RU" sz="1300">
                <a:solidFill>
                  <a:schemeClr val="accent6">
                    <a:lumMod val="75000"/>
                  </a:schemeClr>
                </a:solidFill>
                <a:latin typeface="+mj-lt"/>
              </a:rPr>
              <a:t>Отказ продолжать</a:t>
            </a:r>
            <a:endParaRPr lang="ru-RU" sz="1300">
              <a:solidFill>
                <a:schemeClr val="accent6">
                  <a:lumMod val="75000"/>
                </a:schemeClr>
              </a:solidFill>
            </a:endParaRPr>
          </a:p>
        </p:txBody>
      </p:sp>
      <p:sp>
        <p:nvSpPr>
          <p:cNvPr id="16" name="TextBox 15">
            <a:extLst>
              <a:ext uri="{FF2B5EF4-FFF2-40B4-BE49-F238E27FC236}">
                <a16:creationId xmlns:a16="http://schemas.microsoft.com/office/drawing/2014/main" id="{B88E4B07-E6E3-435E-9DD6-451C218D4D0E}"/>
              </a:ext>
            </a:extLst>
          </p:cNvPr>
          <p:cNvSpPr txBox="1"/>
          <p:nvPr/>
        </p:nvSpPr>
        <p:spPr>
          <a:xfrm>
            <a:off x="6563288" y="3132200"/>
            <a:ext cx="1389432" cy="424732"/>
          </a:xfrm>
          <a:prstGeom prst="rect">
            <a:avLst/>
          </a:prstGeom>
          <a:noFill/>
        </p:spPr>
        <p:txBody>
          <a:bodyPr wrap="square" lIns="108000" rtlCol="0">
            <a:spAutoFit/>
          </a:bodyPr>
          <a:lstStyle/>
          <a:p>
            <a:pPr algn="r">
              <a:lnSpc>
                <a:spcPct val="80000"/>
              </a:lnSpc>
            </a:pPr>
            <a:r>
              <a:rPr lang="ru-RU" sz="1300">
                <a:solidFill>
                  <a:schemeClr val="accent6">
                    <a:lumMod val="75000"/>
                  </a:schemeClr>
                </a:solidFill>
                <a:latin typeface="+mj-lt"/>
              </a:rPr>
              <a:t>Робкий реализм</a:t>
            </a:r>
            <a:endParaRPr lang="ru-RU" sz="1300">
              <a:solidFill>
                <a:schemeClr val="accent6">
                  <a:lumMod val="75000"/>
                </a:schemeClr>
              </a:solidFill>
            </a:endParaRPr>
          </a:p>
        </p:txBody>
      </p:sp>
      <p:sp>
        <p:nvSpPr>
          <p:cNvPr id="18" name="TextBox 17">
            <a:extLst>
              <a:ext uri="{FF2B5EF4-FFF2-40B4-BE49-F238E27FC236}">
                <a16:creationId xmlns:a16="http://schemas.microsoft.com/office/drawing/2014/main" id="{3CCD27C1-E1C4-4DC5-B7D3-029F0A7A08FE}"/>
              </a:ext>
            </a:extLst>
          </p:cNvPr>
          <p:cNvSpPr txBox="1"/>
          <p:nvPr/>
        </p:nvSpPr>
        <p:spPr>
          <a:xfrm>
            <a:off x="6901326" y="2108017"/>
            <a:ext cx="2272982" cy="424732"/>
          </a:xfrm>
          <a:prstGeom prst="rect">
            <a:avLst/>
          </a:prstGeom>
          <a:noFill/>
        </p:spPr>
        <p:txBody>
          <a:bodyPr wrap="square" lIns="108000" rtlCol="0">
            <a:spAutoFit/>
          </a:bodyPr>
          <a:lstStyle/>
          <a:p>
            <a:pPr algn="r">
              <a:lnSpc>
                <a:spcPct val="80000"/>
              </a:lnSpc>
            </a:pPr>
            <a:r>
              <a:rPr lang="ru-RU" sz="1300">
                <a:solidFill>
                  <a:schemeClr val="accent6">
                    <a:lumMod val="75000"/>
                  </a:schemeClr>
                </a:solidFill>
                <a:latin typeface="+mj-lt"/>
              </a:rPr>
              <a:t>Информированный оптимизм</a:t>
            </a:r>
            <a:endParaRPr lang="ru-RU" sz="1300">
              <a:solidFill>
                <a:schemeClr val="accent6">
                  <a:lumMod val="75000"/>
                </a:schemeClr>
              </a:solidFill>
            </a:endParaRPr>
          </a:p>
        </p:txBody>
      </p:sp>
      <p:sp>
        <p:nvSpPr>
          <p:cNvPr id="19" name="TextBox 18">
            <a:extLst>
              <a:ext uri="{FF2B5EF4-FFF2-40B4-BE49-F238E27FC236}">
                <a16:creationId xmlns:a16="http://schemas.microsoft.com/office/drawing/2014/main" id="{7C2D7BFD-CC5E-4C4E-86FB-8BBE50874E19}"/>
              </a:ext>
            </a:extLst>
          </p:cNvPr>
          <p:cNvSpPr txBox="1"/>
          <p:nvPr/>
        </p:nvSpPr>
        <p:spPr>
          <a:xfrm>
            <a:off x="9604789" y="3507572"/>
            <a:ext cx="1450022" cy="292388"/>
          </a:xfrm>
          <a:prstGeom prst="rect">
            <a:avLst/>
          </a:prstGeom>
          <a:noFill/>
        </p:spPr>
        <p:txBody>
          <a:bodyPr wrap="square" lIns="108000" rtlCol="0">
            <a:spAutoFit/>
          </a:bodyPr>
          <a:lstStyle/>
          <a:p>
            <a:r>
              <a:rPr lang="ru-RU" sz="1300">
                <a:solidFill>
                  <a:schemeClr val="accent6">
                    <a:lumMod val="75000"/>
                  </a:schemeClr>
                </a:solidFill>
                <a:latin typeface="+mj-lt"/>
              </a:rPr>
              <a:t>Проверка</a:t>
            </a:r>
            <a:endParaRPr lang="ru-RU" sz="1300">
              <a:solidFill>
                <a:schemeClr val="accent6">
                  <a:lumMod val="75000"/>
                </a:schemeClr>
              </a:solidFill>
            </a:endParaRPr>
          </a:p>
        </p:txBody>
      </p:sp>
      <p:sp>
        <p:nvSpPr>
          <p:cNvPr id="20" name="TextBox 19">
            <a:extLst>
              <a:ext uri="{FF2B5EF4-FFF2-40B4-BE49-F238E27FC236}">
                <a16:creationId xmlns:a16="http://schemas.microsoft.com/office/drawing/2014/main" id="{423F7264-3992-4484-9D3C-1136BB03D5B2}"/>
              </a:ext>
            </a:extLst>
          </p:cNvPr>
          <p:cNvSpPr txBox="1"/>
          <p:nvPr/>
        </p:nvSpPr>
        <p:spPr>
          <a:xfrm>
            <a:off x="9794991" y="1442763"/>
            <a:ext cx="1483042" cy="492443"/>
          </a:xfrm>
          <a:prstGeom prst="rect">
            <a:avLst/>
          </a:prstGeom>
          <a:noFill/>
        </p:spPr>
        <p:txBody>
          <a:bodyPr wrap="square" lIns="108000" rtlCol="0">
            <a:spAutoFit/>
          </a:bodyPr>
          <a:lstStyle/>
          <a:p>
            <a:pPr algn="r"/>
            <a:r>
              <a:rPr lang="ru-RU" sz="1300">
                <a:solidFill>
                  <a:schemeClr val="accent6">
                    <a:lumMod val="75000"/>
                  </a:schemeClr>
                </a:solidFill>
                <a:latin typeface="+mj-lt"/>
              </a:rPr>
              <a:t>Стабильная работа</a:t>
            </a:r>
            <a:endParaRPr lang="ru-RU" sz="1300">
              <a:solidFill>
                <a:schemeClr val="accent6">
                  <a:lumMod val="75000"/>
                </a:schemeClr>
              </a:solidFill>
            </a:endParaRPr>
          </a:p>
        </p:txBody>
      </p:sp>
      <p:sp>
        <p:nvSpPr>
          <p:cNvPr id="21" name="TextBox 20">
            <a:extLst>
              <a:ext uri="{FF2B5EF4-FFF2-40B4-BE49-F238E27FC236}">
                <a16:creationId xmlns:a16="http://schemas.microsoft.com/office/drawing/2014/main" id="{77FB08F6-2FFC-46BA-897B-8A88CE1D6E40}"/>
              </a:ext>
            </a:extLst>
          </p:cNvPr>
          <p:cNvSpPr txBox="1"/>
          <p:nvPr/>
        </p:nvSpPr>
        <p:spPr>
          <a:xfrm>
            <a:off x="10206630" y="2921206"/>
            <a:ext cx="1041832" cy="292388"/>
          </a:xfrm>
          <a:prstGeom prst="rect">
            <a:avLst/>
          </a:prstGeom>
          <a:noFill/>
        </p:spPr>
        <p:txBody>
          <a:bodyPr wrap="square" lIns="108000" rtlCol="0">
            <a:spAutoFit/>
          </a:bodyPr>
          <a:lstStyle/>
          <a:p>
            <a:pPr algn="r"/>
            <a:r>
              <a:rPr lang="ru-RU" sz="1300">
                <a:solidFill>
                  <a:schemeClr val="accent6">
                    <a:lumMod val="75000"/>
                  </a:schemeClr>
                </a:solidFill>
                <a:latin typeface="+mj-lt"/>
              </a:rPr>
              <a:t>Принятие</a:t>
            </a:r>
            <a:endParaRPr lang="ru-RU" sz="1300">
              <a:solidFill>
                <a:schemeClr val="accent6">
                  <a:lumMod val="75000"/>
                </a:schemeClr>
              </a:solidFill>
            </a:endParaRPr>
          </a:p>
        </p:txBody>
      </p:sp>
      <p:cxnSp>
        <p:nvCxnSpPr>
          <p:cNvPr id="27" name="Прямая со стрелкой 26">
            <a:extLst>
              <a:ext uri="{FF2B5EF4-FFF2-40B4-BE49-F238E27FC236}">
                <a16:creationId xmlns:a16="http://schemas.microsoft.com/office/drawing/2014/main" id="{26F76578-A51E-48B6-925B-4478735DD660}"/>
              </a:ext>
            </a:extLst>
          </p:cNvPr>
          <p:cNvCxnSpPr>
            <a:cxnSpLocks/>
          </p:cNvCxnSpPr>
          <p:nvPr/>
        </p:nvCxnSpPr>
        <p:spPr>
          <a:xfrm>
            <a:off x="993458" y="6177914"/>
            <a:ext cx="10660063" cy="0"/>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9" name="Прямая со стрелкой 28">
            <a:extLst>
              <a:ext uri="{FF2B5EF4-FFF2-40B4-BE49-F238E27FC236}">
                <a16:creationId xmlns:a16="http://schemas.microsoft.com/office/drawing/2014/main" id="{E073717F-FD32-4B9F-95D0-93D564D0498B}"/>
              </a:ext>
            </a:extLst>
          </p:cNvPr>
          <p:cNvCxnSpPr>
            <a:cxnSpLocks/>
          </p:cNvCxnSpPr>
          <p:nvPr/>
        </p:nvCxnSpPr>
        <p:spPr>
          <a:xfrm flipV="1">
            <a:off x="993458" y="1000761"/>
            <a:ext cx="0" cy="5177153"/>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9689439-ECA7-4601-8B6E-DC329E157558}"/>
              </a:ext>
            </a:extLst>
          </p:cNvPr>
          <p:cNvSpPr txBox="1"/>
          <p:nvPr/>
        </p:nvSpPr>
        <p:spPr>
          <a:xfrm>
            <a:off x="10330498" y="6024026"/>
            <a:ext cx="1069022" cy="307777"/>
          </a:xfrm>
          <a:prstGeom prst="rect">
            <a:avLst/>
          </a:prstGeom>
          <a:solidFill>
            <a:schemeClr val="bg1"/>
          </a:solidFill>
        </p:spPr>
        <p:txBody>
          <a:bodyPr wrap="square" lIns="108000" rtlCol="0">
            <a:spAutoFit/>
          </a:bodyPr>
          <a:lstStyle/>
          <a:p>
            <a:r>
              <a:rPr lang="ru-RU" sz="1400">
                <a:solidFill>
                  <a:schemeClr val="accent6">
                    <a:lumMod val="75000"/>
                  </a:schemeClr>
                </a:solidFill>
              </a:rPr>
              <a:t>Время </a:t>
            </a:r>
            <a:endParaRPr lang="ru-RU" sz="1350">
              <a:solidFill>
                <a:schemeClr val="accent6">
                  <a:lumMod val="75000"/>
                </a:schemeClr>
              </a:solidFill>
            </a:endParaRPr>
          </a:p>
        </p:txBody>
      </p:sp>
      <p:grpSp>
        <p:nvGrpSpPr>
          <p:cNvPr id="33" name="Группа 32">
            <a:extLst>
              <a:ext uri="{FF2B5EF4-FFF2-40B4-BE49-F238E27FC236}">
                <a16:creationId xmlns:a16="http://schemas.microsoft.com/office/drawing/2014/main" id="{3A992201-40A7-4B95-A598-281B58CFA30A}"/>
              </a:ext>
            </a:extLst>
          </p:cNvPr>
          <p:cNvGrpSpPr/>
          <p:nvPr/>
        </p:nvGrpSpPr>
        <p:grpSpPr>
          <a:xfrm>
            <a:off x="11045417" y="6071919"/>
            <a:ext cx="211863" cy="211991"/>
            <a:chOff x="2376093" y="1906073"/>
            <a:chExt cx="420527" cy="420782"/>
          </a:xfrm>
          <a:solidFill>
            <a:schemeClr val="accent6"/>
          </a:solidFill>
        </p:grpSpPr>
        <p:sp>
          <p:nvSpPr>
            <p:cNvPr id="34" name="Полилиния: фигура 33">
              <a:extLst>
                <a:ext uri="{FF2B5EF4-FFF2-40B4-BE49-F238E27FC236}">
                  <a16:creationId xmlns:a16="http://schemas.microsoft.com/office/drawing/2014/main" id="{E5F3F2F6-1502-4D16-8E49-7BD186FE91C8}"/>
                </a:ext>
              </a:extLst>
            </p:cNvPr>
            <p:cNvSpPr/>
            <p:nvPr/>
          </p:nvSpPr>
          <p:spPr>
            <a:xfrm>
              <a:off x="2376093" y="1906073"/>
              <a:ext cx="420527" cy="420782"/>
            </a:xfrm>
            <a:custGeom>
              <a:avLst/>
              <a:gdLst>
                <a:gd name="connsiteX0" fmla="*/ 210391 w 420527"/>
                <a:gd name="connsiteY0" fmla="*/ 420782 h 420782"/>
                <a:gd name="connsiteX1" fmla="*/ 0 w 420527"/>
                <a:gd name="connsiteY1" fmla="*/ 210391 h 420782"/>
                <a:gd name="connsiteX2" fmla="*/ 210391 w 420527"/>
                <a:gd name="connsiteY2" fmla="*/ 0 h 420782"/>
                <a:gd name="connsiteX3" fmla="*/ 351373 w 420527"/>
                <a:gd name="connsiteY3" fmla="*/ 54253 h 420782"/>
                <a:gd name="connsiteX4" fmla="*/ 351883 w 420527"/>
                <a:gd name="connsiteY4" fmla="*/ 63550 h 420782"/>
                <a:gd name="connsiteX5" fmla="*/ 342586 w 420527"/>
                <a:gd name="connsiteY5" fmla="*/ 64060 h 420782"/>
                <a:gd name="connsiteX6" fmla="*/ 210264 w 420527"/>
                <a:gd name="connsiteY6" fmla="*/ 13118 h 420782"/>
                <a:gd name="connsiteX7" fmla="*/ 12990 w 420527"/>
                <a:gd name="connsiteY7" fmla="*/ 210391 h 420782"/>
                <a:gd name="connsiteX8" fmla="*/ 210264 w 420527"/>
                <a:gd name="connsiteY8" fmla="*/ 407664 h 420782"/>
                <a:gd name="connsiteX9" fmla="*/ 407537 w 420527"/>
                <a:gd name="connsiteY9" fmla="*/ 210391 h 420782"/>
                <a:gd name="connsiteX10" fmla="*/ 414032 w 420527"/>
                <a:gd name="connsiteY10" fmla="*/ 203896 h 420782"/>
                <a:gd name="connsiteX11" fmla="*/ 420527 w 420527"/>
                <a:gd name="connsiteY11" fmla="*/ 210391 h 420782"/>
                <a:gd name="connsiteX12" fmla="*/ 210391 w 420527"/>
                <a:gd name="connsiteY12" fmla="*/ 420782 h 42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0527" h="420782">
                  <a:moveTo>
                    <a:pt x="210391" y="420782"/>
                  </a:moveTo>
                  <a:cubicBezTo>
                    <a:pt x="94370" y="420782"/>
                    <a:pt x="0" y="326412"/>
                    <a:pt x="0" y="210391"/>
                  </a:cubicBezTo>
                  <a:cubicBezTo>
                    <a:pt x="0" y="94370"/>
                    <a:pt x="94370" y="0"/>
                    <a:pt x="210391" y="0"/>
                  </a:cubicBezTo>
                  <a:cubicBezTo>
                    <a:pt x="262607" y="0"/>
                    <a:pt x="312657" y="19231"/>
                    <a:pt x="351373" y="54253"/>
                  </a:cubicBezTo>
                  <a:cubicBezTo>
                    <a:pt x="354048" y="56673"/>
                    <a:pt x="354303" y="60876"/>
                    <a:pt x="351883" y="63550"/>
                  </a:cubicBezTo>
                  <a:cubicBezTo>
                    <a:pt x="349463" y="66225"/>
                    <a:pt x="345388" y="66479"/>
                    <a:pt x="342586" y="64060"/>
                  </a:cubicBezTo>
                  <a:cubicBezTo>
                    <a:pt x="306289" y="31202"/>
                    <a:pt x="259296" y="13118"/>
                    <a:pt x="210264" y="13118"/>
                  </a:cubicBezTo>
                  <a:cubicBezTo>
                    <a:pt x="101502" y="13118"/>
                    <a:pt x="12990" y="101630"/>
                    <a:pt x="12990" y="210391"/>
                  </a:cubicBezTo>
                  <a:cubicBezTo>
                    <a:pt x="12990" y="319153"/>
                    <a:pt x="101502" y="407664"/>
                    <a:pt x="210264" y="407664"/>
                  </a:cubicBezTo>
                  <a:cubicBezTo>
                    <a:pt x="319025" y="407664"/>
                    <a:pt x="407537" y="319153"/>
                    <a:pt x="407537" y="210391"/>
                  </a:cubicBezTo>
                  <a:cubicBezTo>
                    <a:pt x="407537" y="206825"/>
                    <a:pt x="410466" y="203896"/>
                    <a:pt x="414032" y="203896"/>
                  </a:cubicBezTo>
                  <a:cubicBezTo>
                    <a:pt x="417598" y="203896"/>
                    <a:pt x="420527" y="206825"/>
                    <a:pt x="420527" y="210391"/>
                  </a:cubicBezTo>
                  <a:cubicBezTo>
                    <a:pt x="420782" y="326412"/>
                    <a:pt x="326284" y="420782"/>
                    <a:pt x="210391" y="420782"/>
                  </a:cubicBezTo>
                  <a:close/>
                </a:path>
              </a:pathLst>
            </a:custGeom>
            <a:grpFill/>
            <a:ln w="12733" cap="flat">
              <a:noFill/>
              <a:prstDash val="solid"/>
              <a:miter/>
            </a:ln>
          </p:spPr>
          <p:txBody>
            <a:bodyPr rtlCol="0" anchor="ctr"/>
            <a:lstStyle/>
            <a:p>
              <a:endParaRPr lang="ru-RU"/>
            </a:p>
          </p:txBody>
        </p:sp>
        <p:sp>
          <p:nvSpPr>
            <p:cNvPr id="35" name="Полилиния: фигура 34">
              <a:extLst>
                <a:ext uri="{FF2B5EF4-FFF2-40B4-BE49-F238E27FC236}">
                  <a16:creationId xmlns:a16="http://schemas.microsoft.com/office/drawing/2014/main" id="{E7FDECAB-B48F-4F0A-9D0E-20BDBDABEB17}"/>
                </a:ext>
              </a:extLst>
            </p:cNvPr>
            <p:cNvSpPr/>
            <p:nvPr/>
          </p:nvSpPr>
          <p:spPr>
            <a:xfrm>
              <a:off x="2579989" y="1964656"/>
              <a:ext cx="88129" cy="158302"/>
            </a:xfrm>
            <a:custGeom>
              <a:avLst/>
              <a:gdLst>
                <a:gd name="connsiteX0" fmla="*/ 81635 w 88129"/>
                <a:gd name="connsiteY0" fmla="*/ 158303 h 158302"/>
                <a:gd name="connsiteX1" fmla="*/ 6495 w 88129"/>
                <a:gd name="connsiteY1" fmla="*/ 158303 h 158302"/>
                <a:gd name="connsiteX2" fmla="*/ 0 w 88129"/>
                <a:gd name="connsiteY2" fmla="*/ 151808 h 158302"/>
                <a:gd name="connsiteX3" fmla="*/ 0 w 88129"/>
                <a:gd name="connsiteY3" fmla="*/ 6495 h 158302"/>
                <a:gd name="connsiteX4" fmla="*/ 6495 w 88129"/>
                <a:gd name="connsiteY4" fmla="*/ 0 h 158302"/>
                <a:gd name="connsiteX5" fmla="*/ 12990 w 88129"/>
                <a:gd name="connsiteY5" fmla="*/ 6495 h 158302"/>
                <a:gd name="connsiteX6" fmla="*/ 12990 w 88129"/>
                <a:gd name="connsiteY6" fmla="*/ 145185 h 158302"/>
                <a:gd name="connsiteX7" fmla="*/ 81635 w 88129"/>
                <a:gd name="connsiteY7" fmla="*/ 145185 h 158302"/>
                <a:gd name="connsiteX8" fmla="*/ 88130 w 88129"/>
                <a:gd name="connsiteY8" fmla="*/ 151680 h 158302"/>
                <a:gd name="connsiteX9" fmla="*/ 81635 w 88129"/>
                <a:gd name="connsiteY9" fmla="*/ 158303 h 15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129" h="158302">
                  <a:moveTo>
                    <a:pt x="81635" y="158303"/>
                  </a:moveTo>
                  <a:lnTo>
                    <a:pt x="6495" y="158303"/>
                  </a:lnTo>
                  <a:cubicBezTo>
                    <a:pt x="2929" y="158303"/>
                    <a:pt x="0" y="155374"/>
                    <a:pt x="0" y="151808"/>
                  </a:cubicBezTo>
                  <a:lnTo>
                    <a:pt x="0" y="6495"/>
                  </a:lnTo>
                  <a:cubicBezTo>
                    <a:pt x="0" y="2929"/>
                    <a:pt x="2929" y="0"/>
                    <a:pt x="6495" y="0"/>
                  </a:cubicBezTo>
                  <a:cubicBezTo>
                    <a:pt x="10061" y="0"/>
                    <a:pt x="12990" y="2929"/>
                    <a:pt x="12990" y="6495"/>
                  </a:cubicBezTo>
                  <a:lnTo>
                    <a:pt x="12990" y="145185"/>
                  </a:lnTo>
                  <a:lnTo>
                    <a:pt x="81635" y="145185"/>
                  </a:lnTo>
                  <a:cubicBezTo>
                    <a:pt x="85201" y="145185"/>
                    <a:pt x="88130" y="148114"/>
                    <a:pt x="88130" y="151680"/>
                  </a:cubicBezTo>
                  <a:cubicBezTo>
                    <a:pt x="88130" y="155246"/>
                    <a:pt x="85201" y="158303"/>
                    <a:pt x="81635" y="158303"/>
                  </a:cubicBezTo>
                  <a:close/>
                </a:path>
              </a:pathLst>
            </a:custGeom>
            <a:grpFill/>
            <a:ln w="12733" cap="flat">
              <a:noFill/>
              <a:prstDash val="solid"/>
              <a:miter/>
            </a:ln>
          </p:spPr>
          <p:txBody>
            <a:bodyPr rtlCol="0" anchor="ctr"/>
            <a:lstStyle/>
            <a:p>
              <a:endParaRPr lang="ru-RU"/>
            </a:p>
          </p:txBody>
        </p:sp>
        <p:sp>
          <p:nvSpPr>
            <p:cNvPr id="36" name="Полилиния: фигура 35">
              <a:extLst>
                <a:ext uri="{FF2B5EF4-FFF2-40B4-BE49-F238E27FC236}">
                  <a16:creationId xmlns:a16="http://schemas.microsoft.com/office/drawing/2014/main" id="{7ABB795E-9EBC-4242-AA07-9FE09C2096B2}"/>
                </a:ext>
              </a:extLst>
            </p:cNvPr>
            <p:cNvSpPr/>
            <p:nvPr/>
          </p:nvSpPr>
          <p:spPr>
            <a:xfrm>
              <a:off x="2666170" y="1907563"/>
              <a:ext cx="64008" cy="70083"/>
            </a:xfrm>
            <a:custGeom>
              <a:avLst/>
              <a:gdLst>
                <a:gd name="connsiteX0" fmla="*/ 6533 w 64008"/>
                <a:gd name="connsiteY0" fmla="*/ 69956 h 70083"/>
                <a:gd name="connsiteX1" fmla="*/ 38 w 64008"/>
                <a:gd name="connsiteY1" fmla="*/ 64098 h 70083"/>
                <a:gd name="connsiteX2" fmla="*/ 5896 w 64008"/>
                <a:gd name="connsiteY2" fmla="*/ 56838 h 70083"/>
                <a:gd name="connsiteX3" fmla="*/ 50216 w 64008"/>
                <a:gd name="connsiteY3" fmla="*/ 52126 h 70083"/>
                <a:gd name="connsiteX4" fmla="*/ 45376 w 64008"/>
                <a:gd name="connsiteY4" fmla="*/ 7297 h 70083"/>
                <a:gd name="connsiteX5" fmla="*/ 51235 w 64008"/>
                <a:gd name="connsiteY5" fmla="*/ 38 h 70083"/>
                <a:gd name="connsiteX6" fmla="*/ 58494 w 64008"/>
                <a:gd name="connsiteY6" fmla="*/ 5896 h 70083"/>
                <a:gd name="connsiteX7" fmla="*/ 63970 w 64008"/>
                <a:gd name="connsiteY7" fmla="*/ 57348 h 70083"/>
                <a:gd name="connsiteX8" fmla="*/ 58112 w 64008"/>
                <a:gd name="connsiteY8" fmla="*/ 64607 h 70083"/>
                <a:gd name="connsiteX9" fmla="*/ 7297 w 64008"/>
                <a:gd name="connsiteY9" fmla="*/ 70083 h 70083"/>
                <a:gd name="connsiteX10" fmla="*/ 6533 w 64008"/>
                <a:gd name="connsiteY10" fmla="*/ 69956 h 7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 h="70083">
                  <a:moveTo>
                    <a:pt x="6533" y="69956"/>
                  </a:moveTo>
                  <a:cubicBezTo>
                    <a:pt x="3222" y="69956"/>
                    <a:pt x="420" y="67409"/>
                    <a:pt x="38" y="64098"/>
                  </a:cubicBezTo>
                  <a:cubicBezTo>
                    <a:pt x="-344" y="60532"/>
                    <a:pt x="2203" y="57220"/>
                    <a:pt x="5896" y="56838"/>
                  </a:cubicBezTo>
                  <a:lnTo>
                    <a:pt x="50216" y="52126"/>
                  </a:lnTo>
                  <a:lnTo>
                    <a:pt x="45376" y="7297"/>
                  </a:lnTo>
                  <a:cubicBezTo>
                    <a:pt x="44994" y="3731"/>
                    <a:pt x="47541" y="420"/>
                    <a:pt x="51235" y="38"/>
                  </a:cubicBezTo>
                  <a:cubicBezTo>
                    <a:pt x="54801" y="-344"/>
                    <a:pt x="58112" y="2203"/>
                    <a:pt x="58494" y="5896"/>
                  </a:cubicBezTo>
                  <a:lnTo>
                    <a:pt x="63970" y="57348"/>
                  </a:lnTo>
                  <a:cubicBezTo>
                    <a:pt x="64352" y="60914"/>
                    <a:pt x="61805" y="64225"/>
                    <a:pt x="58112" y="64607"/>
                  </a:cubicBezTo>
                  <a:lnTo>
                    <a:pt x="7297" y="70083"/>
                  </a:lnTo>
                  <a:cubicBezTo>
                    <a:pt x="7042" y="69956"/>
                    <a:pt x="6788" y="69956"/>
                    <a:pt x="6533" y="69956"/>
                  </a:cubicBezTo>
                  <a:close/>
                </a:path>
              </a:pathLst>
            </a:custGeom>
            <a:grpFill/>
            <a:ln w="12733" cap="flat">
              <a:noFill/>
              <a:prstDash val="solid"/>
              <a:miter/>
            </a:ln>
          </p:spPr>
          <p:txBody>
            <a:bodyPr rtlCol="0" anchor="ctr"/>
            <a:lstStyle/>
            <a:p>
              <a:endParaRPr lang="ru-RU"/>
            </a:p>
          </p:txBody>
        </p:sp>
      </p:grpSp>
      <p:sp>
        <p:nvSpPr>
          <p:cNvPr id="38" name="Полилиния: фигура 37">
            <a:extLst>
              <a:ext uri="{FF2B5EF4-FFF2-40B4-BE49-F238E27FC236}">
                <a16:creationId xmlns:a16="http://schemas.microsoft.com/office/drawing/2014/main" id="{6949A9D7-F124-4553-A992-21129231C116}"/>
              </a:ext>
            </a:extLst>
          </p:cNvPr>
          <p:cNvSpPr/>
          <p:nvPr/>
        </p:nvSpPr>
        <p:spPr>
          <a:xfrm>
            <a:off x="1137920" y="2367229"/>
            <a:ext cx="10538143" cy="2816774"/>
          </a:xfrm>
          <a:custGeom>
            <a:avLst/>
            <a:gdLst>
              <a:gd name="connsiteX0" fmla="*/ 0 w 10546080"/>
              <a:gd name="connsiteY0" fmla="*/ 91440 h 3769453"/>
              <a:gd name="connsiteX1" fmla="*/ 5140960 w 10546080"/>
              <a:gd name="connsiteY1" fmla="*/ 3769360 h 3769453"/>
              <a:gd name="connsiteX2" fmla="*/ 10546080 w 10546080"/>
              <a:gd name="connsiteY2" fmla="*/ 0 h 3769453"/>
              <a:gd name="connsiteX0" fmla="*/ 0 w 10546080"/>
              <a:gd name="connsiteY0" fmla="*/ 93413 h 3771426"/>
              <a:gd name="connsiteX1" fmla="*/ 5140960 w 10546080"/>
              <a:gd name="connsiteY1" fmla="*/ 3771333 h 3771426"/>
              <a:gd name="connsiteX2" fmla="*/ 10546080 w 10546080"/>
              <a:gd name="connsiteY2" fmla="*/ 1973 h 3771426"/>
              <a:gd name="connsiteX0" fmla="*/ 0 w 10546080"/>
              <a:gd name="connsiteY0" fmla="*/ 93413 h 3771379"/>
              <a:gd name="connsiteX1" fmla="*/ 5140960 w 10546080"/>
              <a:gd name="connsiteY1" fmla="*/ 3771333 h 3771379"/>
              <a:gd name="connsiteX2" fmla="*/ 10546080 w 10546080"/>
              <a:gd name="connsiteY2" fmla="*/ 1973 h 3771379"/>
              <a:gd name="connsiteX0" fmla="*/ 0 w 10546080"/>
              <a:gd name="connsiteY0" fmla="*/ 93413 h 3771379"/>
              <a:gd name="connsiteX1" fmla="*/ 5140960 w 10546080"/>
              <a:gd name="connsiteY1" fmla="*/ 3771333 h 3771379"/>
              <a:gd name="connsiteX2" fmla="*/ 10546080 w 10546080"/>
              <a:gd name="connsiteY2" fmla="*/ 1973 h 3771379"/>
              <a:gd name="connsiteX0" fmla="*/ 0 w 10546080"/>
              <a:gd name="connsiteY0" fmla="*/ 93413 h 3771379"/>
              <a:gd name="connsiteX1" fmla="*/ 5140960 w 10546080"/>
              <a:gd name="connsiteY1" fmla="*/ 3771333 h 3771379"/>
              <a:gd name="connsiteX2" fmla="*/ 10546080 w 10546080"/>
              <a:gd name="connsiteY2" fmla="*/ 1973 h 3771379"/>
              <a:gd name="connsiteX0" fmla="*/ 0 w 10546080"/>
              <a:gd name="connsiteY0" fmla="*/ 93413 h 3771333"/>
              <a:gd name="connsiteX1" fmla="*/ 5140960 w 10546080"/>
              <a:gd name="connsiteY1" fmla="*/ 3771333 h 3771333"/>
              <a:gd name="connsiteX2" fmla="*/ 10546080 w 10546080"/>
              <a:gd name="connsiteY2" fmla="*/ 1973 h 3771333"/>
              <a:gd name="connsiteX0" fmla="*/ 0 w 10546080"/>
              <a:gd name="connsiteY0" fmla="*/ 93413 h 3771333"/>
              <a:gd name="connsiteX1" fmla="*/ 5140960 w 10546080"/>
              <a:gd name="connsiteY1" fmla="*/ 3771333 h 3771333"/>
              <a:gd name="connsiteX2" fmla="*/ 10546080 w 10546080"/>
              <a:gd name="connsiteY2" fmla="*/ 1973 h 3771333"/>
              <a:gd name="connsiteX0" fmla="*/ 0 w 10546080"/>
              <a:gd name="connsiteY0" fmla="*/ 93413 h 3771380"/>
              <a:gd name="connsiteX1" fmla="*/ 5140960 w 10546080"/>
              <a:gd name="connsiteY1" fmla="*/ 3771333 h 3771380"/>
              <a:gd name="connsiteX2" fmla="*/ 10546080 w 10546080"/>
              <a:gd name="connsiteY2" fmla="*/ 1973 h 3771380"/>
              <a:gd name="connsiteX0" fmla="*/ 0 w 10546080"/>
              <a:gd name="connsiteY0" fmla="*/ 93509 h 3771476"/>
              <a:gd name="connsiteX1" fmla="*/ 5140960 w 10546080"/>
              <a:gd name="connsiteY1" fmla="*/ 3771429 h 3771476"/>
              <a:gd name="connsiteX2" fmla="*/ 10546080 w 10546080"/>
              <a:gd name="connsiteY2" fmla="*/ 2069 h 3771476"/>
              <a:gd name="connsiteX0" fmla="*/ 0 w 10546080"/>
              <a:gd name="connsiteY0" fmla="*/ 93552 h 3771519"/>
              <a:gd name="connsiteX1" fmla="*/ 5140960 w 10546080"/>
              <a:gd name="connsiteY1" fmla="*/ 3771472 h 3771519"/>
              <a:gd name="connsiteX2" fmla="*/ 10546080 w 10546080"/>
              <a:gd name="connsiteY2" fmla="*/ 2112 h 3771519"/>
              <a:gd name="connsiteX0" fmla="*/ 0 w 10546080"/>
              <a:gd name="connsiteY0" fmla="*/ 93510 h 3771477"/>
              <a:gd name="connsiteX1" fmla="*/ 5140960 w 10546080"/>
              <a:gd name="connsiteY1" fmla="*/ 3771430 h 3771477"/>
              <a:gd name="connsiteX2" fmla="*/ 10546080 w 10546080"/>
              <a:gd name="connsiteY2" fmla="*/ 2070 h 3771477"/>
              <a:gd name="connsiteX0" fmla="*/ 0 w 10546080"/>
              <a:gd name="connsiteY0" fmla="*/ 93485 h 3771452"/>
              <a:gd name="connsiteX1" fmla="*/ 5140960 w 10546080"/>
              <a:gd name="connsiteY1" fmla="*/ 3771405 h 3771452"/>
              <a:gd name="connsiteX2" fmla="*/ 10546080 w 10546080"/>
              <a:gd name="connsiteY2" fmla="*/ 2045 h 3771452"/>
            </a:gdLst>
            <a:ahLst/>
            <a:cxnLst>
              <a:cxn ang="0">
                <a:pos x="connsiteX0" y="connsiteY0"/>
              </a:cxn>
              <a:cxn ang="0">
                <a:pos x="connsiteX1" y="connsiteY1"/>
              </a:cxn>
              <a:cxn ang="0">
                <a:pos x="connsiteX2" y="connsiteY2"/>
              </a:cxn>
            </a:cxnLst>
            <a:rect l="l" t="t" r="r" b="b"/>
            <a:pathLst>
              <a:path w="10546080" h="3771452">
                <a:moveTo>
                  <a:pt x="0" y="93485"/>
                </a:moveTo>
                <a:cubicBezTo>
                  <a:pt x="3824574" y="156868"/>
                  <a:pt x="3354459" y="3786645"/>
                  <a:pt x="5140960" y="3771405"/>
                </a:cubicBezTo>
                <a:cubicBezTo>
                  <a:pt x="6963489" y="3621202"/>
                  <a:pt x="7543800" y="-99555"/>
                  <a:pt x="10546080" y="2045"/>
                </a:cubicBezTo>
              </a:path>
            </a:pathLst>
          </a:custGeom>
          <a:noFill/>
          <a:ln w="66675" cap="rnd">
            <a:gradFill flip="none" rotWithShape="1">
              <a:gsLst>
                <a:gs pos="0">
                  <a:schemeClr val="accent6">
                    <a:alpha val="20000"/>
                  </a:schemeClr>
                </a:gs>
                <a:gs pos="53600">
                  <a:srgbClr val="7D8696"/>
                </a:gs>
                <a:gs pos="100000">
                  <a:schemeClr val="accent6">
                    <a:alpha val="20000"/>
                  </a:schemeClr>
                </a:gs>
              </a:gsLst>
              <a:lin ang="10800000" scaled="1"/>
              <a:tileRect/>
            </a:gradFill>
            <a:round/>
          </a:ln>
          <a:effectLst>
            <a:outerShdw blurRad="88900" dist="165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9" name="Рисунок 5">
            <a:extLst>
              <a:ext uri="{FF2B5EF4-FFF2-40B4-BE49-F238E27FC236}">
                <a16:creationId xmlns:a16="http://schemas.microsoft.com/office/drawing/2014/main" id="{9F093298-24A0-44A9-B35A-FFF019128189}"/>
              </a:ext>
            </a:extLst>
          </p:cNvPr>
          <p:cNvGrpSpPr/>
          <p:nvPr/>
        </p:nvGrpSpPr>
        <p:grpSpPr>
          <a:xfrm rot="16200000">
            <a:off x="567218" y="1977398"/>
            <a:ext cx="264474" cy="264474"/>
            <a:chOff x="7666411" y="3827223"/>
            <a:chExt cx="382898" cy="382897"/>
          </a:xfrm>
          <a:solidFill>
            <a:schemeClr val="accent3"/>
          </a:solidFill>
          <a:effectLst>
            <a:outerShdw blurRad="12700" sx="102000" sy="102000" algn="ctr" rotWithShape="0">
              <a:schemeClr val="accent3">
                <a:alpha val="40000"/>
              </a:schemeClr>
            </a:outerShdw>
          </a:effectLst>
        </p:grpSpPr>
        <p:sp>
          <p:nvSpPr>
            <p:cNvPr id="40" name="Полилиния: фигура 39">
              <a:extLst>
                <a:ext uri="{FF2B5EF4-FFF2-40B4-BE49-F238E27FC236}">
                  <a16:creationId xmlns:a16="http://schemas.microsoft.com/office/drawing/2014/main" id="{3307C644-24F1-4A01-A7D4-BBB0A4175DAD}"/>
                </a:ext>
              </a:extLst>
            </p:cNvPr>
            <p:cNvSpPr/>
            <p:nvPr/>
          </p:nvSpPr>
          <p:spPr>
            <a:xfrm>
              <a:off x="7666411" y="3827223"/>
              <a:ext cx="382898" cy="382897"/>
            </a:xfrm>
            <a:custGeom>
              <a:avLst/>
              <a:gdLst>
                <a:gd name="connsiteX0" fmla="*/ 191449 w 382898"/>
                <a:gd name="connsiteY0" fmla="*/ 382898 h 382897"/>
                <a:gd name="connsiteX1" fmla="*/ 0 w 382898"/>
                <a:gd name="connsiteY1" fmla="*/ 191449 h 382897"/>
                <a:gd name="connsiteX2" fmla="*/ 191449 w 382898"/>
                <a:gd name="connsiteY2" fmla="*/ 0 h 382897"/>
                <a:gd name="connsiteX3" fmla="*/ 382898 w 382898"/>
                <a:gd name="connsiteY3" fmla="*/ 191449 h 382897"/>
                <a:gd name="connsiteX4" fmla="*/ 191449 w 382898"/>
                <a:gd name="connsiteY4" fmla="*/ 382898 h 382897"/>
                <a:gd name="connsiteX5" fmla="*/ 191449 w 382898"/>
                <a:gd name="connsiteY5" fmla="*/ 12950 h 382897"/>
                <a:gd name="connsiteX6" fmla="*/ 13077 w 382898"/>
                <a:gd name="connsiteY6" fmla="*/ 191322 h 382897"/>
                <a:gd name="connsiteX7" fmla="*/ 191449 w 382898"/>
                <a:gd name="connsiteY7" fmla="*/ 369694 h 382897"/>
                <a:gd name="connsiteX8" fmla="*/ 369821 w 382898"/>
                <a:gd name="connsiteY8" fmla="*/ 191322 h 382897"/>
                <a:gd name="connsiteX9" fmla="*/ 191449 w 382898"/>
                <a:gd name="connsiteY9" fmla="*/ 12950 h 38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898" h="382897">
                  <a:moveTo>
                    <a:pt x="191449" y="382898"/>
                  </a:moveTo>
                  <a:cubicBezTo>
                    <a:pt x="85822" y="382898"/>
                    <a:pt x="0" y="296949"/>
                    <a:pt x="0" y="191449"/>
                  </a:cubicBezTo>
                  <a:cubicBezTo>
                    <a:pt x="0" y="85822"/>
                    <a:pt x="85949" y="0"/>
                    <a:pt x="191449" y="0"/>
                  </a:cubicBezTo>
                  <a:cubicBezTo>
                    <a:pt x="297076" y="0"/>
                    <a:pt x="382898" y="85822"/>
                    <a:pt x="382898" y="191449"/>
                  </a:cubicBezTo>
                  <a:cubicBezTo>
                    <a:pt x="382898" y="296949"/>
                    <a:pt x="297076" y="382898"/>
                    <a:pt x="191449" y="382898"/>
                  </a:cubicBezTo>
                  <a:close/>
                  <a:moveTo>
                    <a:pt x="191449" y="12950"/>
                  </a:moveTo>
                  <a:cubicBezTo>
                    <a:pt x="93059" y="12950"/>
                    <a:pt x="13077" y="92931"/>
                    <a:pt x="13077" y="191322"/>
                  </a:cubicBezTo>
                  <a:cubicBezTo>
                    <a:pt x="13077" y="289712"/>
                    <a:pt x="93059" y="369694"/>
                    <a:pt x="191449" y="369694"/>
                  </a:cubicBezTo>
                  <a:cubicBezTo>
                    <a:pt x="289840" y="369694"/>
                    <a:pt x="369821" y="289712"/>
                    <a:pt x="369821" y="191322"/>
                  </a:cubicBezTo>
                  <a:cubicBezTo>
                    <a:pt x="369948" y="93058"/>
                    <a:pt x="289840" y="12950"/>
                    <a:pt x="191449" y="12950"/>
                  </a:cubicBezTo>
                  <a:close/>
                </a:path>
              </a:pathLst>
            </a:custGeom>
            <a:grpFill/>
            <a:ln w="12689" cap="flat">
              <a:noFill/>
              <a:prstDash val="solid"/>
              <a:miter/>
            </a:ln>
          </p:spPr>
          <p:txBody>
            <a:bodyPr rtlCol="0" anchor="ctr"/>
            <a:lstStyle/>
            <a:p>
              <a:endParaRPr lang="ru-RU"/>
            </a:p>
          </p:txBody>
        </p:sp>
        <p:sp>
          <p:nvSpPr>
            <p:cNvPr id="41" name="Полилиния: фигура 40">
              <a:extLst>
                <a:ext uri="{FF2B5EF4-FFF2-40B4-BE49-F238E27FC236}">
                  <a16:creationId xmlns:a16="http://schemas.microsoft.com/office/drawing/2014/main" id="{468300D7-456B-485B-8396-4206EF3E2954}"/>
                </a:ext>
              </a:extLst>
            </p:cNvPr>
            <p:cNvSpPr/>
            <p:nvPr/>
          </p:nvSpPr>
          <p:spPr>
            <a:xfrm>
              <a:off x="7755872" y="4088835"/>
              <a:ext cx="204102" cy="59203"/>
            </a:xfrm>
            <a:custGeom>
              <a:avLst/>
              <a:gdLst>
                <a:gd name="connsiteX0" fmla="*/ 101988 w 204102"/>
                <a:gd name="connsiteY0" fmla="*/ 59204 h 59203"/>
                <a:gd name="connsiteX1" fmla="*/ 1439 w 204102"/>
                <a:gd name="connsiteY1" fmla="*/ 10834 h 59203"/>
                <a:gd name="connsiteX2" fmla="*/ 2455 w 204102"/>
                <a:gd name="connsiteY2" fmla="*/ 1693 h 59203"/>
                <a:gd name="connsiteX3" fmla="*/ 11595 w 204102"/>
                <a:gd name="connsiteY3" fmla="*/ 2709 h 59203"/>
                <a:gd name="connsiteX4" fmla="*/ 101988 w 204102"/>
                <a:gd name="connsiteY4" fmla="*/ 46128 h 59203"/>
                <a:gd name="connsiteX5" fmla="*/ 192507 w 204102"/>
                <a:gd name="connsiteY5" fmla="*/ 2455 h 59203"/>
                <a:gd name="connsiteX6" fmla="*/ 201648 w 204102"/>
                <a:gd name="connsiteY6" fmla="*/ 1439 h 59203"/>
                <a:gd name="connsiteX7" fmla="*/ 202663 w 204102"/>
                <a:gd name="connsiteY7" fmla="*/ 10580 h 59203"/>
                <a:gd name="connsiteX8" fmla="*/ 101988 w 204102"/>
                <a:gd name="connsiteY8" fmla="*/ 59204 h 5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102" h="59203">
                  <a:moveTo>
                    <a:pt x="101988" y="59204"/>
                  </a:moveTo>
                  <a:cubicBezTo>
                    <a:pt x="62632" y="59204"/>
                    <a:pt x="26069" y="41557"/>
                    <a:pt x="1439" y="10834"/>
                  </a:cubicBezTo>
                  <a:cubicBezTo>
                    <a:pt x="-846" y="8041"/>
                    <a:pt x="-338" y="3978"/>
                    <a:pt x="2455" y="1693"/>
                  </a:cubicBezTo>
                  <a:cubicBezTo>
                    <a:pt x="5248" y="-592"/>
                    <a:pt x="9310" y="-84"/>
                    <a:pt x="11595" y="2709"/>
                  </a:cubicBezTo>
                  <a:cubicBezTo>
                    <a:pt x="33686" y="30258"/>
                    <a:pt x="66694" y="46128"/>
                    <a:pt x="101988" y="46128"/>
                  </a:cubicBezTo>
                  <a:cubicBezTo>
                    <a:pt x="137408" y="46128"/>
                    <a:pt x="170417" y="30258"/>
                    <a:pt x="192507" y="2455"/>
                  </a:cubicBezTo>
                  <a:cubicBezTo>
                    <a:pt x="194792" y="-338"/>
                    <a:pt x="198855" y="-846"/>
                    <a:pt x="201648" y="1439"/>
                  </a:cubicBezTo>
                  <a:cubicBezTo>
                    <a:pt x="204441" y="3724"/>
                    <a:pt x="204948" y="7787"/>
                    <a:pt x="202663" y="10580"/>
                  </a:cubicBezTo>
                  <a:cubicBezTo>
                    <a:pt x="178034" y="41430"/>
                    <a:pt x="141344" y="59204"/>
                    <a:pt x="101988" y="59204"/>
                  </a:cubicBezTo>
                  <a:close/>
                </a:path>
              </a:pathLst>
            </a:custGeom>
            <a:grpFill/>
            <a:ln w="12689" cap="flat">
              <a:noFill/>
              <a:prstDash val="solid"/>
              <a:miter/>
            </a:ln>
          </p:spPr>
          <p:txBody>
            <a:bodyPr rtlCol="0" anchor="ctr"/>
            <a:lstStyle/>
            <a:p>
              <a:endParaRPr lang="ru-RU"/>
            </a:p>
          </p:txBody>
        </p:sp>
        <p:grpSp>
          <p:nvGrpSpPr>
            <p:cNvPr id="42" name="Рисунок 5">
              <a:extLst>
                <a:ext uri="{FF2B5EF4-FFF2-40B4-BE49-F238E27FC236}">
                  <a16:creationId xmlns:a16="http://schemas.microsoft.com/office/drawing/2014/main" id="{2F324F60-11F9-4DED-98E1-C96E828E219E}"/>
                </a:ext>
              </a:extLst>
            </p:cNvPr>
            <p:cNvGrpSpPr/>
            <p:nvPr/>
          </p:nvGrpSpPr>
          <p:grpSpPr>
            <a:xfrm>
              <a:off x="7772292" y="3944530"/>
              <a:ext cx="171263" cy="44180"/>
              <a:chOff x="7772292" y="3944530"/>
              <a:chExt cx="171263" cy="44180"/>
            </a:xfrm>
            <a:grpFill/>
          </p:grpSpPr>
          <p:sp>
            <p:nvSpPr>
              <p:cNvPr id="43" name="Полилиния: фигура 42">
                <a:extLst>
                  <a:ext uri="{FF2B5EF4-FFF2-40B4-BE49-F238E27FC236}">
                    <a16:creationId xmlns:a16="http://schemas.microsoft.com/office/drawing/2014/main" id="{9AB46BC6-1EB9-4C01-9BB5-35E007B5E3A2}"/>
                  </a:ext>
                </a:extLst>
              </p:cNvPr>
              <p:cNvSpPr/>
              <p:nvPr/>
            </p:nvSpPr>
            <p:spPr>
              <a:xfrm>
                <a:off x="7772292" y="3944530"/>
                <a:ext cx="44180" cy="44180"/>
              </a:xfrm>
              <a:custGeom>
                <a:avLst/>
                <a:gdLst>
                  <a:gd name="connsiteX0" fmla="*/ 22090 w 44180"/>
                  <a:gd name="connsiteY0" fmla="*/ 44180 h 44180"/>
                  <a:gd name="connsiteX1" fmla="*/ 0 w 44180"/>
                  <a:gd name="connsiteY1" fmla="*/ 22090 h 44180"/>
                  <a:gd name="connsiteX2" fmla="*/ 22090 w 44180"/>
                  <a:gd name="connsiteY2" fmla="*/ 0 h 44180"/>
                  <a:gd name="connsiteX3" fmla="*/ 44180 w 44180"/>
                  <a:gd name="connsiteY3" fmla="*/ 22090 h 44180"/>
                  <a:gd name="connsiteX4" fmla="*/ 22090 w 44180"/>
                  <a:gd name="connsiteY4" fmla="*/ 44180 h 44180"/>
                  <a:gd name="connsiteX5" fmla="*/ 22090 w 44180"/>
                  <a:gd name="connsiteY5" fmla="*/ 12949 h 44180"/>
                  <a:gd name="connsiteX6" fmla="*/ 13076 w 44180"/>
                  <a:gd name="connsiteY6" fmla="*/ 21963 h 44180"/>
                  <a:gd name="connsiteX7" fmla="*/ 22090 w 44180"/>
                  <a:gd name="connsiteY7" fmla="*/ 30977 h 44180"/>
                  <a:gd name="connsiteX8" fmla="*/ 31104 w 44180"/>
                  <a:gd name="connsiteY8" fmla="*/ 21963 h 44180"/>
                  <a:gd name="connsiteX9" fmla="*/ 22090 w 44180"/>
                  <a:gd name="connsiteY9" fmla="*/ 12949 h 4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80" h="44180">
                    <a:moveTo>
                      <a:pt x="22090" y="44180"/>
                    </a:moveTo>
                    <a:cubicBezTo>
                      <a:pt x="9902" y="44180"/>
                      <a:pt x="0" y="34278"/>
                      <a:pt x="0" y="22090"/>
                    </a:cubicBezTo>
                    <a:cubicBezTo>
                      <a:pt x="0" y="9903"/>
                      <a:pt x="9902" y="0"/>
                      <a:pt x="22090" y="0"/>
                    </a:cubicBezTo>
                    <a:cubicBezTo>
                      <a:pt x="34278" y="0"/>
                      <a:pt x="44180" y="9903"/>
                      <a:pt x="44180" y="22090"/>
                    </a:cubicBezTo>
                    <a:cubicBezTo>
                      <a:pt x="44180" y="34278"/>
                      <a:pt x="34278" y="44180"/>
                      <a:pt x="22090" y="44180"/>
                    </a:cubicBezTo>
                    <a:close/>
                    <a:moveTo>
                      <a:pt x="22090" y="12949"/>
                    </a:moveTo>
                    <a:cubicBezTo>
                      <a:pt x="17139" y="12949"/>
                      <a:pt x="13076" y="17012"/>
                      <a:pt x="13076" y="21963"/>
                    </a:cubicBezTo>
                    <a:cubicBezTo>
                      <a:pt x="13076" y="26914"/>
                      <a:pt x="17139" y="30977"/>
                      <a:pt x="22090" y="30977"/>
                    </a:cubicBezTo>
                    <a:cubicBezTo>
                      <a:pt x="27042" y="30977"/>
                      <a:pt x="31104" y="26914"/>
                      <a:pt x="31104" y="21963"/>
                    </a:cubicBezTo>
                    <a:cubicBezTo>
                      <a:pt x="31104" y="17012"/>
                      <a:pt x="27042" y="12949"/>
                      <a:pt x="22090" y="12949"/>
                    </a:cubicBezTo>
                    <a:close/>
                  </a:path>
                </a:pathLst>
              </a:custGeom>
              <a:grpFill/>
              <a:ln w="12689" cap="flat">
                <a:noFill/>
                <a:prstDash val="solid"/>
                <a:miter/>
              </a:ln>
            </p:spPr>
            <p:txBody>
              <a:bodyPr rtlCol="0" anchor="ctr"/>
              <a:lstStyle/>
              <a:p>
                <a:endParaRPr lang="ru-RU"/>
              </a:p>
            </p:txBody>
          </p:sp>
          <p:sp>
            <p:nvSpPr>
              <p:cNvPr id="44" name="Полилиния: фигура 43">
                <a:extLst>
                  <a:ext uri="{FF2B5EF4-FFF2-40B4-BE49-F238E27FC236}">
                    <a16:creationId xmlns:a16="http://schemas.microsoft.com/office/drawing/2014/main" id="{42B367EE-CFA9-4ACF-8F03-8E662588664D}"/>
                  </a:ext>
                </a:extLst>
              </p:cNvPr>
              <p:cNvSpPr/>
              <p:nvPr/>
            </p:nvSpPr>
            <p:spPr>
              <a:xfrm>
                <a:off x="7899375" y="3944530"/>
                <a:ext cx="44180" cy="44180"/>
              </a:xfrm>
              <a:custGeom>
                <a:avLst/>
                <a:gdLst>
                  <a:gd name="connsiteX0" fmla="*/ 22090 w 44180"/>
                  <a:gd name="connsiteY0" fmla="*/ 44180 h 44180"/>
                  <a:gd name="connsiteX1" fmla="*/ 0 w 44180"/>
                  <a:gd name="connsiteY1" fmla="*/ 22090 h 44180"/>
                  <a:gd name="connsiteX2" fmla="*/ 22090 w 44180"/>
                  <a:gd name="connsiteY2" fmla="*/ 0 h 44180"/>
                  <a:gd name="connsiteX3" fmla="*/ 44180 w 44180"/>
                  <a:gd name="connsiteY3" fmla="*/ 22090 h 44180"/>
                  <a:gd name="connsiteX4" fmla="*/ 22090 w 44180"/>
                  <a:gd name="connsiteY4" fmla="*/ 44180 h 44180"/>
                  <a:gd name="connsiteX5" fmla="*/ 22090 w 44180"/>
                  <a:gd name="connsiteY5" fmla="*/ 12949 h 44180"/>
                  <a:gd name="connsiteX6" fmla="*/ 13076 w 44180"/>
                  <a:gd name="connsiteY6" fmla="*/ 21963 h 44180"/>
                  <a:gd name="connsiteX7" fmla="*/ 22090 w 44180"/>
                  <a:gd name="connsiteY7" fmla="*/ 30977 h 44180"/>
                  <a:gd name="connsiteX8" fmla="*/ 31104 w 44180"/>
                  <a:gd name="connsiteY8" fmla="*/ 21963 h 44180"/>
                  <a:gd name="connsiteX9" fmla="*/ 22090 w 44180"/>
                  <a:gd name="connsiteY9" fmla="*/ 12949 h 4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80" h="44180">
                    <a:moveTo>
                      <a:pt x="22090" y="44180"/>
                    </a:moveTo>
                    <a:cubicBezTo>
                      <a:pt x="9902" y="44180"/>
                      <a:pt x="0" y="34278"/>
                      <a:pt x="0" y="22090"/>
                    </a:cubicBezTo>
                    <a:cubicBezTo>
                      <a:pt x="0" y="9903"/>
                      <a:pt x="9902" y="0"/>
                      <a:pt x="22090" y="0"/>
                    </a:cubicBezTo>
                    <a:cubicBezTo>
                      <a:pt x="34278" y="0"/>
                      <a:pt x="44180" y="9903"/>
                      <a:pt x="44180" y="22090"/>
                    </a:cubicBezTo>
                    <a:cubicBezTo>
                      <a:pt x="44180" y="34278"/>
                      <a:pt x="34278" y="44180"/>
                      <a:pt x="22090" y="44180"/>
                    </a:cubicBezTo>
                    <a:close/>
                    <a:moveTo>
                      <a:pt x="22090" y="12949"/>
                    </a:moveTo>
                    <a:cubicBezTo>
                      <a:pt x="17139" y="12949"/>
                      <a:pt x="13076" y="17012"/>
                      <a:pt x="13076" y="21963"/>
                    </a:cubicBezTo>
                    <a:cubicBezTo>
                      <a:pt x="13076" y="26914"/>
                      <a:pt x="17139" y="30977"/>
                      <a:pt x="22090" y="30977"/>
                    </a:cubicBezTo>
                    <a:cubicBezTo>
                      <a:pt x="27042" y="30977"/>
                      <a:pt x="31104" y="26914"/>
                      <a:pt x="31104" y="21963"/>
                    </a:cubicBezTo>
                    <a:cubicBezTo>
                      <a:pt x="31104" y="17012"/>
                      <a:pt x="27042" y="12949"/>
                      <a:pt x="22090" y="12949"/>
                    </a:cubicBezTo>
                    <a:close/>
                  </a:path>
                </a:pathLst>
              </a:custGeom>
              <a:grpFill/>
              <a:ln w="12689" cap="flat">
                <a:noFill/>
                <a:prstDash val="solid"/>
                <a:miter/>
              </a:ln>
            </p:spPr>
            <p:txBody>
              <a:bodyPr rtlCol="0" anchor="ctr"/>
              <a:lstStyle/>
              <a:p>
                <a:endParaRPr lang="ru-RU"/>
              </a:p>
            </p:txBody>
          </p:sp>
        </p:grpSp>
      </p:grpSp>
      <p:grpSp>
        <p:nvGrpSpPr>
          <p:cNvPr id="45" name="Рисунок 5">
            <a:extLst>
              <a:ext uri="{FF2B5EF4-FFF2-40B4-BE49-F238E27FC236}">
                <a16:creationId xmlns:a16="http://schemas.microsoft.com/office/drawing/2014/main" id="{EA624BEB-0606-4DA4-A508-3580042506FD}"/>
              </a:ext>
            </a:extLst>
          </p:cNvPr>
          <p:cNvGrpSpPr/>
          <p:nvPr/>
        </p:nvGrpSpPr>
        <p:grpSpPr>
          <a:xfrm rot="16200000">
            <a:off x="567217" y="2732726"/>
            <a:ext cx="264474" cy="264474"/>
            <a:chOff x="8553703" y="3827223"/>
            <a:chExt cx="382898" cy="382897"/>
          </a:xfrm>
          <a:solidFill>
            <a:schemeClr val="accent5"/>
          </a:solidFill>
          <a:effectLst>
            <a:outerShdw blurRad="12700" sx="102000" sy="102000" algn="ctr" rotWithShape="0">
              <a:schemeClr val="accent5">
                <a:alpha val="40000"/>
              </a:schemeClr>
            </a:outerShdw>
          </a:effectLst>
        </p:grpSpPr>
        <p:sp>
          <p:nvSpPr>
            <p:cNvPr id="46" name="Полилиния: фигура 45">
              <a:extLst>
                <a:ext uri="{FF2B5EF4-FFF2-40B4-BE49-F238E27FC236}">
                  <a16:creationId xmlns:a16="http://schemas.microsoft.com/office/drawing/2014/main" id="{7988AD7C-10C8-427E-80AE-BB3FC2DE9FFE}"/>
                </a:ext>
              </a:extLst>
            </p:cNvPr>
            <p:cNvSpPr/>
            <p:nvPr/>
          </p:nvSpPr>
          <p:spPr>
            <a:xfrm>
              <a:off x="8553703" y="3827223"/>
              <a:ext cx="382898" cy="382897"/>
            </a:xfrm>
            <a:custGeom>
              <a:avLst/>
              <a:gdLst>
                <a:gd name="connsiteX0" fmla="*/ 191449 w 382898"/>
                <a:gd name="connsiteY0" fmla="*/ 382898 h 382897"/>
                <a:gd name="connsiteX1" fmla="*/ 0 w 382898"/>
                <a:gd name="connsiteY1" fmla="*/ 191449 h 382897"/>
                <a:gd name="connsiteX2" fmla="*/ 191449 w 382898"/>
                <a:gd name="connsiteY2" fmla="*/ 0 h 382897"/>
                <a:gd name="connsiteX3" fmla="*/ 382898 w 382898"/>
                <a:gd name="connsiteY3" fmla="*/ 191449 h 382897"/>
                <a:gd name="connsiteX4" fmla="*/ 191449 w 382898"/>
                <a:gd name="connsiteY4" fmla="*/ 382898 h 382897"/>
                <a:gd name="connsiteX5" fmla="*/ 191449 w 382898"/>
                <a:gd name="connsiteY5" fmla="*/ 12950 h 382897"/>
                <a:gd name="connsiteX6" fmla="*/ 13077 w 382898"/>
                <a:gd name="connsiteY6" fmla="*/ 191322 h 382897"/>
                <a:gd name="connsiteX7" fmla="*/ 191449 w 382898"/>
                <a:gd name="connsiteY7" fmla="*/ 369694 h 382897"/>
                <a:gd name="connsiteX8" fmla="*/ 369821 w 382898"/>
                <a:gd name="connsiteY8" fmla="*/ 191322 h 382897"/>
                <a:gd name="connsiteX9" fmla="*/ 191449 w 382898"/>
                <a:gd name="connsiteY9" fmla="*/ 12950 h 38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898" h="382897">
                  <a:moveTo>
                    <a:pt x="191449" y="382898"/>
                  </a:moveTo>
                  <a:cubicBezTo>
                    <a:pt x="85822" y="382898"/>
                    <a:pt x="0" y="296949"/>
                    <a:pt x="0" y="191449"/>
                  </a:cubicBezTo>
                  <a:cubicBezTo>
                    <a:pt x="0" y="85822"/>
                    <a:pt x="85949" y="0"/>
                    <a:pt x="191449" y="0"/>
                  </a:cubicBezTo>
                  <a:cubicBezTo>
                    <a:pt x="297076" y="0"/>
                    <a:pt x="382898" y="85822"/>
                    <a:pt x="382898" y="191449"/>
                  </a:cubicBezTo>
                  <a:cubicBezTo>
                    <a:pt x="382898" y="296949"/>
                    <a:pt x="297076" y="382898"/>
                    <a:pt x="191449" y="382898"/>
                  </a:cubicBezTo>
                  <a:close/>
                  <a:moveTo>
                    <a:pt x="191449" y="12950"/>
                  </a:moveTo>
                  <a:cubicBezTo>
                    <a:pt x="93059" y="12950"/>
                    <a:pt x="13077" y="92931"/>
                    <a:pt x="13077" y="191322"/>
                  </a:cubicBezTo>
                  <a:cubicBezTo>
                    <a:pt x="13077" y="289712"/>
                    <a:pt x="93059" y="369694"/>
                    <a:pt x="191449" y="369694"/>
                  </a:cubicBezTo>
                  <a:cubicBezTo>
                    <a:pt x="289840" y="369694"/>
                    <a:pt x="369821" y="289712"/>
                    <a:pt x="369821" y="191322"/>
                  </a:cubicBezTo>
                  <a:cubicBezTo>
                    <a:pt x="369821" y="93058"/>
                    <a:pt x="289840" y="12950"/>
                    <a:pt x="191449" y="12950"/>
                  </a:cubicBezTo>
                  <a:close/>
                </a:path>
              </a:pathLst>
            </a:custGeom>
            <a:grpFill/>
            <a:ln w="12689" cap="flat">
              <a:noFill/>
              <a:prstDash val="solid"/>
              <a:miter/>
            </a:ln>
          </p:spPr>
          <p:txBody>
            <a:bodyPr rtlCol="0" anchor="ctr"/>
            <a:lstStyle/>
            <a:p>
              <a:endParaRPr lang="ru-RU"/>
            </a:p>
          </p:txBody>
        </p:sp>
        <p:sp>
          <p:nvSpPr>
            <p:cNvPr id="47" name="Полилиния: фигура 46">
              <a:extLst>
                <a:ext uri="{FF2B5EF4-FFF2-40B4-BE49-F238E27FC236}">
                  <a16:creationId xmlns:a16="http://schemas.microsoft.com/office/drawing/2014/main" id="{9CE60EB4-3ACD-4A5B-B6AA-182EEC1F54A9}"/>
                </a:ext>
              </a:extLst>
            </p:cNvPr>
            <p:cNvSpPr/>
            <p:nvPr/>
          </p:nvSpPr>
          <p:spPr>
            <a:xfrm>
              <a:off x="8657256" y="4061709"/>
              <a:ext cx="175918" cy="52178"/>
            </a:xfrm>
            <a:custGeom>
              <a:avLst/>
              <a:gdLst>
                <a:gd name="connsiteX0" fmla="*/ 6517 w 175918"/>
                <a:gd name="connsiteY0" fmla="*/ 52179 h 52178"/>
                <a:gd name="connsiteX1" fmla="*/ 2455 w 175918"/>
                <a:gd name="connsiteY1" fmla="*/ 50782 h 52178"/>
                <a:gd name="connsiteX2" fmla="*/ 1439 w 175918"/>
                <a:gd name="connsiteY2" fmla="*/ 41641 h 52178"/>
                <a:gd name="connsiteX3" fmla="*/ 88023 w 175918"/>
                <a:gd name="connsiteY3" fmla="*/ 0 h 52178"/>
                <a:gd name="connsiteX4" fmla="*/ 174480 w 175918"/>
                <a:gd name="connsiteY4" fmla="*/ 41514 h 52178"/>
                <a:gd name="connsiteX5" fmla="*/ 173464 w 175918"/>
                <a:gd name="connsiteY5" fmla="*/ 50655 h 52178"/>
                <a:gd name="connsiteX6" fmla="*/ 164323 w 175918"/>
                <a:gd name="connsiteY6" fmla="*/ 49640 h 52178"/>
                <a:gd name="connsiteX7" fmla="*/ 88023 w 175918"/>
                <a:gd name="connsiteY7" fmla="*/ 12950 h 52178"/>
                <a:gd name="connsiteX8" fmla="*/ 11595 w 175918"/>
                <a:gd name="connsiteY8" fmla="*/ 49767 h 52178"/>
                <a:gd name="connsiteX9" fmla="*/ 6517 w 175918"/>
                <a:gd name="connsiteY9" fmla="*/ 52179 h 5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918" h="52178">
                  <a:moveTo>
                    <a:pt x="6517" y="52179"/>
                  </a:moveTo>
                  <a:cubicBezTo>
                    <a:pt x="5121" y="52179"/>
                    <a:pt x="3597" y="51671"/>
                    <a:pt x="2455" y="50782"/>
                  </a:cubicBezTo>
                  <a:cubicBezTo>
                    <a:pt x="-338" y="48497"/>
                    <a:pt x="-846" y="44434"/>
                    <a:pt x="1439" y="41641"/>
                  </a:cubicBezTo>
                  <a:cubicBezTo>
                    <a:pt x="22640" y="15108"/>
                    <a:pt x="54125" y="0"/>
                    <a:pt x="88023" y="0"/>
                  </a:cubicBezTo>
                  <a:cubicBezTo>
                    <a:pt x="121793" y="0"/>
                    <a:pt x="153277" y="15108"/>
                    <a:pt x="174480" y="41514"/>
                  </a:cubicBezTo>
                  <a:cubicBezTo>
                    <a:pt x="176765" y="44307"/>
                    <a:pt x="176257" y="48370"/>
                    <a:pt x="173464" y="50655"/>
                  </a:cubicBezTo>
                  <a:cubicBezTo>
                    <a:pt x="170671" y="52940"/>
                    <a:pt x="166608" y="52432"/>
                    <a:pt x="164323" y="49640"/>
                  </a:cubicBezTo>
                  <a:cubicBezTo>
                    <a:pt x="145660" y="26280"/>
                    <a:pt x="117857" y="12950"/>
                    <a:pt x="88023" y="12950"/>
                  </a:cubicBezTo>
                  <a:cubicBezTo>
                    <a:pt x="58188" y="12950"/>
                    <a:pt x="30258" y="26407"/>
                    <a:pt x="11595" y="49767"/>
                  </a:cubicBezTo>
                  <a:cubicBezTo>
                    <a:pt x="10326" y="51290"/>
                    <a:pt x="8422" y="52179"/>
                    <a:pt x="6517" y="52179"/>
                  </a:cubicBezTo>
                  <a:close/>
                </a:path>
              </a:pathLst>
            </a:custGeom>
            <a:grpFill/>
            <a:ln w="12689" cap="flat">
              <a:noFill/>
              <a:prstDash val="solid"/>
              <a:miter/>
            </a:ln>
          </p:spPr>
          <p:txBody>
            <a:bodyPr rtlCol="0" anchor="ctr"/>
            <a:lstStyle/>
            <a:p>
              <a:endParaRPr lang="ru-RU"/>
            </a:p>
          </p:txBody>
        </p:sp>
        <p:grpSp>
          <p:nvGrpSpPr>
            <p:cNvPr id="48" name="Рисунок 5">
              <a:extLst>
                <a:ext uri="{FF2B5EF4-FFF2-40B4-BE49-F238E27FC236}">
                  <a16:creationId xmlns:a16="http://schemas.microsoft.com/office/drawing/2014/main" id="{5386094D-2FD5-4FBB-AE62-4D8746394813}"/>
                </a:ext>
              </a:extLst>
            </p:cNvPr>
            <p:cNvGrpSpPr/>
            <p:nvPr/>
          </p:nvGrpSpPr>
          <p:grpSpPr>
            <a:xfrm>
              <a:off x="8659457" y="3944530"/>
              <a:ext cx="171390" cy="44180"/>
              <a:chOff x="8659457" y="3944530"/>
              <a:chExt cx="171390" cy="44180"/>
            </a:xfrm>
            <a:grpFill/>
          </p:grpSpPr>
          <p:sp>
            <p:nvSpPr>
              <p:cNvPr id="49" name="Полилиния: фигура 48">
                <a:extLst>
                  <a:ext uri="{FF2B5EF4-FFF2-40B4-BE49-F238E27FC236}">
                    <a16:creationId xmlns:a16="http://schemas.microsoft.com/office/drawing/2014/main" id="{C31545FE-EA4D-4009-9682-557477F1B307}"/>
                  </a:ext>
                </a:extLst>
              </p:cNvPr>
              <p:cNvSpPr/>
              <p:nvPr/>
            </p:nvSpPr>
            <p:spPr>
              <a:xfrm>
                <a:off x="8659457" y="3944530"/>
                <a:ext cx="44180" cy="44180"/>
              </a:xfrm>
              <a:custGeom>
                <a:avLst/>
                <a:gdLst>
                  <a:gd name="connsiteX0" fmla="*/ 22090 w 44180"/>
                  <a:gd name="connsiteY0" fmla="*/ 44180 h 44180"/>
                  <a:gd name="connsiteX1" fmla="*/ 0 w 44180"/>
                  <a:gd name="connsiteY1" fmla="*/ 22090 h 44180"/>
                  <a:gd name="connsiteX2" fmla="*/ 22090 w 44180"/>
                  <a:gd name="connsiteY2" fmla="*/ 0 h 44180"/>
                  <a:gd name="connsiteX3" fmla="*/ 44180 w 44180"/>
                  <a:gd name="connsiteY3" fmla="*/ 22090 h 44180"/>
                  <a:gd name="connsiteX4" fmla="*/ 22090 w 44180"/>
                  <a:gd name="connsiteY4" fmla="*/ 44180 h 44180"/>
                  <a:gd name="connsiteX5" fmla="*/ 22090 w 44180"/>
                  <a:gd name="connsiteY5" fmla="*/ 12949 h 44180"/>
                  <a:gd name="connsiteX6" fmla="*/ 13076 w 44180"/>
                  <a:gd name="connsiteY6" fmla="*/ 21963 h 44180"/>
                  <a:gd name="connsiteX7" fmla="*/ 22090 w 44180"/>
                  <a:gd name="connsiteY7" fmla="*/ 30977 h 44180"/>
                  <a:gd name="connsiteX8" fmla="*/ 31104 w 44180"/>
                  <a:gd name="connsiteY8" fmla="*/ 21963 h 44180"/>
                  <a:gd name="connsiteX9" fmla="*/ 22090 w 44180"/>
                  <a:gd name="connsiteY9" fmla="*/ 12949 h 4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80" h="44180">
                    <a:moveTo>
                      <a:pt x="22090" y="44180"/>
                    </a:moveTo>
                    <a:cubicBezTo>
                      <a:pt x="9902" y="44180"/>
                      <a:pt x="0" y="34278"/>
                      <a:pt x="0" y="22090"/>
                    </a:cubicBezTo>
                    <a:cubicBezTo>
                      <a:pt x="0" y="9903"/>
                      <a:pt x="9902" y="0"/>
                      <a:pt x="22090" y="0"/>
                    </a:cubicBezTo>
                    <a:cubicBezTo>
                      <a:pt x="34278" y="0"/>
                      <a:pt x="44180" y="9903"/>
                      <a:pt x="44180" y="22090"/>
                    </a:cubicBezTo>
                    <a:cubicBezTo>
                      <a:pt x="44180" y="34278"/>
                      <a:pt x="34278" y="44180"/>
                      <a:pt x="22090" y="44180"/>
                    </a:cubicBezTo>
                    <a:close/>
                    <a:moveTo>
                      <a:pt x="22090" y="12949"/>
                    </a:moveTo>
                    <a:cubicBezTo>
                      <a:pt x="17139" y="12949"/>
                      <a:pt x="13076" y="17012"/>
                      <a:pt x="13076" y="21963"/>
                    </a:cubicBezTo>
                    <a:cubicBezTo>
                      <a:pt x="13076" y="26914"/>
                      <a:pt x="17139" y="30977"/>
                      <a:pt x="22090" y="30977"/>
                    </a:cubicBezTo>
                    <a:cubicBezTo>
                      <a:pt x="27042" y="30977"/>
                      <a:pt x="31104" y="26914"/>
                      <a:pt x="31104" y="21963"/>
                    </a:cubicBezTo>
                    <a:cubicBezTo>
                      <a:pt x="31231" y="17012"/>
                      <a:pt x="27169" y="12949"/>
                      <a:pt x="22090" y="12949"/>
                    </a:cubicBezTo>
                    <a:close/>
                  </a:path>
                </a:pathLst>
              </a:custGeom>
              <a:grpFill/>
              <a:ln w="12689" cap="flat">
                <a:noFill/>
                <a:prstDash val="solid"/>
                <a:miter/>
              </a:ln>
            </p:spPr>
            <p:txBody>
              <a:bodyPr rtlCol="0" anchor="ctr"/>
              <a:lstStyle/>
              <a:p>
                <a:endParaRPr lang="ru-RU"/>
              </a:p>
            </p:txBody>
          </p:sp>
          <p:sp>
            <p:nvSpPr>
              <p:cNvPr id="50" name="Полилиния: фигура 49">
                <a:extLst>
                  <a:ext uri="{FF2B5EF4-FFF2-40B4-BE49-F238E27FC236}">
                    <a16:creationId xmlns:a16="http://schemas.microsoft.com/office/drawing/2014/main" id="{FBF175D6-0779-43FC-9791-1E5F456A4095}"/>
                  </a:ext>
                </a:extLst>
              </p:cNvPr>
              <p:cNvSpPr/>
              <p:nvPr/>
            </p:nvSpPr>
            <p:spPr>
              <a:xfrm>
                <a:off x="8786667" y="3944530"/>
                <a:ext cx="44180" cy="44180"/>
              </a:xfrm>
              <a:custGeom>
                <a:avLst/>
                <a:gdLst>
                  <a:gd name="connsiteX0" fmla="*/ 22090 w 44180"/>
                  <a:gd name="connsiteY0" fmla="*/ 44180 h 44180"/>
                  <a:gd name="connsiteX1" fmla="*/ 0 w 44180"/>
                  <a:gd name="connsiteY1" fmla="*/ 22090 h 44180"/>
                  <a:gd name="connsiteX2" fmla="*/ 22090 w 44180"/>
                  <a:gd name="connsiteY2" fmla="*/ 0 h 44180"/>
                  <a:gd name="connsiteX3" fmla="*/ 44180 w 44180"/>
                  <a:gd name="connsiteY3" fmla="*/ 22090 h 44180"/>
                  <a:gd name="connsiteX4" fmla="*/ 22090 w 44180"/>
                  <a:gd name="connsiteY4" fmla="*/ 44180 h 44180"/>
                  <a:gd name="connsiteX5" fmla="*/ 22090 w 44180"/>
                  <a:gd name="connsiteY5" fmla="*/ 12949 h 44180"/>
                  <a:gd name="connsiteX6" fmla="*/ 13076 w 44180"/>
                  <a:gd name="connsiteY6" fmla="*/ 21963 h 44180"/>
                  <a:gd name="connsiteX7" fmla="*/ 22090 w 44180"/>
                  <a:gd name="connsiteY7" fmla="*/ 30977 h 44180"/>
                  <a:gd name="connsiteX8" fmla="*/ 31103 w 44180"/>
                  <a:gd name="connsiteY8" fmla="*/ 21963 h 44180"/>
                  <a:gd name="connsiteX9" fmla="*/ 22090 w 44180"/>
                  <a:gd name="connsiteY9" fmla="*/ 12949 h 4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180" h="44180">
                    <a:moveTo>
                      <a:pt x="22090" y="44180"/>
                    </a:moveTo>
                    <a:cubicBezTo>
                      <a:pt x="9902" y="44180"/>
                      <a:pt x="0" y="34278"/>
                      <a:pt x="0" y="22090"/>
                    </a:cubicBezTo>
                    <a:cubicBezTo>
                      <a:pt x="0" y="9903"/>
                      <a:pt x="9902" y="0"/>
                      <a:pt x="22090" y="0"/>
                    </a:cubicBezTo>
                    <a:cubicBezTo>
                      <a:pt x="34277" y="0"/>
                      <a:pt x="44180" y="9903"/>
                      <a:pt x="44180" y="22090"/>
                    </a:cubicBezTo>
                    <a:cubicBezTo>
                      <a:pt x="44180" y="34278"/>
                      <a:pt x="34277" y="44180"/>
                      <a:pt x="22090" y="44180"/>
                    </a:cubicBezTo>
                    <a:close/>
                    <a:moveTo>
                      <a:pt x="22090" y="12949"/>
                    </a:moveTo>
                    <a:cubicBezTo>
                      <a:pt x="17139" y="12949"/>
                      <a:pt x="13076" y="17012"/>
                      <a:pt x="13076" y="21963"/>
                    </a:cubicBezTo>
                    <a:cubicBezTo>
                      <a:pt x="13076" y="26914"/>
                      <a:pt x="17139" y="30977"/>
                      <a:pt x="22090" y="30977"/>
                    </a:cubicBezTo>
                    <a:cubicBezTo>
                      <a:pt x="27041" y="30977"/>
                      <a:pt x="31103" y="26914"/>
                      <a:pt x="31103" y="21963"/>
                    </a:cubicBezTo>
                    <a:cubicBezTo>
                      <a:pt x="31103" y="17012"/>
                      <a:pt x="27041" y="12949"/>
                      <a:pt x="22090" y="12949"/>
                    </a:cubicBezTo>
                    <a:close/>
                  </a:path>
                </a:pathLst>
              </a:custGeom>
              <a:grpFill/>
              <a:ln w="12689" cap="flat">
                <a:noFill/>
                <a:prstDash val="solid"/>
                <a:miter/>
              </a:ln>
            </p:spPr>
            <p:txBody>
              <a:bodyPr rtlCol="0" anchor="ctr"/>
              <a:lstStyle/>
              <a:p>
                <a:endParaRPr lang="ru-RU"/>
              </a:p>
            </p:txBody>
          </p:sp>
        </p:grpSp>
      </p:grpSp>
      <p:sp>
        <p:nvSpPr>
          <p:cNvPr id="51" name="Овал 50">
            <a:extLst>
              <a:ext uri="{FF2B5EF4-FFF2-40B4-BE49-F238E27FC236}">
                <a16:creationId xmlns:a16="http://schemas.microsoft.com/office/drawing/2014/main" id="{1F78A428-0EF2-46D9-85F3-1F6E6B554B51}"/>
              </a:ext>
            </a:extLst>
          </p:cNvPr>
          <p:cNvSpPr/>
          <p:nvPr/>
        </p:nvSpPr>
        <p:spPr>
          <a:xfrm>
            <a:off x="1222440" y="1613115"/>
            <a:ext cx="406400" cy="406400"/>
          </a:xfrm>
          <a:prstGeom prst="ellipse">
            <a:avLst/>
          </a:prstGeom>
          <a:solidFill>
            <a:schemeClr val="accent4">
              <a:lumMod val="75000"/>
            </a:schemeClr>
          </a:solidFill>
          <a:ln>
            <a:noFill/>
          </a:ln>
          <a:effectLst>
            <a:outerShdw blurRad="63500" sx="102000" sy="102000" algn="ctr" rotWithShape="0">
              <a:schemeClr val="accent4">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Овал 51">
            <a:extLst>
              <a:ext uri="{FF2B5EF4-FFF2-40B4-BE49-F238E27FC236}">
                <a16:creationId xmlns:a16="http://schemas.microsoft.com/office/drawing/2014/main" id="{3183370F-2224-401D-93DE-7FBF317B4244}"/>
              </a:ext>
            </a:extLst>
          </p:cNvPr>
          <p:cNvSpPr/>
          <p:nvPr/>
        </p:nvSpPr>
        <p:spPr>
          <a:xfrm>
            <a:off x="1222440" y="2887588"/>
            <a:ext cx="406400" cy="406400"/>
          </a:xfrm>
          <a:prstGeom prst="ellipse">
            <a:avLst/>
          </a:prstGeom>
          <a:solidFill>
            <a:schemeClr val="accent5">
              <a:lumMod val="50000"/>
            </a:schemeClr>
          </a:solidFill>
          <a:ln>
            <a:noFill/>
          </a:ln>
          <a:effectLst>
            <a:outerShdw blurRad="63500" sx="102000" sy="102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Овал 52">
            <a:extLst>
              <a:ext uri="{FF2B5EF4-FFF2-40B4-BE49-F238E27FC236}">
                <a16:creationId xmlns:a16="http://schemas.microsoft.com/office/drawing/2014/main" id="{FE2F2838-85BD-441F-ADD9-05FAD4E0625D}"/>
              </a:ext>
            </a:extLst>
          </p:cNvPr>
          <p:cNvSpPr/>
          <p:nvPr/>
        </p:nvSpPr>
        <p:spPr>
          <a:xfrm>
            <a:off x="1349440" y="2373200"/>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 name="Овал 60">
            <a:extLst>
              <a:ext uri="{FF2B5EF4-FFF2-40B4-BE49-F238E27FC236}">
                <a16:creationId xmlns:a16="http://schemas.microsoft.com/office/drawing/2014/main" id="{80433EFA-12B1-46BD-BEF4-CDE920FAEAC9}"/>
              </a:ext>
            </a:extLst>
          </p:cNvPr>
          <p:cNvSpPr/>
          <p:nvPr/>
        </p:nvSpPr>
        <p:spPr>
          <a:xfrm>
            <a:off x="3917248" y="3300192"/>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 name="Овал 63">
            <a:extLst>
              <a:ext uri="{FF2B5EF4-FFF2-40B4-BE49-F238E27FC236}">
                <a16:creationId xmlns:a16="http://schemas.microsoft.com/office/drawing/2014/main" id="{8E0766D2-146E-4613-BDED-B5BF767D4C27}"/>
              </a:ext>
            </a:extLst>
          </p:cNvPr>
          <p:cNvSpPr/>
          <p:nvPr/>
        </p:nvSpPr>
        <p:spPr>
          <a:xfrm>
            <a:off x="3780840" y="3825316"/>
            <a:ext cx="406400" cy="406400"/>
          </a:xfrm>
          <a:prstGeom prst="ellipse">
            <a:avLst/>
          </a:prstGeom>
          <a:solidFill>
            <a:srgbClr val="C52A2A"/>
          </a:solidFill>
          <a:ln>
            <a:noFill/>
          </a:ln>
          <a:effectLst>
            <a:outerShdw blurRad="63500" sx="102000" sy="102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5" name="Овал 64">
            <a:extLst>
              <a:ext uri="{FF2B5EF4-FFF2-40B4-BE49-F238E27FC236}">
                <a16:creationId xmlns:a16="http://schemas.microsoft.com/office/drawing/2014/main" id="{4FE2A5B6-474D-4DFE-BD78-FAEFB7DAC1F0}"/>
              </a:ext>
            </a:extLst>
          </p:cNvPr>
          <p:cNvSpPr/>
          <p:nvPr/>
        </p:nvSpPr>
        <p:spPr>
          <a:xfrm>
            <a:off x="3780840" y="2532699"/>
            <a:ext cx="406400" cy="406400"/>
          </a:xfrm>
          <a:prstGeom prst="ellipse">
            <a:avLst/>
          </a:prstGeom>
          <a:solidFill>
            <a:schemeClr val="accent4"/>
          </a:solidFill>
          <a:ln>
            <a:noFill/>
          </a:ln>
          <a:effectLst>
            <a:outerShdw blurRad="63500" sx="102000" sy="102000" algn="ctr" rotWithShape="0">
              <a:schemeClr val="accent4">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a:extLst>
              <a:ext uri="{FF2B5EF4-FFF2-40B4-BE49-F238E27FC236}">
                <a16:creationId xmlns:a16="http://schemas.microsoft.com/office/drawing/2014/main" id="{680069DC-B173-454E-BE6B-604A8276876E}"/>
              </a:ext>
            </a:extLst>
          </p:cNvPr>
          <p:cNvSpPr txBox="1"/>
          <p:nvPr/>
        </p:nvSpPr>
        <p:spPr>
          <a:xfrm>
            <a:off x="2625910" y="3889599"/>
            <a:ext cx="1146746" cy="292388"/>
          </a:xfrm>
          <a:prstGeom prst="rect">
            <a:avLst/>
          </a:prstGeom>
          <a:solidFill>
            <a:schemeClr val="bg1">
              <a:alpha val="40000"/>
            </a:schemeClr>
          </a:solidFill>
        </p:spPr>
        <p:txBody>
          <a:bodyPr wrap="square" lIns="108000" rtlCol="0">
            <a:spAutoFit/>
          </a:bodyPr>
          <a:lstStyle/>
          <a:p>
            <a:pPr algn="r"/>
            <a:r>
              <a:rPr lang="ru-RU" sz="1300">
                <a:solidFill>
                  <a:schemeClr val="accent6">
                    <a:lumMod val="75000"/>
                  </a:schemeClr>
                </a:solidFill>
                <a:latin typeface="+mj-lt"/>
              </a:rPr>
              <a:t>Отрицание</a:t>
            </a:r>
            <a:endParaRPr lang="ru-RU" sz="1300">
              <a:solidFill>
                <a:schemeClr val="accent6">
                  <a:lumMod val="75000"/>
                </a:schemeClr>
              </a:solidFill>
            </a:endParaRPr>
          </a:p>
        </p:txBody>
      </p:sp>
      <p:sp>
        <p:nvSpPr>
          <p:cNvPr id="78" name="Овал 77">
            <a:extLst>
              <a:ext uri="{FF2B5EF4-FFF2-40B4-BE49-F238E27FC236}">
                <a16:creationId xmlns:a16="http://schemas.microsoft.com/office/drawing/2014/main" id="{3D9DE7A7-AAFD-40A9-9150-1948EB3FCA2B}"/>
              </a:ext>
            </a:extLst>
          </p:cNvPr>
          <p:cNvSpPr/>
          <p:nvPr/>
        </p:nvSpPr>
        <p:spPr>
          <a:xfrm>
            <a:off x="6099742" y="5625316"/>
            <a:ext cx="406400" cy="406400"/>
          </a:xfrm>
          <a:prstGeom prst="ellipse">
            <a:avLst/>
          </a:prstGeom>
          <a:solidFill>
            <a:schemeClr val="accent5">
              <a:lumMod val="75000"/>
            </a:schemeClr>
          </a:solidFill>
          <a:ln>
            <a:noFill/>
          </a:ln>
          <a:effectLst>
            <a:outerShdw blurRad="63500" sx="102000" sy="102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 name="Овал 78">
            <a:extLst>
              <a:ext uri="{FF2B5EF4-FFF2-40B4-BE49-F238E27FC236}">
                <a16:creationId xmlns:a16="http://schemas.microsoft.com/office/drawing/2014/main" id="{975B446A-6F94-43C2-BA14-888B7B747592}"/>
              </a:ext>
            </a:extLst>
          </p:cNvPr>
          <p:cNvSpPr/>
          <p:nvPr/>
        </p:nvSpPr>
        <p:spPr>
          <a:xfrm>
            <a:off x="6099742" y="4296511"/>
            <a:ext cx="406400" cy="406400"/>
          </a:xfrm>
          <a:prstGeom prst="ellipse">
            <a:avLst/>
          </a:prstGeom>
          <a:solidFill>
            <a:schemeClr val="accent3">
              <a:lumMod val="60000"/>
              <a:lumOff val="40000"/>
            </a:schemeClr>
          </a:solidFill>
          <a:ln>
            <a:noFill/>
          </a:ln>
          <a:effectLst>
            <a:outerShdw blurRad="63500" sx="102000" sy="10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Овал 80">
            <a:extLst>
              <a:ext uri="{FF2B5EF4-FFF2-40B4-BE49-F238E27FC236}">
                <a16:creationId xmlns:a16="http://schemas.microsoft.com/office/drawing/2014/main" id="{E5AE018A-9126-463B-8110-86D4DECE0493}"/>
              </a:ext>
            </a:extLst>
          </p:cNvPr>
          <p:cNvSpPr/>
          <p:nvPr/>
        </p:nvSpPr>
        <p:spPr>
          <a:xfrm>
            <a:off x="7970135" y="3141366"/>
            <a:ext cx="406400" cy="406400"/>
          </a:xfrm>
          <a:prstGeom prst="ellipse">
            <a:avLst/>
          </a:prstGeom>
          <a:solidFill>
            <a:schemeClr val="accent3"/>
          </a:solidFill>
          <a:ln>
            <a:noFill/>
          </a:ln>
          <a:effectLst>
            <a:outerShdw blurRad="63500" sx="102000" sy="10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 name="Овал 81">
            <a:extLst>
              <a:ext uri="{FF2B5EF4-FFF2-40B4-BE49-F238E27FC236}">
                <a16:creationId xmlns:a16="http://schemas.microsoft.com/office/drawing/2014/main" id="{2D81706B-B980-47A4-BF76-52ADB0294E0F}"/>
              </a:ext>
            </a:extLst>
          </p:cNvPr>
          <p:cNvSpPr/>
          <p:nvPr/>
        </p:nvSpPr>
        <p:spPr>
          <a:xfrm>
            <a:off x="9189011" y="3450600"/>
            <a:ext cx="406400" cy="406400"/>
          </a:xfrm>
          <a:prstGeom prst="ellipse">
            <a:avLst/>
          </a:prstGeom>
          <a:solidFill>
            <a:schemeClr val="accent5"/>
          </a:solidFill>
          <a:ln>
            <a:noFill/>
          </a:ln>
          <a:effectLst>
            <a:outerShdw blurRad="63500" sx="102000" sy="102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 name="Овал 82">
            <a:extLst>
              <a:ext uri="{FF2B5EF4-FFF2-40B4-BE49-F238E27FC236}">
                <a16:creationId xmlns:a16="http://schemas.microsoft.com/office/drawing/2014/main" id="{923708A5-8F2F-4332-8558-A2A6A061171F}"/>
              </a:ext>
            </a:extLst>
          </p:cNvPr>
          <p:cNvSpPr/>
          <p:nvPr/>
        </p:nvSpPr>
        <p:spPr>
          <a:xfrm>
            <a:off x="9189011" y="2102783"/>
            <a:ext cx="406400" cy="406400"/>
          </a:xfrm>
          <a:prstGeom prst="ellipse">
            <a:avLst/>
          </a:prstGeom>
          <a:solidFill>
            <a:srgbClr val="45A17A"/>
          </a:solidFill>
          <a:ln>
            <a:noFill/>
          </a:ln>
          <a:effectLst>
            <a:outerShdw blurRad="63500" sx="102000" sy="10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Овал 83">
            <a:extLst>
              <a:ext uri="{FF2B5EF4-FFF2-40B4-BE49-F238E27FC236}">
                <a16:creationId xmlns:a16="http://schemas.microsoft.com/office/drawing/2014/main" id="{318C6233-B038-47EC-8B32-A775FD1CB422}"/>
              </a:ext>
            </a:extLst>
          </p:cNvPr>
          <p:cNvSpPr/>
          <p:nvPr/>
        </p:nvSpPr>
        <p:spPr>
          <a:xfrm>
            <a:off x="11269663" y="2849800"/>
            <a:ext cx="406400" cy="406400"/>
          </a:xfrm>
          <a:prstGeom prst="ellipse">
            <a:avLst/>
          </a:prstGeom>
          <a:solidFill>
            <a:schemeClr val="accent4"/>
          </a:solidFill>
          <a:ln>
            <a:noFill/>
          </a:ln>
          <a:effectLst>
            <a:outerShdw blurRad="63500" sx="102000" sy="102000" algn="ctr" rotWithShape="0">
              <a:schemeClr val="accent4">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 name="Овал 84">
            <a:extLst>
              <a:ext uri="{FF2B5EF4-FFF2-40B4-BE49-F238E27FC236}">
                <a16:creationId xmlns:a16="http://schemas.microsoft.com/office/drawing/2014/main" id="{793A0D62-C51B-43EF-A032-001C8F6CA3E1}"/>
              </a:ext>
            </a:extLst>
          </p:cNvPr>
          <p:cNvSpPr/>
          <p:nvPr/>
        </p:nvSpPr>
        <p:spPr>
          <a:xfrm>
            <a:off x="11269663" y="1501173"/>
            <a:ext cx="406400" cy="406400"/>
          </a:xfrm>
          <a:prstGeom prst="ellipse">
            <a:avLst/>
          </a:prstGeom>
          <a:solidFill>
            <a:srgbClr val="01AF71"/>
          </a:solidFill>
          <a:ln>
            <a:noFill/>
          </a:ln>
          <a:effectLst>
            <a:outerShdw blurRad="63500" sx="102000" sy="10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EC483D4-54AC-4D04-9F24-AE6AF2CD914F}"/>
              </a:ext>
            </a:extLst>
          </p:cNvPr>
          <p:cNvSpPr txBox="1"/>
          <p:nvPr/>
        </p:nvSpPr>
        <p:spPr>
          <a:xfrm>
            <a:off x="1272393" y="2844000"/>
            <a:ext cx="306494" cy="461665"/>
          </a:xfrm>
          <a:prstGeom prst="rect">
            <a:avLst/>
          </a:prstGeom>
          <a:noFill/>
        </p:spPr>
        <p:txBody>
          <a:bodyPr wrap="square" rtlCol="0">
            <a:spAutoFit/>
          </a:bodyPr>
          <a:lstStyle/>
          <a:p>
            <a:pPr algn="ctr"/>
            <a:r>
              <a:rPr lang="ru-RU" sz="2400">
                <a:ln w="9525">
                  <a:solidFill>
                    <a:srgbClr val="B60000"/>
                  </a:solidFill>
                </a:ln>
                <a:solidFill>
                  <a:schemeClr val="bg1"/>
                </a:solidFill>
                <a:latin typeface="Verdana" panose="020B0604030504040204" pitchFamily="34" charset="0"/>
                <a:ea typeface="Verdana" panose="020B0604030504040204" pitchFamily="34" charset="0"/>
              </a:rPr>
              <a:t>!</a:t>
            </a:r>
          </a:p>
        </p:txBody>
      </p:sp>
      <p:sp>
        <p:nvSpPr>
          <p:cNvPr id="88" name="TextBox 87">
            <a:extLst>
              <a:ext uri="{FF2B5EF4-FFF2-40B4-BE49-F238E27FC236}">
                <a16:creationId xmlns:a16="http://schemas.microsoft.com/office/drawing/2014/main" id="{CBA4B9AA-F8DE-4274-8DA7-FA198DAD0A82}"/>
              </a:ext>
            </a:extLst>
          </p:cNvPr>
          <p:cNvSpPr txBox="1"/>
          <p:nvPr/>
        </p:nvSpPr>
        <p:spPr>
          <a:xfrm>
            <a:off x="1272393" y="1583286"/>
            <a:ext cx="306494" cy="461665"/>
          </a:xfrm>
          <a:prstGeom prst="rect">
            <a:avLst/>
          </a:prstGeom>
          <a:noFill/>
        </p:spPr>
        <p:txBody>
          <a:bodyPr wrap="square" rtlCol="0">
            <a:spAutoFit/>
          </a:bodyPr>
          <a:lstStyle/>
          <a:p>
            <a:pPr algn="ctr"/>
            <a:r>
              <a:rPr lang="ru-RU" sz="2400">
                <a:ln w="9525">
                  <a:solidFill>
                    <a:srgbClr val="F68807"/>
                  </a:solidFill>
                </a:ln>
                <a:solidFill>
                  <a:schemeClr val="bg1"/>
                </a:solidFill>
                <a:latin typeface="Verdana" panose="020B0604030504040204" pitchFamily="34" charset="0"/>
                <a:ea typeface="Verdana" panose="020B0604030504040204" pitchFamily="34" charset="0"/>
              </a:rPr>
              <a:t>?</a:t>
            </a:r>
          </a:p>
        </p:txBody>
      </p:sp>
      <p:sp>
        <p:nvSpPr>
          <p:cNvPr id="91" name="Полилиния: фигура 90">
            <a:extLst>
              <a:ext uri="{FF2B5EF4-FFF2-40B4-BE49-F238E27FC236}">
                <a16:creationId xmlns:a16="http://schemas.microsoft.com/office/drawing/2014/main" id="{B79C6F15-30DA-424D-BCB6-3C978971AC2C}"/>
              </a:ext>
            </a:extLst>
          </p:cNvPr>
          <p:cNvSpPr/>
          <p:nvPr/>
        </p:nvSpPr>
        <p:spPr>
          <a:xfrm>
            <a:off x="3903498" y="3947768"/>
            <a:ext cx="161084" cy="161496"/>
          </a:xfrm>
          <a:custGeom>
            <a:avLst/>
            <a:gdLst>
              <a:gd name="connsiteX0" fmla="*/ 100979 w 108024"/>
              <a:gd name="connsiteY0" fmla="*/ 108300 h 108300"/>
              <a:gd name="connsiteX1" fmla="*/ 96006 w 108024"/>
              <a:gd name="connsiteY1" fmla="*/ 106228 h 108300"/>
              <a:gd name="connsiteX2" fmla="*/ 54012 w 108024"/>
              <a:gd name="connsiteY2" fmla="*/ 64234 h 108300"/>
              <a:gd name="connsiteX3" fmla="*/ 12018 w 108024"/>
              <a:gd name="connsiteY3" fmla="*/ 106228 h 108300"/>
              <a:gd name="connsiteX4" fmla="*/ 7045 w 108024"/>
              <a:gd name="connsiteY4" fmla="*/ 108300 h 108300"/>
              <a:gd name="connsiteX5" fmla="*/ 2072 w 108024"/>
              <a:gd name="connsiteY5" fmla="*/ 106228 h 108300"/>
              <a:gd name="connsiteX6" fmla="*/ 2072 w 108024"/>
              <a:gd name="connsiteY6" fmla="*/ 96144 h 108300"/>
              <a:gd name="connsiteX7" fmla="*/ 44066 w 108024"/>
              <a:gd name="connsiteY7" fmla="*/ 54150 h 108300"/>
              <a:gd name="connsiteX8" fmla="*/ 2072 w 108024"/>
              <a:gd name="connsiteY8" fmla="*/ 12156 h 108300"/>
              <a:gd name="connsiteX9" fmla="*/ 2072 w 108024"/>
              <a:gd name="connsiteY9" fmla="*/ 2072 h 108300"/>
              <a:gd name="connsiteX10" fmla="*/ 7045 w 108024"/>
              <a:gd name="connsiteY10" fmla="*/ 0 h 108300"/>
              <a:gd name="connsiteX11" fmla="*/ 12018 w 108024"/>
              <a:gd name="connsiteY11" fmla="*/ 2072 h 108300"/>
              <a:gd name="connsiteX12" fmla="*/ 54012 w 108024"/>
              <a:gd name="connsiteY12" fmla="*/ 44066 h 108300"/>
              <a:gd name="connsiteX13" fmla="*/ 96006 w 108024"/>
              <a:gd name="connsiteY13" fmla="*/ 2072 h 108300"/>
              <a:gd name="connsiteX14" fmla="*/ 100979 w 108024"/>
              <a:gd name="connsiteY14" fmla="*/ 0 h 108300"/>
              <a:gd name="connsiteX15" fmla="*/ 105952 w 108024"/>
              <a:gd name="connsiteY15" fmla="*/ 2072 h 108300"/>
              <a:gd name="connsiteX16" fmla="*/ 105952 w 108024"/>
              <a:gd name="connsiteY16" fmla="*/ 12156 h 108300"/>
              <a:gd name="connsiteX17" fmla="*/ 63958 w 108024"/>
              <a:gd name="connsiteY17" fmla="*/ 54150 h 108300"/>
              <a:gd name="connsiteX18" fmla="*/ 105952 w 108024"/>
              <a:gd name="connsiteY18" fmla="*/ 96144 h 108300"/>
              <a:gd name="connsiteX19" fmla="*/ 105952 w 108024"/>
              <a:gd name="connsiteY19" fmla="*/ 106228 h 108300"/>
              <a:gd name="connsiteX20" fmla="*/ 100979 w 108024"/>
              <a:gd name="connsiteY20" fmla="*/ 108300 h 10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024" h="108300">
                <a:moveTo>
                  <a:pt x="100979" y="108300"/>
                </a:moveTo>
                <a:cubicBezTo>
                  <a:pt x="99045" y="108300"/>
                  <a:pt x="97249" y="107610"/>
                  <a:pt x="96006" y="106228"/>
                </a:cubicBezTo>
                <a:lnTo>
                  <a:pt x="54012" y="64234"/>
                </a:lnTo>
                <a:lnTo>
                  <a:pt x="12018" y="106228"/>
                </a:lnTo>
                <a:cubicBezTo>
                  <a:pt x="10637" y="107610"/>
                  <a:pt x="8841" y="108300"/>
                  <a:pt x="7045" y="108300"/>
                </a:cubicBezTo>
                <a:cubicBezTo>
                  <a:pt x="5249" y="108300"/>
                  <a:pt x="3315" y="107610"/>
                  <a:pt x="2072" y="106228"/>
                </a:cubicBezTo>
                <a:cubicBezTo>
                  <a:pt x="-691" y="103466"/>
                  <a:pt x="-691" y="98907"/>
                  <a:pt x="2072" y="96144"/>
                </a:cubicBezTo>
                <a:lnTo>
                  <a:pt x="44066" y="54150"/>
                </a:lnTo>
                <a:lnTo>
                  <a:pt x="2072" y="12156"/>
                </a:lnTo>
                <a:cubicBezTo>
                  <a:pt x="-691" y="9394"/>
                  <a:pt x="-691" y="4835"/>
                  <a:pt x="2072" y="2072"/>
                </a:cubicBezTo>
                <a:cubicBezTo>
                  <a:pt x="3453" y="691"/>
                  <a:pt x="5249" y="0"/>
                  <a:pt x="7045" y="0"/>
                </a:cubicBezTo>
                <a:cubicBezTo>
                  <a:pt x="8841" y="0"/>
                  <a:pt x="10775" y="691"/>
                  <a:pt x="12018" y="2072"/>
                </a:cubicBezTo>
                <a:lnTo>
                  <a:pt x="54012" y="44066"/>
                </a:lnTo>
                <a:lnTo>
                  <a:pt x="96006" y="2072"/>
                </a:lnTo>
                <a:cubicBezTo>
                  <a:pt x="97388" y="691"/>
                  <a:pt x="99183" y="0"/>
                  <a:pt x="100979" y="0"/>
                </a:cubicBezTo>
                <a:cubicBezTo>
                  <a:pt x="102913" y="0"/>
                  <a:pt x="104709" y="691"/>
                  <a:pt x="105952" y="2072"/>
                </a:cubicBezTo>
                <a:cubicBezTo>
                  <a:pt x="108715" y="4835"/>
                  <a:pt x="108715" y="9394"/>
                  <a:pt x="105952" y="12156"/>
                </a:cubicBezTo>
                <a:lnTo>
                  <a:pt x="63958" y="54150"/>
                </a:lnTo>
                <a:lnTo>
                  <a:pt x="105952" y="96144"/>
                </a:lnTo>
                <a:cubicBezTo>
                  <a:pt x="108715" y="98907"/>
                  <a:pt x="108715" y="103466"/>
                  <a:pt x="105952" y="106228"/>
                </a:cubicBezTo>
                <a:cubicBezTo>
                  <a:pt x="104709" y="107610"/>
                  <a:pt x="102913" y="108300"/>
                  <a:pt x="100979" y="108300"/>
                </a:cubicBezTo>
                <a:close/>
              </a:path>
            </a:pathLst>
          </a:custGeom>
          <a:solidFill>
            <a:schemeClr val="bg1"/>
          </a:solidFill>
          <a:ln w="6350" cap="flat">
            <a:solidFill>
              <a:srgbClr val="C52A2A"/>
            </a:solidFill>
            <a:prstDash val="solid"/>
            <a:miter/>
          </a:ln>
          <a:effectLst>
            <a:outerShdw blurRad="63500" sx="102000" sy="102000" algn="ctr" rotWithShape="0">
              <a:prstClr val="black">
                <a:alpha val="40000"/>
              </a:prstClr>
            </a:outerShdw>
          </a:effectLst>
        </p:spPr>
        <p:txBody>
          <a:bodyPr rtlCol="0" anchor="ctr"/>
          <a:lstStyle/>
          <a:p>
            <a:endParaRPr lang="ru-RU"/>
          </a:p>
        </p:txBody>
      </p:sp>
      <p:sp>
        <p:nvSpPr>
          <p:cNvPr id="95" name="Полилиния: фигура 94">
            <a:extLst>
              <a:ext uri="{FF2B5EF4-FFF2-40B4-BE49-F238E27FC236}">
                <a16:creationId xmlns:a16="http://schemas.microsoft.com/office/drawing/2014/main" id="{0B84C401-622C-4BEE-AAAC-B7231C108932}"/>
              </a:ext>
            </a:extLst>
          </p:cNvPr>
          <p:cNvSpPr/>
          <p:nvPr/>
        </p:nvSpPr>
        <p:spPr>
          <a:xfrm rot="2700000">
            <a:off x="6177178" y="5720163"/>
            <a:ext cx="251528" cy="257514"/>
          </a:xfrm>
          <a:custGeom>
            <a:avLst/>
            <a:gdLst>
              <a:gd name="connsiteX0" fmla="*/ 206812 w 335833"/>
              <a:gd name="connsiteY0" fmla="*/ 343826 h 343826"/>
              <a:gd name="connsiteX1" fmla="*/ 201839 w 335833"/>
              <a:gd name="connsiteY1" fmla="*/ 341754 h 343826"/>
              <a:gd name="connsiteX2" fmla="*/ 165923 w 335833"/>
              <a:gd name="connsiteY2" fmla="*/ 305838 h 343826"/>
              <a:gd name="connsiteX3" fmla="*/ 163851 w 335833"/>
              <a:gd name="connsiteY3" fmla="*/ 300865 h 343826"/>
              <a:gd name="connsiteX4" fmla="*/ 165923 w 335833"/>
              <a:gd name="connsiteY4" fmla="*/ 295892 h 343826"/>
              <a:gd name="connsiteX5" fmla="*/ 168133 w 335833"/>
              <a:gd name="connsiteY5" fmla="*/ 293682 h 343826"/>
              <a:gd name="connsiteX6" fmla="*/ 151556 w 335833"/>
              <a:gd name="connsiteY6" fmla="*/ 277106 h 343826"/>
              <a:gd name="connsiteX7" fmla="*/ 129041 w 335833"/>
              <a:gd name="connsiteY7" fmla="*/ 266469 h 343826"/>
              <a:gd name="connsiteX8" fmla="*/ 94091 w 335833"/>
              <a:gd name="connsiteY8" fmla="*/ 248373 h 343826"/>
              <a:gd name="connsiteX9" fmla="*/ 7893 w 335833"/>
              <a:gd name="connsiteY9" fmla="*/ 162175 h 343826"/>
              <a:gd name="connsiteX10" fmla="*/ 8445 w 335833"/>
              <a:gd name="connsiteY10" fmla="*/ 122805 h 343826"/>
              <a:gd name="connsiteX11" fmla="*/ 17148 w 335833"/>
              <a:gd name="connsiteY11" fmla="*/ 114102 h 343826"/>
              <a:gd name="connsiteX12" fmla="*/ 7755 w 335833"/>
              <a:gd name="connsiteY12" fmla="*/ 104571 h 343826"/>
              <a:gd name="connsiteX13" fmla="*/ 19 w 335833"/>
              <a:gd name="connsiteY13" fmla="*/ 84679 h 343826"/>
              <a:gd name="connsiteX14" fmla="*/ 8307 w 335833"/>
              <a:gd name="connsiteY14" fmla="*/ 65201 h 343826"/>
              <a:gd name="connsiteX15" fmla="*/ 17010 w 335833"/>
              <a:gd name="connsiteY15" fmla="*/ 56499 h 343826"/>
              <a:gd name="connsiteX16" fmla="*/ 14800 w 335833"/>
              <a:gd name="connsiteY16" fmla="*/ 54288 h 343826"/>
              <a:gd name="connsiteX17" fmla="*/ 6788 w 335833"/>
              <a:gd name="connsiteY17" fmla="*/ 34811 h 343826"/>
              <a:gd name="connsiteX18" fmla="*/ 14938 w 335833"/>
              <a:gd name="connsiteY18" fmla="*/ 15333 h 343826"/>
              <a:gd name="connsiteX19" fmla="*/ 34139 w 335833"/>
              <a:gd name="connsiteY19" fmla="*/ 7321 h 343826"/>
              <a:gd name="connsiteX20" fmla="*/ 53617 w 335833"/>
              <a:gd name="connsiteY20" fmla="*/ 15471 h 343826"/>
              <a:gd name="connsiteX21" fmla="*/ 55827 w 335833"/>
              <a:gd name="connsiteY21" fmla="*/ 17682 h 343826"/>
              <a:gd name="connsiteX22" fmla="*/ 65773 w 335833"/>
              <a:gd name="connsiteY22" fmla="*/ 7736 h 343826"/>
              <a:gd name="connsiteX23" fmla="*/ 84283 w 335833"/>
              <a:gd name="connsiteY23" fmla="*/ 0 h 343826"/>
              <a:gd name="connsiteX24" fmla="*/ 103899 w 335833"/>
              <a:gd name="connsiteY24" fmla="*/ 8288 h 343826"/>
              <a:gd name="connsiteX25" fmla="*/ 142025 w 335833"/>
              <a:gd name="connsiteY25" fmla="*/ 46415 h 343826"/>
              <a:gd name="connsiteX26" fmla="*/ 151419 w 335833"/>
              <a:gd name="connsiteY26" fmla="*/ 37021 h 343826"/>
              <a:gd name="connsiteX27" fmla="*/ 170758 w 335833"/>
              <a:gd name="connsiteY27" fmla="*/ 28180 h 343826"/>
              <a:gd name="connsiteX28" fmla="*/ 190097 w 335833"/>
              <a:gd name="connsiteY28" fmla="*/ 37021 h 343826"/>
              <a:gd name="connsiteX29" fmla="*/ 226013 w 335833"/>
              <a:gd name="connsiteY29" fmla="*/ 72937 h 343826"/>
              <a:gd name="connsiteX30" fmla="*/ 251983 w 335833"/>
              <a:gd name="connsiteY30" fmla="*/ 121009 h 343826"/>
              <a:gd name="connsiteX31" fmla="*/ 269112 w 335833"/>
              <a:gd name="connsiteY31" fmla="*/ 159135 h 343826"/>
              <a:gd name="connsiteX32" fmla="*/ 285689 w 335833"/>
              <a:gd name="connsiteY32" fmla="*/ 175712 h 343826"/>
              <a:gd name="connsiteX33" fmla="*/ 287900 w 335833"/>
              <a:gd name="connsiteY33" fmla="*/ 173502 h 343826"/>
              <a:gd name="connsiteX34" fmla="*/ 292873 w 335833"/>
              <a:gd name="connsiteY34" fmla="*/ 171430 h 343826"/>
              <a:gd name="connsiteX35" fmla="*/ 297845 w 335833"/>
              <a:gd name="connsiteY35" fmla="*/ 173502 h 343826"/>
              <a:gd name="connsiteX36" fmla="*/ 333761 w 335833"/>
              <a:gd name="connsiteY36" fmla="*/ 209418 h 343826"/>
              <a:gd name="connsiteX37" fmla="*/ 333761 w 335833"/>
              <a:gd name="connsiteY37" fmla="*/ 219502 h 343826"/>
              <a:gd name="connsiteX38" fmla="*/ 328788 w 335833"/>
              <a:gd name="connsiteY38" fmla="*/ 221574 h 343826"/>
              <a:gd name="connsiteX39" fmla="*/ 323815 w 335833"/>
              <a:gd name="connsiteY39" fmla="*/ 219502 h 343826"/>
              <a:gd name="connsiteX40" fmla="*/ 292873 w 335833"/>
              <a:gd name="connsiteY40" fmla="*/ 188559 h 343826"/>
              <a:gd name="connsiteX41" fmla="*/ 180704 w 335833"/>
              <a:gd name="connsiteY41" fmla="*/ 300727 h 343826"/>
              <a:gd name="connsiteX42" fmla="*/ 211647 w 335833"/>
              <a:gd name="connsiteY42" fmla="*/ 331670 h 343826"/>
              <a:gd name="connsiteX43" fmla="*/ 213719 w 335833"/>
              <a:gd name="connsiteY43" fmla="*/ 336643 h 343826"/>
              <a:gd name="connsiteX44" fmla="*/ 211647 w 335833"/>
              <a:gd name="connsiteY44" fmla="*/ 341616 h 343826"/>
              <a:gd name="connsiteX45" fmla="*/ 206812 w 335833"/>
              <a:gd name="connsiteY45" fmla="*/ 343826 h 343826"/>
              <a:gd name="connsiteX46" fmla="*/ 18392 w 335833"/>
              <a:gd name="connsiteY46" fmla="*/ 132751 h 343826"/>
              <a:gd name="connsiteX47" fmla="*/ 14247 w 335833"/>
              <a:gd name="connsiteY47" fmla="*/ 142559 h 343826"/>
              <a:gd name="connsiteX48" fmla="*/ 17838 w 335833"/>
              <a:gd name="connsiteY48" fmla="*/ 152090 h 343826"/>
              <a:gd name="connsiteX49" fmla="*/ 104037 w 335833"/>
              <a:gd name="connsiteY49" fmla="*/ 238289 h 343826"/>
              <a:gd name="connsiteX50" fmla="*/ 133323 w 335833"/>
              <a:gd name="connsiteY50" fmla="*/ 252931 h 343826"/>
              <a:gd name="connsiteX51" fmla="*/ 161503 w 335833"/>
              <a:gd name="connsiteY51" fmla="*/ 267022 h 343826"/>
              <a:gd name="connsiteX52" fmla="*/ 178080 w 335833"/>
              <a:gd name="connsiteY52" fmla="*/ 283598 h 343826"/>
              <a:gd name="connsiteX53" fmla="*/ 275881 w 335833"/>
              <a:gd name="connsiteY53" fmla="*/ 185796 h 343826"/>
              <a:gd name="connsiteX54" fmla="*/ 259305 w 335833"/>
              <a:gd name="connsiteY54" fmla="*/ 169220 h 343826"/>
              <a:gd name="connsiteX55" fmla="*/ 238308 w 335833"/>
              <a:gd name="connsiteY55" fmla="*/ 123634 h 343826"/>
              <a:gd name="connsiteX56" fmla="*/ 216206 w 335833"/>
              <a:gd name="connsiteY56" fmla="*/ 83021 h 343826"/>
              <a:gd name="connsiteX57" fmla="*/ 180289 w 335833"/>
              <a:gd name="connsiteY57" fmla="*/ 47105 h 343826"/>
              <a:gd name="connsiteX58" fmla="*/ 171034 w 335833"/>
              <a:gd name="connsiteY58" fmla="*/ 42408 h 343826"/>
              <a:gd name="connsiteX59" fmla="*/ 161641 w 335833"/>
              <a:gd name="connsiteY59" fmla="*/ 47105 h 343826"/>
              <a:gd name="connsiteX60" fmla="*/ 152248 w 335833"/>
              <a:gd name="connsiteY60" fmla="*/ 56499 h 343826"/>
              <a:gd name="connsiteX61" fmla="*/ 183191 w 335833"/>
              <a:gd name="connsiteY61" fmla="*/ 87442 h 343826"/>
              <a:gd name="connsiteX62" fmla="*/ 183191 w 335833"/>
              <a:gd name="connsiteY62" fmla="*/ 97526 h 343826"/>
              <a:gd name="connsiteX63" fmla="*/ 178218 w 335833"/>
              <a:gd name="connsiteY63" fmla="*/ 99598 h 343826"/>
              <a:gd name="connsiteX64" fmla="*/ 173244 w 335833"/>
              <a:gd name="connsiteY64" fmla="*/ 97526 h 343826"/>
              <a:gd name="connsiteX65" fmla="*/ 94229 w 335833"/>
              <a:gd name="connsiteY65" fmla="*/ 18510 h 343826"/>
              <a:gd name="connsiteX66" fmla="*/ 84698 w 335833"/>
              <a:gd name="connsiteY66" fmla="*/ 14366 h 343826"/>
              <a:gd name="connsiteX67" fmla="*/ 76133 w 335833"/>
              <a:gd name="connsiteY67" fmla="*/ 17958 h 343826"/>
              <a:gd name="connsiteX68" fmla="*/ 66187 w 335833"/>
              <a:gd name="connsiteY68" fmla="*/ 27904 h 343826"/>
              <a:gd name="connsiteX69" fmla="*/ 147412 w 335833"/>
              <a:gd name="connsiteY69" fmla="*/ 109129 h 343826"/>
              <a:gd name="connsiteX70" fmla="*/ 147412 w 335833"/>
              <a:gd name="connsiteY70" fmla="*/ 119213 h 343826"/>
              <a:gd name="connsiteX71" fmla="*/ 142440 w 335833"/>
              <a:gd name="connsiteY71" fmla="*/ 121285 h 343826"/>
              <a:gd name="connsiteX72" fmla="*/ 137467 w 335833"/>
              <a:gd name="connsiteY72" fmla="*/ 119213 h 343826"/>
              <a:gd name="connsiteX73" fmla="*/ 44085 w 335833"/>
              <a:gd name="connsiteY73" fmla="*/ 25694 h 343826"/>
              <a:gd name="connsiteX74" fmla="*/ 34554 w 335833"/>
              <a:gd name="connsiteY74" fmla="*/ 21688 h 343826"/>
              <a:gd name="connsiteX75" fmla="*/ 25574 w 335833"/>
              <a:gd name="connsiteY75" fmla="*/ 25417 h 343826"/>
              <a:gd name="connsiteX76" fmla="*/ 21430 w 335833"/>
              <a:gd name="connsiteY76" fmla="*/ 35087 h 343826"/>
              <a:gd name="connsiteX77" fmla="*/ 25298 w 335833"/>
              <a:gd name="connsiteY77" fmla="*/ 44481 h 343826"/>
              <a:gd name="connsiteX78" fmla="*/ 118680 w 335833"/>
              <a:gd name="connsiteY78" fmla="*/ 137862 h 343826"/>
              <a:gd name="connsiteX79" fmla="*/ 120752 w 335833"/>
              <a:gd name="connsiteY79" fmla="*/ 142835 h 343826"/>
              <a:gd name="connsiteX80" fmla="*/ 118680 w 335833"/>
              <a:gd name="connsiteY80" fmla="*/ 147808 h 343826"/>
              <a:gd name="connsiteX81" fmla="*/ 113707 w 335833"/>
              <a:gd name="connsiteY81" fmla="*/ 149880 h 343826"/>
              <a:gd name="connsiteX82" fmla="*/ 108734 w 335833"/>
              <a:gd name="connsiteY82" fmla="*/ 147808 h 343826"/>
              <a:gd name="connsiteX83" fmla="*/ 27508 w 335833"/>
              <a:gd name="connsiteY83" fmla="*/ 66583 h 343826"/>
              <a:gd name="connsiteX84" fmla="*/ 18667 w 335833"/>
              <a:gd name="connsiteY84" fmla="*/ 75285 h 343826"/>
              <a:gd name="connsiteX85" fmla="*/ 14523 w 335833"/>
              <a:gd name="connsiteY85" fmla="*/ 85093 h 343826"/>
              <a:gd name="connsiteX86" fmla="*/ 18115 w 335833"/>
              <a:gd name="connsiteY86" fmla="*/ 94487 h 343826"/>
              <a:gd name="connsiteX87" fmla="*/ 89947 w 335833"/>
              <a:gd name="connsiteY87" fmla="*/ 166319 h 343826"/>
              <a:gd name="connsiteX88" fmla="*/ 89947 w 335833"/>
              <a:gd name="connsiteY88" fmla="*/ 176403 h 343826"/>
              <a:gd name="connsiteX89" fmla="*/ 84974 w 335833"/>
              <a:gd name="connsiteY89" fmla="*/ 178475 h 343826"/>
              <a:gd name="connsiteX90" fmla="*/ 80001 w 335833"/>
              <a:gd name="connsiteY90" fmla="*/ 176403 h 343826"/>
              <a:gd name="connsiteX91" fmla="*/ 27508 w 335833"/>
              <a:gd name="connsiteY91" fmla="*/ 123910 h 343826"/>
              <a:gd name="connsiteX92" fmla="*/ 18392 w 335833"/>
              <a:gd name="connsiteY92" fmla="*/ 132751 h 34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35833" h="343826">
                <a:moveTo>
                  <a:pt x="206812" y="343826"/>
                </a:moveTo>
                <a:cubicBezTo>
                  <a:pt x="204878" y="343826"/>
                  <a:pt x="203083" y="343136"/>
                  <a:pt x="201839" y="341754"/>
                </a:cubicBezTo>
                <a:lnTo>
                  <a:pt x="165923" y="305838"/>
                </a:lnTo>
                <a:cubicBezTo>
                  <a:pt x="164541" y="304457"/>
                  <a:pt x="163851" y="302661"/>
                  <a:pt x="163851" y="300865"/>
                </a:cubicBezTo>
                <a:cubicBezTo>
                  <a:pt x="163851" y="298931"/>
                  <a:pt x="164541" y="297136"/>
                  <a:pt x="165923" y="295892"/>
                </a:cubicBezTo>
                <a:lnTo>
                  <a:pt x="168133" y="293682"/>
                </a:lnTo>
                <a:lnTo>
                  <a:pt x="151556" y="277106"/>
                </a:lnTo>
                <a:cubicBezTo>
                  <a:pt x="146860" y="272409"/>
                  <a:pt x="138157" y="269508"/>
                  <a:pt x="129041" y="266469"/>
                </a:cubicBezTo>
                <a:cubicBezTo>
                  <a:pt x="117160" y="262601"/>
                  <a:pt x="103899" y="258181"/>
                  <a:pt x="94091" y="248373"/>
                </a:cubicBezTo>
                <a:lnTo>
                  <a:pt x="7893" y="162175"/>
                </a:lnTo>
                <a:cubicBezTo>
                  <a:pt x="-2606" y="151676"/>
                  <a:pt x="-2329" y="133580"/>
                  <a:pt x="8445" y="122805"/>
                </a:cubicBezTo>
                <a:lnTo>
                  <a:pt x="17148" y="114102"/>
                </a:lnTo>
                <a:lnTo>
                  <a:pt x="7755" y="104571"/>
                </a:lnTo>
                <a:cubicBezTo>
                  <a:pt x="2505" y="99322"/>
                  <a:pt x="-258" y="92276"/>
                  <a:pt x="19" y="84679"/>
                </a:cubicBezTo>
                <a:cubicBezTo>
                  <a:pt x="157" y="77357"/>
                  <a:pt x="3196" y="70312"/>
                  <a:pt x="8307" y="65201"/>
                </a:cubicBezTo>
                <a:lnTo>
                  <a:pt x="17010" y="56499"/>
                </a:lnTo>
                <a:lnTo>
                  <a:pt x="14800" y="54288"/>
                </a:lnTo>
                <a:cubicBezTo>
                  <a:pt x="9551" y="49039"/>
                  <a:pt x="6788" y="42132"/>
                  <a:pt x="6788" y="34811"/>
                </a:cubicBezTo>
                <a:cubicBezTo>
                  <a:pt x="6788" y="27490"/>
                  <a:pt x="9689" y="20583"/>
                  <a:pt x="14938" y="15333"/>
                </a:cubicBezTo>
                <a:cubicBezTo>
                  <a:pt x="20187" y="10084"/>
                  <a:pt x="26956" y="7321"/>
                  <a:pt x="34139" y="7321"/>
                </a:cubicBezTo>
                <a:cubicBezTo>
                  <a:pt x="41322" y="7321"/>
                  <a:pt x="48229" y="10222"/>
                  <a:pt x="53617" y="15471"/>
                </a:cubicBezTo>
                <a:lnTo>
                  <a:pt x="55827" y="17682"/>
                </a:lnTo>
                <a:lnTo>
                  <a:pt x="65773" y="7736"/>
                </a:lnTo>
                <a:cubicBezTo>
                  <a:pt x="70746" y="2763"/>
                  <a:pt x="77376" y="0"/>
                  <a:pt x="84283" y="0"/>
                </a:cubicBezTo>
                <a:cubicBezTo>
                  <a:pt x="91605" y="0"/>
                  <a:pt x="98512" y="2901"/>
                  <a:pt x="103899" y="8288"/>
                </a:cubicBezTo>
                <a:lnTo>
                  <a:pt x="142025" y="46415"/>
                </a:lnTo>
                <a:lnTo>
                  <a:pt x="151419" y="37021"/>
                </a:lnTo>
                <a:cubicBezTo>
                  <a:pt x="157220" y="31219"/>
                  <a:pt x="163851" y="28180"/>
                  <a:pt x="170758" y="28180"/>
                </a:cubicBezTo>
                <a:cubicBezTo>
                  <a:pt x="177665" y="28180"/>
                  <a:pt x="184433" y="31219"/>
                  <a:pt x="190097" y="37021"/>
                </a:cubicBezTo>
                <a:lnTo>
                  <a:pt x="226013" y="72937"/>
                </a:lnTo>
                <a:cubicBezTo>
                  <a:pt x="236374" y="83297"/>
                  <a:pt x="247563" y="97111"/>
                  <a:pt x="251983" y="121009"/>
                </a:cubicBezTo>
                <a:cubicBezTo>
                  <a:pt x="255160" y="137862"/>
                  <a:pt x="258890" y="148913"/>
                  <a:pt x="269112" y="159135"/>
                </a:cubicBezTo>
                <a:lnTo>
                  <a:pt x="285689" y="175712"/>
                </a:lnTo>
                <a:lnTo>
                  <a:pt x="287900" y="173502"/>
                </a:lnTo>
                <a:cubicBezTo>
                  <a:pt x="289281" y="172120"/>
                  <a:pt x="291077" y="171430"/>
                  <a:pt x="292873" y="171430"/>
                </a:cubicBezTo>
                <a:cubicBezTo>
                  <a:pt x="294807" y="171430"/>
                  <a:pt x="296602" y="172120"/>
                  <a:pt x="297845" y="173502"/>
                </a:cubicBezTo>
                <a:lnTo>
                  <a:pt x="333761" y="209418"/>
                </a:lnTo>
                <a:cubicBezTo>
                  <a:pt x="336524" y="212181"/>
                  <a:pt x="336524" y="216739"/>
                  <a:pt x="333761" y="219502"/>
                </a:cubicBezTo>
                <a:cubicBezTo>
                  <a:pt x="332380" y="220883"/>
                  <a:pt x="330584" y="221574"/>
                  <a:pt x="328788" y="221574"/>
                </a:cubicBezTo>
                <a:cubicBezTo>
                  <a:pt x="326992" y="221574"/>
                  <a:pt x="325058" y="220883"/>
                  <a:pt x="323815" y="219502"/>
                </a:cubicBezTo>
                <a:lnTo>
                  <a:pt x="292873" y="188559"/>
                </a:lnTo>
                <a:lnTo>
                  <a:pt x="180704" y="300727"/>
                </a:lnTo>
                <a:lnTo>
                  <a:pt x="211647" y="331670"/>
                </a:lnTo>
                <a:cubicBezTo>
                  <a:pt x="213028" y="333052"/>
                  <a:pt x="213719" y="334848"/>
                  <a:pt x="213719" y="336643"/>
                </a:cubicBezTo>
                <a:cubicBezTo>
                  <a:pt x="213719" y="338439"/>
                  <a:pt x="213028" y="340373"/>
                  <a:pt x="211647" y="341616"/>
                </a:cubicBezTo>
                <a:cubicBezTo>
                  <a:pt x="210542" y="343136"/>
                  <a:pt x="208746" y="343826"/>
                  <a:pt x="206812" y="343826"/>
                </a:cubicBezTo>
                <a:close/>
                <a:moveTo>
                  <a:pt x="18392" y="132751"/>
                </a:moveTo>
                <a:cubicBezTo>
                  <a:pt x="15905" y="135237"/>
                  <a:pt x="14385" y="138829"/>
                  <a:pt x="14247" y="142559"/>
                </a:cubicBezTo>
                <a:cubicBezTo>
                  <a:pt x="14109" y="146289"/>
                  <a:pt x="15490" y="149742"/>
                  <a:pt x="17838" y="152090"/>
                </a:cubicBezTo>
                <a:lnTo>
                  <a:pt x="104037" y="238289"/>
                </a:lnTo>
                <a:cubicBezTo>
                  <a:pt x="111497" y="245748"/>
                  <a:pt x="122548" y="249340"/>
                  <a:pt x="133323" y="252931"/>
                </a:cubicBezTo>
                <a:cubicBezTo>
                  <a:pt x="144235" y="256523"/>
                  <a:pt x="154458" y="259976"/>
                  <a:pt x="161503" y="267022"/>
                </a:cubicBezTo>
                <a:lnTo>
                  <a:pt x="178080" y="283598"/>
                </a:lnTo>
                <a:lnTo>
                  <a:pt x="275881" y="185796"/>
                </a:lnTo>
                <a:lnTo>
                  <a:pt x="259305" y="169220"/>
                </a:lnTo>
                <a:cubicBezTo>
                  <a:pt x="245215" y="155129"/>
                  <a:pt x="241209" y="138967"/>
                  <a:pt x="238308" y="123634"/>
                </a:cubicBezTo>
                <a:cubicBezTo>
                  <a:pt x="234578" y="103466"/>
                  <a:pt x="225461" y="92138"/>
                  <a:pt x="216206" y="83021"/>
                </a:cubicBezTo>
                <a:lnTo>
                  <a:pt x="180289" y="47105"/>
                </a:lnTo>
                <a:cubicBezTo>
                  <a:pt x="178908" y="45724"/>
                  <a:pt x="175593" y="42408"/>
                  <a:pt x="171034" y="42408"/>
                </a:cubicBezTo>
                <a:cubicBezTo>
                  <a:pt x="167857" y="42408"/>
                  <a:pt x="164680" y="43928"/>
                  <a:pt x="161641" y="47105"/>
                </a:cubicBezTo>
                <a:lnTo>
                  <a:pt x="152248" y="56499"/>
                </a:lnTo>
                <a:lnTo>
                  <a:pt x="183191" y="87442"/>
                </a:lnTo>
                <a:cubicBezTo>
                  <a:pt x="185954" y="90204"/>
                  <a:pt x="185954" y="94763"/>
                  <a:pt x="183191" y="97526"/>
                </a:cubicBezTo>
                <a:cubicBezTo>
                  <a:pt x="181809" y="98907"/>
                  <a:pt x="180013" y="99598"/>
                  <a:pt x="178218" y="99598"/>
                </a:cubicBezTo>
                <a:cubicBezTo>
                  <a:pt x="176422" y="99598"/>
                  <a:pt x="174488" y="98907"/>
                  <a:pt x="173244" y="97526"/>
                </a:cubicBezTo>
                <a:lnTo>
                  <a:pt x="94229" y="18510"/>
                </a:lnTo>
                <a:cubicBezTo>
                  <a:pt x="91466" y="15748"/>
                  <a:pt x="88151" y="14366"/>
                  <a:pt x="84698" y="14366"/>
                </a:cubicBezTo>
                <a:cubicBezTo>
                  <a:pt x="81521" y="14366"/>
                  <a:pt x="78481" y="15610"/>
                  <a:pt x="76133" y="17958"/>
                </a:cubicBezTo>
                <a:lnTo>
                  <a:pt x="66187" y="27904"/>
                </a:lnTo>
                <a:lnTo>
                  <a:pt x="147412" y="109129"/>
                </a:lnTo>
                <a:cubicBezTo>
                  <a:pt x="150175" y="111892"/>
                  <a:pt x="150175" y="116451"/>
                  <a:pt x="147412" y="119213"/>
                </a:cubicBezTo>
                <a:cubicBezTo>
                  <a:pt x="146031" y="120595"/>
                  <a:pt x="144235" y="121285"/>
                  <a:pt x="142440" y="121285"/>
                </a:cubicBezTo>
                <a:cubicBezTo>
                  <a:pt x="140644" y="121285"/>
                  <a:pt x="138710" y="120595"/>
                  <a:pt x="137467" y="119213"/>
                </a:cubicBezTo>
                <a:lnTo>
                  <a:pt x="44085" y="25694"/>
                </a:lnTo>
                <a:cubicBezTo>
                  <a:pt x="41460" y="23069"/>
                  <a:pt x="38145" y="21688"/>
                  <a:pt x="34554" y="21688"/>
                </a:cubicBezTo>
                <a:cubicBezTo>
                  <a:pt x="31238" y="21688"/>
                  <a:pt x="28061" y="23069"/>
                  <a:pt x="25574" y="25417"/>
                </a:cubicBezTo>
                <a:cubicBezTo>
                  <a:pt x="22950" y="28042"/>
                  <a:pt x="21568" y="31357"/>
                  <a:pt x="21430" y="35087"/>
                </a:cubicBezTo>
                <a:cubicBezTo>
                  <a:pt x="21430" y="38679"/>
                  <a:pt x="22812" y="41994"/>
                  <a:pt x="25298" y="44481"/>
                </a:cubicBezTo>
                <a:lnTo>
                  <a:pt x="118680" y="137862"/>
                </a:lnTo>
                <a:cubicBezTo>
                  <a:pt x="120061" y="139244"/>
                  <a:pt x="120752" y="141039"/>
                  <a:pt x="120752" y="142835"/>
                </a:cubicBezTo>
                <a:cubicBezTo>
                  <a:pt x="120752" y="144769"/>
                  <a:pt x="120061" y="146565"/>
                  <a:pt x="118680" y="147808"/>
                </a:cubicBezTo>
                <a:cubicBezTo>
                  <a:pt x="117298" y="149190"/>
                  <a:pt x="115502" y="149880"/>
                  <a:pt x="113707" y="149880"/>
                </a:cubicBezTo>
                <a:cubicBezTo>
                  <a:pt x="111911" y="149880"/>
                  <a:pt x="109977" y="149190"/>
                  <a:pt x="108734" y="147808"/>
                </a:cubicBezTo>
                <a:lnTo>
                  <a:pt x="27508" y="66583"/>
                </a:lnTo>
                <a:lnTo>
                  <a:pt x="18667" y="75285"/>
                </a:lnTo>
                <a:cubicBezTo>
                  <a:pt x="16181" y="77772"/>
                  <a:pt x="14662" y="81364"/>
                  <a:pt x="14523" y="85093"/>
                </a:cubicBezTo>
                <a:cubicBezTo>
                  <a:pt x="14385" y="88823"/>
                  <a:pt x="15767" y="92138"/>
                  <a:pt x="18115" y="94487"/>
                </a:cubicBezTo>
                <a:lnTo>
                  <a:pt x="89947" y="166319"/>
                </a:lnTo>
                <a:cubicBezTo>
                  <a:pt x="92710" y="169081"/>
                  <a:pt x="92710" y="173640"/>
                  <a:pt x="89947" y="176403"/>
                </a:cubicBezTo>
                <a:cubicBezTo>
                  <a:pt x="88565" y="177784"/>
                  <a:pt x="86769" y="178475"/>
                  <a:pt x="84974" y="178475"/>
                </a:cubicBezTo>
                <a:cubicBezTo>
                  <a:pt x="83179" y="178475"/>
                  <a:pt x="81244" y="177784"/>
                  <a:pt x="80001" y="176403"/>
                </a:cubicBezTo>
                <a:lnTo>
                  <a:pt x="27508" y="123910"/>
                </a:lnTo>
                <a:lnTo>
                  <a:pt x="18392" y="132751"/>
                </a:lnTo>
                <a:close/>
              </a:path>
            </a:pathLst>
          </a:custGeom>
          <a:solidFill>
            <a:schemeClr val="bg1"/>
          </a:solidFill>
          <a:ln w="3175" cap="flat">
            <a:solidFill>
              <a:schemeClr val="bg1"/>
            </a:solidFill>
            <a:prstDash val="solid"/>
            <a:miter/>
          </a:ln>
          <a:effectLst>
            <a:outerShdw blurRad="63500" sx="102000" sy="102000" algn="ctr" rotWithShape="0">
              <a:schemeClr val="accent5">
                <a:lumMod val="50000"/>
                <a:alpha val="40000"/>
              </a:schemeClr>
            </a:outerShdw>
          </a:effectLst>
        </p:spPr>
        <p:txBody>
          <a:bodyPr rtlCol="0" anchor="ctr"/>
          <a:lstStyle/>
          <a:p>
            <a:endParaRPr lang="ru-RU"/>
          </a:p>
        </p:txBody>
      </p:sp>
      <p:grpSp>
        <p:nvGrpSpPr>
          <p:cNvPr id="96" name="Рисунок 5">
            <a:extLst>
              <a:ext uri="{FF2B5EF4-FFF2-40B4-BE49-F238E27FC236}">
                <a16:creationId xmlns:a16="http://schemas.microsoft.com/office/drawing/2014/main" id="{AECC4AAC-7E48-41E1-92AA-C817106FED1D}"/>
              </a:ext>
            </a:extLst>
          </p:cNvPr>
          <p:cNvGrpSpPr/>
          <p:nvPr/>
        </p:nvGrpSpPr>
        <p:grpSpPr>
          <a:xfrm>
            <a:off x="6183633" y="4378950"/>
            <a:ext cx="238653" cy="212281"/>
            <a:chOff x="7647114" y="1890263"/>
            <a:chExt cx="456153" cy="405749"/>
          </a:xfrm>
          <a:solidFill>
            <a:schemeClr val="bg1"/>
          </a:solidFill>
          <a:effectLst>
            <a:outerShdw blurRad="25400" sx="102000" sy="102000" algn="ctr" rotWithShape="0">
              <a:schemeClr val="accent3">
                <a:lumMod val="50000"/>
                <a:alpha val="40000"/>
              </a:schemeClr>
            </a:outerShdw>
          </a:effectLst>
        </p:grpSpPr>
        <p:grpSp>
          <p:nvGrpSpPr>
            <p:cNvPr id="97" name="Рисунок 5">
              <a:extLst>
                <a:ext uri="{FF2B5EF4-FFF2-40B4-BE49-F238E27FC236}">
                  <a16:creationId xmlns:a16="http://schemas.microsoft.com/office/drawing/2014/main" id="{4CE17939-0FD0-45B0-9B5A-DB3B28278A58}"/>
                </a:ext>
              </a:extLst>
            </p:cNvPr>
            <p:cNvGrpSpPr/>
            <p:nvPr/>
          </p:nvGrpSpPr>
          <p:grpSpPr>
            <a:xfrm>
              <a:off x="7647114" y="1890263"/>
              <a:ext cx="456153" cy="405749"/>
              <a:chOff x="7647114" y="1890263"/>
              <a:chExt cx="456153" cy="405749"/>
            </a:xfrm>
            <a:grpFill/>
          </p:grpSpPr>
          <p:sp>
            <p:nvSpPr>
              <p:cNvPr id="101" name="Полилиния: фигура 100">
                <a:extLst>
                  <a:ext uri="{FF2B5EF4-FFF2-40B4-BE49-F238E27FC236}">
                    <a16:creationId xmlns:a16="http://schemas.microsoft.com/office/drawing/2014/main" id="{3C875A9E-1FA2-4D94-A126-74A67DF85F60}"/>
                  </a:ext>
                </a:extLst>
              </p:cNvPr>
              <p:cNvSpPr/>
              <p:nvPr/>
            </p:nvSpPr>
            <p:spPr>
              <a:xfrm>
                <a:off x="7814314" y="1890263"/>
                <a:ext cx="288953" cy="405749"/>
              </a:xfrm>
              <a:custGeom>
                <a:avLst/>
                <a:gdLst>
                  <a:gd name="connsiteX0" fmla="*/ 217602 w 288953"/>
                  <a:gd name="connsiteY0" fmla="*/ 405750 h 405749"/>
                  <a:gd name="connsiteX1" fmla="*/ 217094 w 288953"/>
                  <a:gd name="connsiteY1" fmla="*/ 405750 h 405749"/>
                  <a:gd name="connsiteX2" fmla="*/ 50909 w 288953"/>
                  <a:gd name="connsiteY2" fmla="*/ 403718 h 405749"/>
                  <a:gd name="connsiteX3" fmla="*/ 23614 w 288953"/>
                  <a:gd name="connsiteY3" fmla="*/ 393181 h 405749"/>
                  <a:gd name="connsiteX4" fmla="*/ 14854 w 288953"/>
                  <a:gd name="connsiteY4" fmla="*/ 388992 h 405749"/>
                  <a:gd name="connsiteX5" fmla="*/ 0 w 288953"/>
                  <a:gd name="connsiteY5" fmla="*/ 370202 h 405749"/>
                  <a:gd name="connsiteX6" fmla="*/ 0 w 288953"/>
                  <a:gd name="connsiteY6" fmla="*/ 191576 h 405749"/>
                  <a:gd name="connsiteX7" fmla="*/ 2539 w 288953"/>
                  <a:gd name="connsiteY7" fmla="*/ 181927 h 405749"/>
                  <a:gd name="connsiteX8" fmla="*/ 46212 w 288953"/>
                  <a:gd name="connsiteY8" fmla="*/ 105500 h 405749"/>
                  <a:gd name="connsiteX9" fmla="*/ 66652 w 288953"/>
                  <a:gd name="connsiteY9" fmla="*/ 49386 h 405749"/>
                  <a:gd name="connsiteX10" fmla="*/ 70714 w 288953"/>
                  <a:gd name="connsiteY10" fmla="*/ 27042 h 405749"/>
                  <a:gd name="connsiteX11" fmla="*/ 91535 w 288953"/>
                  <a:gd name="connsiteY11" fmla="*/ 1016 h 405749"/>
                  <a:gd name="connsiteX12" fmla="*/ 100168 w 288953"/>
                  <a:gd name="connsiteY12" fmla="*/ 0 h 405749"/>
                  <a:gd name="connsiteX13" fmla="*/ 140286 w 288953"/>
                  <a:gd name="connsiteY13" fmla="*/ 59923 h 405749"/>
                  <a:gd name="connsiteX14" fmla="*/ 141682 w 288953"/>
                  <a:gd name="connsiteY14" fmla="*/ 99152 h 405749"/>
                  <a:gd name="connsiteX15" fmla="*/ 130256 w 288953"/>
                  <a:gd name="connsiteY15" fmla="*/ 164661 h 405749"/>
                  <a:gd name="connsiteX16" fmla="*/ 252388 w 288953"/>
                  <a:gd name="connsiteY16" fmla="*/ 166185 h 405749"/>
                  <a:gd name="connsiteX17" fmla="*/ 288951 w 288953"/>
                  <a:gd name="connsiteY17" fmla="*/ 201224 h 405749"/>
                  <a:gd name="connsiteX18" fmla="*/ 278540 w 288953"/>
                  <a:gd name="connsiteY18" fmla="*/ 227123 h 405749"/>
                  <a:gd name="connsiteX19" fmla="*/ 268130 w 288953"/>
                  <a:gd name="connsiteY19" fmla="*/ 234360 h 405749"/>
                  <a:gd name="connsiteX20" fmla="*/ 277017 w 288953"/>
                  <a:gd name="connsiteY20" fmla="*/ 258354 h 405749"/>
                  <a:gd name="connsiteX21" fmla="*/ 256196 w 288953"/>
                  <a:gd name="connsiteY21" fmla="*/ 290347 h 405749"/>
                  <a:gd name="connsiteX22" fmla="*/ 265083 w 288953"/>
                  <a:gd name="connsiteY22" fmla="*/ 314342 h 405749"/>
                  <a:gd name="connsiteX23" fmla="*/ 244262 w 288953"/>
                  <a:gd name="connsiteY23" fmla="*/ 346335 h 405749"/>
                  <a:gd name="connsiteX24" fmla="*/ 253149 w 288953"/>
                  <a:gd name="connsiteY24" fmla="*/ 370329 h 405749"/>
                  <a:gd name="connsiteX25" fmla="*/ 242358 w 288953"/>
                  <a:gd name="connsiteY25" fmla="*/ 395466 h 405749"/>
                  <a:gd name="connsiteX26" fmla="*/ 217602 w 288953"/>
                  <a:gd name="connsiteY26" fmla="*/ 405750 h 405749"/>
                  <a:gd name="connsiteX27" fmla="*/ 99787 w 288953"/>
                  <a:gd name="connsiteY27" fmla="*/ 13076 h 405749"/>
                  <a:gd name="connsiteX28" fmla="*/ 94962 w 288953"/>
                  <a:gd name="connsiteY28" fmla="*/ 13711 h 405749"/>
                  <a:gd name="connsiteX29" fmla="*/ 83664 w 288953"/>
                  <a:gd name="connsiteY29" fmla="*/ 28692 h 405749"/>
                  <a:gd name="connsiteX30" fmla="*/ 83537 w 288953"/>
                  <a:gd name="connsiteY30" fmla="*/ 29200 h 405749"/>
                  <a:gd name="connsiteX31" fmla="*/ 79474 w 288953"/>
                  <a:gd name="connsiteY31" fmla="*/ 51798 h 405749"/>
                  <a:gd name="connsiteX32" fmla="*/ 57511 w 288953"/>
                  <a:gd name="connsiteY32" fmla="*/ 111975 h 405749"/>
                  <a:gd name="connsiteX33" fmla="*/ 13838 w 288953"/>
                  <a:gd name="connsiteY33" fmla="*/ 188402 h 405749"/>
                  <a:gd name="connsiteX34" fmla="*/ 12950 w 288953"/>
                  <a:gd name="connsiteY34" fmla="*/ 191576 h 405749"/>
                  <a:gd name="connsiteX35" fmla="*/ 12950 w 288953"/>
                  <a:gd name="connsiteY35" fmla="*/ 370202 h 405749"/>
                  <a:gd name="connsiteX36" fmla="*/ 17900 w 288953"/>
                  <a:gd name="connsiteY36" fmla="*/ 376423 h 405749"/>
                  <a:gd name="connsiteX37" fmla="*/ 31739 w 288953"/>
                  <a:gd name="connsiteY37" fmla="*/ 383152 h 405749"/>
                  <a:gd name="connsiteX38" fmla="*/ 50909 w 288953"/>
                  <a:gd name="connsiteY38" fmla="*/ 390642 h 405749"/>
                  <a:gd name="connsiteX39" fmla="*/ 217094 w 288953"/>
                  <a:gd name="connsiteY39" fmla="*/ 392673 h 405749"/>
                  <a:gd name="connsiteX40" fmla="*/ 217348 w 288953"/>
                  <a:gd name="connsiteY40" fmla="*/ 392673 h 405749"/>
                  <a:gd name="connsiteX41" fmla="*/ 233217 w 288953"/>
                  <a:gd name="connsiteY41" fmla="*/ 386199 h 405749"/>
                  <a:gd name="connsiteX42" fmla="*/ 240072 w 288953"/>
                  <a:gd name="connsiteY42" fmla="*/ 370202 h 405749"/>
                  <a:gd name="connsiteX43" fmla="*/ 226362 w 288953"/>
                  <a:gd name="connsiteY43" fmla="*/ 349128 h 405749"/>
                  <a:gd name="connsiteX44" fmla="*/ 222553 w 288953"/>
                  <a:gd name="connsiteY44" fmla="*/ 341764 h 405749"/>
                  <a:gd name="connsiteX45" fmla="*/ 229027 w 288953"/>
                  <a:gd name="connsiteY45" fmla="*/ 336559 h 405749"/>
                  <a:gd name="connsiteX46" fmla="*/ 229282 w 288953"/>
                  <a:gd name="connsiteY46" fmla="*/ 336559 h 405749"/>
                  <a:gd name="connsiteX47" fmla="*/ 252006 w 288953"/>
                  <a:gd name="connsiteY47" fmla="*/ 314215 h 405749"/>
                  <a:gd name="connsiteX48" fmla="*/ 238296 w 288953"/>
                  <a:gd name="connsiteY48" fmla="*/ 293140 h 405749"/>
                  <a:gd name="connsiteX49" fmla="*/ 234486 w 288953"/>
                  <a:gd name="connsiteY49" fmla="*/ 285777 h 405749"/>
                  <a:gd name="connsiteX50" fmla="*/ 240961 w 288953"/>
                  <a:gd name="connsiteY50" fmla="*/ 280572 h 405749"/>
                  <a:gd name="connsiteX51" fmla="*/ 263940 w 288953"/>
                  <a:gd name="connsiteY51" fmla="*/ 258227 h 405749"/>
                  <a:gd name="connsiteX52" fmla="*/ 250230 w 288953"/>
                  <a:gd name="connsiteY52" fmla="*/ 237153 h 405749"/>
                  <a:gd name="connsiteX53" fmla="*/ 246420 w 288953"/>
                  <a:gd name="connsiteY53" fmla="*/ 229789 h 405749"/>
                  <a:gd name="connsiteX54" fmla="*/ 252895 w 288953"/>
                  <a:gd name="connsiteY54" fmla="*/ 224584 h 405749"/>
                  <a:gd name="connsiteX55" fmla="*/ 269273 w 288953"/>
                  <a:gd name="connsiteY55" fmla="*/ 217856 h 405749"/>
                  <a:gd name="connsiteX56" fmla="*/ 275874 w 288953"/>
                  <a:gd name="connsiteY56" fmla="*/ 201478 h 405749"/>
                  <a:gd name="connsiteX57" fmla="*/ 252260 w 288953"/>
                  <a:gd name="connsiteY57" fmla="*/ 179261 h 405749"/>
                  <a:gd name="connsiteX58" fmla="*/ 123147 w 288953"/>
                  <a:gd name="connsiteY58" fmla="*/ 177611 h 405749"/>
                  <a:gd name="connsiteX59" fmla="*/ 118196 w 288953"/>
                  <a:gd name="connsiteY59" fmla="*/ 175199 h 405749"/>
                  <a:gd name="connsiteX60" fmla="*/ 116291 w 288953"/>
                  <a:gd name="connsiteY60" fmla="*/ 169359 h 405749"/>
                  <a:gd name="connsiteX61" fmla="*/ 128986 w 288953"/>
                  <a:gd name="connsiteY61" fmla="*/ 96867 h 405749"/>
                  <a:gd name="connsiteX62" fmla="*/ 127844 w 288953"/>
                  <a:gd name="connsiteY62" fmla="*/ 63097 h 405749"/>
                  <a:gd name="connsiteX63" fmla="*/ 100168 w 288953"/>
                  <a:gd name="connsiteY63" fmla="*/ 13076 h 405749"/>
                  <a:gd name="connsiteX64" fmla="*/ 99787 w 288953"/>
                  <a:gd name="connsiteY64" fmla="*/ 13076 h 40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88953" h="405749">
                    <a:moveTo>
                      <a:pt x="217602" y="405750"/>
                    </a:moveTo>
                    <a:cubicBezTo>
                      <a:pt x="217475" y="405750"/>
                      <a:pt x="217348" y="405750"/>
                      <a:pt x="217094" y="405750"/>
                    </a:cubicBezTo>
                    <a:lnTo>
                      <a:pt x="50909" y="403718"/>
                    </a:lnTo>
                    <a:cubicBezTo>
                      <a:pt x="41261" y="403591"/>
                      <a:pt x="31866" y="399910"/>
                      <a:pt x="23614" y="393181"/>
                    </a:cubicBezTo>
                    <a:cubicBezTo>
                      <a:pt x="21456" y="391404"/>
                      <a:pt x="18536" y="390007"/>
                      <a:pt x="14854" y="388992"/>
                    </a:cubicBezTo>
                    <a:cubicBezTo>
                      <a:pt x="6094" y="386706"/>
                      <a:pt x="0" y="379089"/>
                      <a:pt x="0" y="370202"/>
                    </a:cubicBezTo>
                    <a:lnTo>
                      <a:pt x="0" y="191576"/>
                    </a:lnTo>
                    <a:cubicBezTo>
                      <a:pt x="0" y="188275"/>
                      <a:pt x="889" y="184847"/>
                      <a:pt x="2539" y="181927"/>
                    </a:cubicBezTo>
                    <a:lnTo>
                      <a:pt x="46212" y="105500"/>
                    </a:lnTo>
                    <a:cubicBezTo>
                      <a:pt x="56114" y="88107"/>
                      <a:pt x="63096" y="69191"/>
                      <a:pt x="66652" y="49386"/>
                    </a:cubicBezTo>
                    <a:lnTo>
                      <a:pt x="70714" y="27042"/>
                    </a:lnTo>
                    <a:cubicBezTo>
                      <a:pt x="71095" y="24248"/>
                      <a:pt x="74015" y="5840"/>
                      <a:pt x="91535" y="1016"/>
                    </a:cubicBezTo>
                    <a:cubicBezTo>
                      <a:pt x="94201" y="254"/>
                      <a:pt x="97248" y="0"/>
                      <a:pt x="100168" y="0"/>
                    </a:cubicBezTo>
                    <a:cubicBezTo>
                      <a:pt x="116926" y="254"/>
                      <a:pt x="130511" y="20313"/>
                      <a:pt x="140286" y="59923"/>
                    </a:cubicBezTo>
                    <a:cubicBezTo>
                      <a:pt x="143460" y="72872"/>
                      <a:pt x="143968" y="86076"/>
                      <a:pt x="141682" y="99152"/>
                    </a:cubicBezTo>
                    <a:lnTo>
                      <a:pt x="130256" y="164661"/>
                    </a:lnTo>
                    <a:lnTo>
                      <a:pt x="252388" y="166185"/>
                    </a:lnTo>
                    <a:cubicBezTo>
                      <a:pt x="272193" y="166439"/>
                      <a:pt x="288570" y="182181"/>
                      <a:pt x="288951" y="201224"/>
                    </a:cubicBezTo>
                    <a:cubicBezTo>
                      <a:pt x="289078" y="211000"/>
                      <a:pt x="285396" y="220141"/>
                      <a:pt x="278540" y="227123"/>
                    </a:cubicBezTo>
                    <a:cubicBezTo>
                      <a:pt x="275494" y="230170"/>
                      <a:pt x="271938" y="232582"/>
                      <a:pt x="268130" y="234360"/>
                    </a:cubicBezTo>
                    <a:cubicBezTo>
                      <a:pt x="273843" y="240835"/>
                      <a:pt x="277017" y="249341"/>
                      <a:pt x="277017" y="258354"/>
                    </a:cubicBezTo>
                    <a:cubicBezTo>
                      <a:pt x="276890" y="272573"/>
                      <a:pt x="268384" y="284761"/>
                      <a:pt x="256196" y="290347"/>
                    </a:cubicBezTo>
                    <a:cubicBezTo>
                      <a:pt x="261909" y="296822"/>
                      <a:pt x="265210" y="305328"/>
                      <a:pt x="265083" y="314342"/>
                    </a:cubicBezTo>
                    <a:cubicBezTo>
                      <a:pt x="264956" y="328561"/>
                      <a:pt x="256450" y="340749"/>
                      <a:pt x="244262" y="346335"/>
                    </a:cubicBezTo>
                    <a:cubicBezTo>
                      <a:pt x="249975" y="352809"/>
                      <a:pt x="253276" y="361315"/>
                      <a:pt x="253149" y="370329"/>
                    </a:cubicBezTo>
                    <a:cubicBezTo>
                      <a:pt x="253022" y="379851"/>
                      <a:pt x="249214" y="388738"/>
                      <a:pt x="242358" y="395466"/>
                    </a:cubicBezTo>
                    <a:cubicBezTo>
                      <a:pt x="235756" y="402068"/>
                      <a:pt x="226996" y="405750"/>
                      <a:pt x="217602" y="405750"/>
                    </a:cubicBezTo>
                    <a:close/>
                    <a:moveTo>
                      <a:pt x="99787" y="13076"/>
                    </a:moveTo>
                    <a:cubicBezTo>
                      <a:pt x="98009" y="13076"/>
                      <a:pt x="96486" y="13330"/>
                      <a:pt x="94962" y="13711"/>
                    </a:cubicBezTo>
                    <a:cubicBezTo>
                      <a:pt x="85060" y="16377"/>
                      <a:pt x="83664" y="28311"/>
                      <a:pt x="83664" y="28692"/>
                    </a:cubicBezTo>
                    <a:cubicBezTo>
                      <a:pt x="83664" y="28819"/>
                      <a:pt x="83664" y="29073"/>
                      <a:pt x="83537" y="29200"/>
                    </a:cubicBezTo>
                    <a:lnTo>
                      <a:pt x="79474" y="51798"/>
                    </a:lnTo>
                    <a:cubicBezTo>
                      <a:pt x="75666" y="72999"/>
                      <a:pt x="68175" y="93312"/>
                      <a:pt x="57511" y="111975"/>
                    </a:cubicBezTo>
                    <a:lnTo>
                      <a:pt x="13838" y="188402"/>
                    </a:lnTo>
                    <a:cubicBezTo>
                      <a:pt x="13330" y="189291"/>
                      <a:pt x="12950" y="190433"/>
                      <a:pt x="12950" y="191576"/>
                    </a:cubicBezTo>
                    <a:lnTo>
                      <a:pt x="12950" y="370202"/>
                    </a:lnTo>
                    <a:cubicBezTo>
                      <a:pt x="12950" y="373122"/>
                      <a:pt x="14981" y="375661"/>
                      <a:pt x="17900" y="376423"/>
                    </a:cubicBezTo>
                    <a:cubicBezTo>
                      <a:pt x="23360" y="377820"/>
                      <a:pt x="28057" y="380105"/>
                      <a:pt x="31739" y="383152"/>
                    </a:cubicBezTo>
                    <a:cubicBezTo>
                      <a:pt x="37579" y="387976"/>
                      <a:pt x="44180" y="390642"/>
                      <a:pt x="50909" y="390642"/>
                    </a:cubicBezTo>
                    <a:lnTo>
                      <a:pt x="217094" y="392673"/>
                    </a:lnTo>
                    <a:cubicBezTo>
                      <a:pt x="217221" y="392673"/>
                      <a:pt x="217221" y="392673"/>
                      <a:pt x="217348" y="392673"/>
                    </a:cubicBezTo>
                    <a:cubicBezTo>
                      <a:pt x="223315" y="392673"/>
                      <a:pt x="228901" y="390388"/>
                      <a:pt x="233217" y="386199"/>
                    </a:cubicBezTo>
                    <a:cubicBezTo>
                      <a:pt x="237534" y="382009"/>
                      <a:pt x="239946" y="376296"/>
                      <a:pt x="240072" y="370202"/>
                    </a:cubicBezTo>
                    <a:cubicBezTo>
                      <a:pt x="240200" y="361061"/>
                      <a:pt x="234868" y="352682"/>
                      <a:pt x="226362" y="349128"/>
                    </a:cubicBezTo>
                    <a:cubicBezTo>
                      <a:pt x="223568" y="347858"/>
                      <a:pt x="221918" y="344811"/>
                      <a:pt x="222553" y="341764"/>
                    </a:cubicBezTo>
                    <a:cubicBezTo>
                      <a:pt x="223188" y="338717"/>
                      <a:pt x="225854" y="336559"/>
                      <a:pt x="229027" y="336559"/>
                    </a:cubicBezTo>
                    <a:cubicBezTo>
                      <a:pt x="229154" y="336559"/>
                      <a:pt x="229154" y="336559"/>
                      <a:pt x="229282" y="336559"/>
                    </a:cubicBezTo>
                    <a:cubicBezTo>
                      <a:pt x="241597" y="336559"/>
                      <a:pt x="251753" y="326529"/>
                      <a:pt x="252006" y="314215"/>
                    </a:cubicBezTo>
                    <a:cubicBezTo>
                      <a:pt x="252133" y="305074"/>
                      <a:pt x="246801" y="296695"/>
                      <a:pt x="238296" y="293140"/>
                    </a:cubicBezTo>
                    <a:cubicBezTo>
                      <a:pt x="235502" y="291871"/>
                      <a:pt x="233852" y="288824"/>
                      <a:pt x="234486" y="285777"/>
                    </a:cubicBezTo>
                    <a:cubicBezTo>
                      <a:pt x="235122" y="282730"/>
                      <a:pt x="237787" y="280572"/>
                      <a:pt x="240961" y="280572"/>
                    </a:cubicBezTo>
                    <a:cubicBezTo>
                      <a:pt x="253530" y="280572"/>
                      <a:pt x="263814" y="270669"/>
                      <a:pt x="263940" y="258227"/>
                    </a:cubicBezTo>
                    <a:cubicBezTo>
                      <a:pt x="264067" y="249087"/>
                      <a:pt x="258735" y="240708"/>
                      <a:pt x="250230" y="237153"/>
                    </a:cubicBezTo>
                    <a:cubicBezTo>
                      <a:pt x="247436" y="235883"/>
                      <a:pt x="245786" y="232836"/>
                      <a:pt x="246420" y="229789"/>
                    </a:cubicBezTo>
                    <a:cubicBezTo>
                      <a:pt x="247056" y="226742"/>
                      <a:pt x="249721" y="224457"/>
                      <a:pt x="252895" y="224584"/>
                    </a:cubicBezTo>
                    <a:cubicBezTo>
                      <a:pt x="258989" y="224584"/>
                      <a:pt x="264829" y="222299"/>
                      <a:pt x="269273" y="217856"/>
                    </a:cubicBezTo>
                    <a:cubicBezTo>
                      <a:pt x="273589" y="213412"/>
                      <a:pt x="276001" y="207699"/>
                      <a:pt x="275874" y="201478"/>
                    </a:cubicBezTo>
                    <a:cubicBezTo>
                      <a:pt x="275621" y="189418"/>
                      <a:pt x="265083" y="179388"/>
                      <a:pt x="252260" y="179261"/>
                    </a:cubicBezTo>
                    <a:lnTo>
                      <a:pt x="123147" y="177611"/>
                    </a:lnTo>
                    <a:cubicBezTo>
                      <a:pt x="121242" y="177611"/>
                      <a:pt x="119465" y="176722"/>
                      <a:pt x="118196" y="175199"/>
                    </a:cubicBezTo>
                    <a:cubicBezTo>
                      <a:pt x="116926" y="173675"/>
                      <a:pt x="116037" y="171263"/>
                      <a:pt x="116291" y="169359"/>
                    </a:cubicBezTo>
                    <a:lnTo>
                      <a:pt x="128986" y="96867"/>
                    </a:lnTo>
                    <a:cubicBezTo>
                      <a:pt x="131018" y="85568"/>
                      <a:pt x="130511" y="74142"/>
                      <a:pt x="127844" y="63097"/>
                    </a:cubicBezTo>
                    <a:cubicBezTo>
                      <a:pt x="120226" y="32374"/>
                      <a:pt x="109563" y="13203"/>
                      <a:pt x="100168" y="13076"/>
                    </a:cubicBezTo>
                    <a:cubicBezTo>
                      <a:pt x="99914" y="13203"/>
                      <a:pt x="99787" y="13076"/>
                      <a:pt x="99787" y="13076"/>
                    </a:cubicBezTo>
                    <a:close/>
                  </a:path>
                </a:pathLst>
              </a:custGeom>
              <a:grpFill/>
              <a:ln w="3175" cap="flat">
                <a:solidFill>
                  <a:schemeClr val="bg1"/>
                </a:solidFill>
                <a:prstDash val="solid"/>
                <a:miter/>
              </a:ln>
            </p:spPr>
            <p:txBody>
              <a:bodyPr rtlCol="0" anchor="ctr"/>
              <a:lstStyle/>
              <a:p>
                <a:endParaRPr lang="ru-RU"/>
              </a:p>
            </p:txBody>
          </p:sp>
          <p:sp>
            <p:nvSpPr>
              <p:cNvPr id="102" name="Полилиния: фигура 101">
                <a:extLst>
                  <a:ext uri="{FF2B5EF4-FFF2-40B4-BE49-F238E27FC236}">
                    <a16:creationId xmlns:a16="http://schemas.microsoft.com/office/drawing/2014/main" id="{BCA608B4-382B-455D-A4A2-355B593269E7}"/>
                  </a:ext>
                </a:extLst>
              </p:cNvPr>
              <p:cNvSpPr/>
              <p:nvPr/>
            </p:nvSpPr>
            <p:spPr>
              <a:xfrm>
                <a:off x="7647114" y="2054163"/>
                <a:ext cx="147902" cy="236645"/>
              </a:xfrm>
              <a:custGeom>
                <a:avLst/>
                <a:gdLst>
                  <a:gd name="connsiteX0" fmla="*/ 19551 w 147902"/>
                  <a:gd name="connsiteY0" fmla="*/ 236645 h 236645"/>
                  <a:gd name="connsiteX1" fmla="*/ 6094 w 147902"/>
                  <a:gd name="connsiteY1" fmla="*/ 231186 h 236645"/>
                  <a:gd name="connsiteX2" fmla="*/ 380 w 147902"/>
                  <a:gd name="connsiteY2" fmla="*/ 217856 h 236645"/>
                  <a:gd name="connsiteX3" fmla="*/ 0 w 147902"/>
                  <a:gd name="connsiteY3" fmla="*/ 19043 h 236645"/>
                  <a:gd name="connsiteX4" fmla="*/ 5586 w 147902"/>
                  <a:gd name="connsiteY4" fmla="*/ 5713 h 236645"/>
                  <a:gd name="connsiteX5" fmla="*/ 19043 w 147902"/>
                  <a:gd name="connsiteY5" fmla="*/ 254 h 236645"/>
                  <a:gd name="connsiteX6" fmla="*/ 128352 w 147902"/>
                  <a:gd name="connsiteY6" fmla="*/ 0 h 236645"/>
                  <a:gd name="connsiteX7" fmla="*/ 128352 w 147902"/>
                  <a:gd name="connsiteY7" fmla="*/ 0 h 236645"/>
                  <a:gd name="connsiteX8" fmla="*/ 128352 w 147902"/>
                  <a:gd name="connsiteY8" fmla="*/ 0 h 236645"/>
                  <a:gd name="connsiteX9" fmla="*/ 147522 w 147902"/>
                  <a:gd name="connsiteY9" fmla="*/ 18789 h 236645"/>
                  <a:gd name="connsiteX10" fmla="*/ 147903 w 147902"/>
                  <a:gd name="connsiteY10" fmla="*/ 217602 h 236645"/>
                  <a:gd name="connsiteX11" fmla="*/ 128859 w 147902"/>
                  <a:gd name="connsiteY11" fmla="*/ 236518 h 236645"/>
                  <a:gd name="connsiteX12" fmla="*/ 19551 w 147902"/>
                  <a:gd name="connsiteY12" fmla="*/ 236645 h 236645"/>
                  <a:gd name="connsiteX13" fmla="*/ 19551 w 147902"/>
                  <a:gd name="connsiteY13" fmla="*/ 236645 h 236645"/>
                  <a:gd name="connsiteX14" fmla="*/ 128479 w 147902"/>
                  <a:gd name="connsiteY14" fmla="*/ 12949 h 236645"/>
                  <a:gd name="connsiteX15" fmla="*/ 19170 w 147902"/>
                  <a:gd name="connsiteY15" fmla="*/ 13203 h 236645"/>
                  <a:gd name="connsiteX16" fmla="*/ 14854 w 147902"/>
                  <a:gd name="connsiteY16" fmla="*/ 14981 h 236645"/>
                  <a:gd name="connsiteX17" fmla="*/ 13076 w 147902"/>
                  <a:gd name="connsiteY17" fmla="*/ 19043 h 236645"/>
                  <a:gd name="connsiteX18" fmla="*/ 13457 w 147902"/>
                  <a:gd name="connsiteY18" fmla="*/ 217856 h 236645"/>
                  <a:gd name="connsiteX19" fmla="*/ 15235 w 147902"/>
                  <a:gd name="connsiteY19" fmla="*/ 221918 h 236645"/>
                  <a:gd name="connsiteX20" fmla="*/ 19551 w 147902"/>
                  <a:gd name="connsiteY20" fmla="*/ 223696 h 236645"/>
                  <a:gd name="connsiteX21" fmla="*/ 19551 w 147902"/>
                  <a:gd name="connsiteY21" fmla="*/ 223696 h 236645"/>
                  <a:gd name="connsiteX22" fmla="*/ 128859 w 147902"/>
                  <a:gd name="connsiteY22" fmla="*/ 223442 h 236645"/>
                  <a:gd name="connsiteX23" fmla="*/ 134954 w 147902"/>
                  <a:gd name="connsiteY23" fmla="*/ 217602 h 236645"/>
                  <a:gd name="connsiteX24" fmla="*/ 134572 w 147902"/>
                  <a:gd name="connsiteY24" fmla="*/ 18789 h 236645"/>
                  <a:gd name="connsiteX25" fmla="*/ 128479 w 147902"/>
                  <a:gd name="connsiteY25" fmla="*/ 12949 h 236645"/>
                  <a:gd name="connsiteX26" fmla="*/ 128479 w 147902"/>
                  <a:gd name="connsiteY26" fmla="*/ 12949 h 236645"/>
                  <a:gd name="connsiteX27" fmla="*/ 128479 w 147902"/>
                  <a:gd name="connsiteY27" fmla="*/ 12949 h 236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7902" h="236645">
                    <a:moveTo>
                      <a:pt x="19551" y="236645"/>
                    </a:moveTo>
                    <a:cubicBezTo>
                      <a:pt x="14472" y="236645"/>
                      <a:pt x="9775" y="234741"/>
                      <a:pt x="6094" y="231186"/>
                    </a:cubicBezTo>
                    <a:cubicBezTo>
                      <a:pt x="2412" y="227631"/>
                      <a:pt x="380" y="222934"/>
                      <a:pt x="380" y="217856"/>
                    </a:cubicBezTo>
                    <a:lnTo>
                      <a:pt x="0" y="19043"/>
                    </a:lnTo>
                    <a:cubicBezTo>
                      <a:pt x="0" y="13965"/>
                      <a:pt x="2031" y="9268"/>
                      <a:pt x="5586" y="5713"/>
                    </a:cubicBezTo>
                    <a:cubicBezTo>
                      <a:pt x="9140" y="2158"/>
                      <a:pt x="13965" y="254"/>
                      <a:pt x="19043" y="254"/>
                    </a:cubicBezTo>
                    <a:lnTo>
                      <a:pt x="128352" y="0"/>
                    </a:lnTo>
                    <a:lnTo>
                      <a:pt x="128352" y="0"/>
                    </a:lnTo>
                    <a:cubicBezTo>
                      <a:pt x="128352" y="0"/>
                      <a:pt x="128352" y="0"/>
                      <a:pt x="128352" y="0"/>
                    </a:cubicBezTo>
                    <a:cubicBezTo>
                      <a:pt x="138889" y="0"/>
                      <a:pt x="147395" y="8379"/>
                      <a:pt x="147522" y="18789"/>
                    </a:cubicBezTo>
                    <a:lnTo>
                      <a:pt x="147903" y="217602"/>
                    </a:lnTo>
                    <a:cubicBezTo>
                      <a:pt x="147903" y="228012"/>
                      <a:pt x="139397" y="236518"/>
                      <a:pt x="128859" y="236518"/>
                    </a:cubicBezTo>
                    <a:lnTo>
                      <a:pt x="19551" y="236645"/>
                    </a:lnTo>
                    <a:cubicBezTo>
                      <a:pt x="19551" y="236645"/>
                      <a:pt x="19551" y="236645"/>
                      <a:pt x="19551" y="236645"/>
                    </a:cubicBezTo>
                    <a:close/>
                    <a:moveTo>
                      <a:pt x="128479" y="12949"/>
                    </a:moveTo>
                    <a:lnTo>
                      <a:pt x="19170" y="13203"/>
                    </a:lnTo>
                    <a:cubicBezTo>
                      <a:pt x="17520" y="13203"/>
                      <a:pt x="15997" y="13838"/>
                      <a:pt x="14854" y="14981"/>
                    </a:cubicBezTo>
                    <a:cubicBezTo>
                      <a:pt x="13711" y="16123"/>
                      <a:pt x="13076" y="17520"/>
                      <a:pt x="13076" y="19043"/>
                    </a:cubicBezTo>
                    <a:lnTo>
                      <a:pt x="13457" y="217856"/>
                    </a:lnTo>
                    <a:cubicBezTo>
                      <a:pt x="13457" y="219379"/>
                      <a:pt x="14092" y="220776"/>
                      <a:pt x="15235" y="221918"/>
                    </a:cubicBezTo>
                    <a:cubicBezTo>
                      <a:pt x="16377" y="223061"/>
                      <a:pt x="17900" y="223696"/>
                      <a:pt x="19551" y="223696"/>
                    </a:cubicBezTo>
                    <a:cubicBezTo>
                      <a:pt x="19551" y="223696"/>
                      <a:pt x="19551" y="223696"/>
                      <a:pt x="19551" y="223696"/>
                    </a:cubicBezTo>
                    <a:lnTo>
                      <a:pt x="128859" y="223442"/>
                    </a:lnTo>
                    <a:cubicBezTo>
                      <a:pt x="132160" y="223442"/>
                      <a:pt x="134954" y="220776"/>
                      <a:pt x="134954" y="217602"/>
                    </a:cubicBezTo>
                    <a:lnTo>
                      <a:pt x="134572" y="18789"/>
                    </a:lnTo>
                    <a:cubicBezTo>
                      <a:pt x="134445" y="15489"/>
                      <a:pt x="131780" y="12949"/>
                      <a:pt x="128479" y="12949"/>
                    </a:cubicBezTo>
                    <a:cubicBezTo>
                      <a:pt x="128479" y="12949"/>
                      <a:pt x="128479" y="12949"/>
                      <a:pt x="128479" y="12949"/>
                    </a:cubicBezTo>
                    <a:lnTo>
                      <a:pt x="128479" y="12949"/>
                    </a:lnTo>
                    <a:close/>
                  </a:path>
                </a:pathLst>
              </a:custGeom>
              <a:grpFill/>
              <a:ln w="3175" cap="flat">
                <a:solidFill>
                  <a:schemeClr val="bg1"/>
                </a:solidFill>
                <a:prstDash val="solid"/>
                <a:miter/>
              </a:ln>
            </p:spPr>
            <p:txBody>
              <a:bodyPr rtlCol="0" anchor="ctr"/>
              <a:lstStyle/>
              <a:p>
                <a:endParaRPr lang="ru-RU"/>
              </a:p>
            </p:txBody>
          </p:sp>
        </p:grpSp>
        <p:sp>
          <p:nvSpPr>
            <p:cNvPr id="98" name="Полилиния: фигура 97">
              <a:extLst>
                <a:ext uri="{FF2B5EF4-FFF2-40B4-BE49-F238E27FC236}">
                  <a16:creationId xmlns:a16="http://schemas.microsoft.com/office/drawing/2014/main" id="{ADACF113-6D5E-4732-BCB4-651B30B616FD}"/>
                </a:ext>
              </a:extLst>
            </p:cNvPr>
            <p:cNvSpPr/>
            <p:nvPr/>
          </p:nvSpPr>
          <p:spPr>
            <a:xfrm>
              <a:off x="8003351" y="2114974"/>
              <a:ext cx="70460" cy="12949"/>
            </a:xfrm>
            <a:custGeom>
              <a:avLst/>
              <a:gdLst>
                <a:gd name="connsiteX0" fmla="*/ 63985 w 70460"/>
                <a:gd name="connsiteY0" fmla="*/ 12949 h 12949"/>
                <a:gd name="connsiteX1" fmla="*/ 6475 w 70460"/>
                <a:gd name="connsiteY1" fmla="*/ 12949 h 12949"/>
                <a:gd name="connsiteX2" fmla="*/ 0 w 70460"/>
                <a:gd name="connsiteY2" fmla="*/ 6475 h 12949"/>
                <a:gd name="connsiteX3" fmla="*/ 6475 w 70460"/>
                <a:gd name="connsiteY3" fmla="*/ 0 h 12949"/>
                <a:gd name="connsiteX4" fmla="*/ 63985 w 70460"/>
                <a:gd name="connsiteY4" fmla="*/ 0 h 12949"/>
                <a:gd name="connsiteX5" fmla="*/ 70460 w 70460"/>
                <a:gd name="connsiteY5" fmla="*/ 6475 h 12949"/>
                <a:gd name="connsiteX6" fmla="*/ 63985 w 70460"/>
                <a:gd name="connsiteY6" fmla="*/ 12949 h 1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60" h="12949">
                  <a:moveTo>
                    <a:pt x="63985" y="12949"/>
                  </a:moveTo>
                  <a:lnTo>
                    <a:pt x="6475" y="12949"/>
                  </a:lnTo>
                  <a:cubicBezTo>
                    <a:pt x="2920" y="12949"/>
                    <a:pt x="0" y="10029"/>
                    <a:pt x="0" y="6475"/>
                  </a:cubicBezTo>
                  <a:cubicBezTo>
                    <a:pt x="0" y="2920"/>
                    <a:pt x="2920" y="0"/>
                    <a:pt x="6475" y="0"/>
                  </a:cubicBezTo>
                  <a:lnTo>
                    <a:pt x="63985" y="0"/>
                  </a:lnTo>
                  <a:cubicBezTo>
                    <a:pt x="67540" y="0"/>
                    <a:pt x="70460" y="2920"/>
                    <a:pt x="70460" y="6475"/>
                  </a:cubicBezTo>
                  <a:cubicBezTo>
                    <a:pt x="70460" y="10029"/>
                    <a:pt x="67540" y="12949"/>
                    <a:pt x="63985" y="12949"/>
                  </a:cubicBezTo>
                  <a:close/>
                </a:path>
              </a:pathLst>
            </a:custGeom>
            <a:grpFill/>
            <a:ln w="3175" cap="flat">
              <a:solidFill>
                <a:schemeClr val="bg1"/>
              </a:solidFill>
              <a:prstDash val="solid"/>
              <a:miter/>
            </a:ln>
          </p:spPr>
          <p:txBody>
            <a:bodyPr rtlCol="0" anchor="ctr"/>
            <a:lstStyle/>
            <a:p>
              <a:endParaRPr lang="ru-RU"/>
            </a:p>
          </p:txBody>
        </p:sp>
        <p:sp>
          <p:nvSpPr>
            <p:cNvPr id="99" name="Полилиния: фигура 98">
              <a:extLst>
                <a:ext uri="{FF2B5EF4-FFF2-40B4-BE49-F238E27FC236}">
                  <a16:creationId xmlns:a16="http://schemas.microsoft.com/office/drawing/2014/main" id="{29B45DCE-9C81-4BDF-8605-C514D7C7BEDB}"/>
                </a:ext>
              </a:extLst>
            </p:cNvPr>
            <p:cNvSpPr/>
            <p:nvPr/>
          </p:nvSpPr>
          <p:spPr>
            <a:xfrm>
              <a:off x="7991417" y="2170962"/>
              <a:ext cx="70460" cy="12949"/>
            </a:xfrm>
            <a:custGeom>
              <a:avLst/>
              <a:gdLst>
                <a:gd name="connsiteX0" fmla="*/ 63985 w 70460"/>
                <a:gd name="connsiteY0" fmla="*/ 12949 h 12949"/>
                <a:gd name="connsiteX1" fmla="*/ 6475 w 70460"/>
                <a:gd name="connsiteY1" fmla="*/ 12949 h 12949"/>
                <a:gd name="connsiteX2" fmla="*/ 0 w 70460"/>
                <a:gd name="connsiteY2" fmla="*/ 6475 h 12949"/>
                <a:gd name="connsiteX3" fmla="*/ 6475 w 70460"/>
                <a:gd name="connsiteY3" fmla="*/ 0 h 12949"/>
                <a:gd name="connsiteX4" fmla="*/ 63985 w 70460"/>
                <a:gd name="connsiteY4" fmla="*/ 0 h 12949"/>
                <a:gd name="connsiteX5" fmla="*/ 70460 w 70460"/>
                <a:gd name="connsiteY5" fmla="*/ 6475 h 12949"/>
                <a:gd name="connsiteX6" fmla="*/ 63985 w 70460"/>
                <a:gd name="connsiteY6" fmla="*/ 12949 h 1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60" h="12949">
                  <a:moveTo>
                    <a:pt x="63985" y="12949"/>
                  </a:moveTo>
                  <a:lnTo>
                    <a:pt x="6475" y="12949"/>
                  </a:lnTo>
                  <a:cubicBezTo>
                    <a:pt x="2920" y="12949"/>
                    <a:pt x="0" y="10029"/>
                    <a:pt x="0" y="6475"/>
                  </a:cubicBezTo>
                  <a:cubicBezTo>
                    <a:pt x="0" y="2920"/>
                    <a:pt x="2920" y="0"/>
                    <a:pt x="6475" y="0"/>
                  </a:cubicBezTo>
                  <a:lnTo>
                    <a:pt x="63985" y="0"/>
                  </a:lnTo>
                  <a:cubicBezTo>
                    <a:pt x="67540" y="0"/>
                    <a:pt x="70460" y="2920"/>
                    <a:pt x="70460" y="6475"/>
                  </a:cubicBezTo>
                  <a:cubicBezTo>
                    <a:pt x="70460" y="10029"/>
                    <a:pt x="67540" y="12949"/>
                    <a:pt x="63985" y="12949"/>
                  </a:cubicBezTo>
                  <a:close/>
                </a:path>
              </a:pathLst>
            </a:custGeom>
            <a:grpFill/>
            <a:ln w="3175" cap="flat">
              <a:solidFill>
                <a:schemeClr val="bg1"/>
              </a:solidFill>
              <a:prstDash val="solid"/>
              <a:miter/>
            </a:ln>
          </p:spPr>
          <p:txBody>
            <a:bodyPr rtlCol="0" anchor="ctr"/>
            <a:lstStyle/>
            <a:p>
              <a:endParaRPr lang="ru-RU"/>
            </a:p>
          </p:txBody>
        </p:sp>
        <p:sp>
          <p:nvSpPr>
            <p:cNvPr id="100" name="Полилиния: фигура 99">
              <a:extLst>
                <a:ext uri="{FF2B5EF4-FFF2-40B4-BE49-F238E27FC236}">
                  <a16:creationId xmlns:a16="http://schemas.microsoft.com/office/drawing/2014/main" id="{3395E091-2750-4F52-9A0C-276B7B9E0B72}"/>
                </a:ext>
              </a:extLst>
            </p:cNvPr>
            <p:cNvSpPr/>
            <p:nvPr/>
          </p:nvSpPr>
          <p:spPr>
            <a:xfrm>
              <a:off x="7979484" y="2226949"/>
              <a:ext cx="70460" cy="12949"/>
            </a:xfrm>
            <a:custGeom>
              <a:avLst/>
              <a:gdLst>
                <a:gd name="connsiteX0" fmla="*/ 63985 w 70460"/>
                <a:gd name="connsiteY0" fmla="*/ 12949 h 12949"/>
                <a:gd name="connsiteX1" fmla="*/ 6475 w 70460"/>
                <a:gd name="connsiteY1" fmla="*/ 12949 h 12949"/>
                <a:gd name="connsiteX2" fmla="*/ 0 w 70460"/>
                <a:gd name="connsiteY2" fmla="*/ 6475 h 12949"/>
                <a:gd name="connsiteX3" fmla="*/ 6475 w 70460"/>
                <a:gd name="connsiteY3" fmla="*/ 0 h 12949"/>
                <a:gd name="connsiteX4" fmla="*/ 63985 w 70460"/>
                <a:gd name="connsiteY4" fmla="*/ 0 h 12949"/>
                <a:gd name="connsiteX5" fmla="*/ 70460 w 70460"/>
                <a:gd name="connsiteY5" fmla="*/ 6475 h 12949"/>
                <a:gd name="connsiteX6" fmla="*/ 63985 w 70460"/>
                <a:gd name="connsiteY6" fmla="*/ 12949 h 1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60" h="12949">
                  <a:moveTo>
                    <a:pt x="63985" y="12949"/>
                  </a:moveTo>
                  <a:lnTo>
                    <a:pt x="6475" y="12949"/>
                  </a:lnTo>
                  <a:cubicBezTo>
                    <a:pt x="2920" y="12949"/>
                    <a:pt x="0" y="10029"/>
                    <a:pt x="0" y="6475"/>
                  </a:cubicBezTo>
                  <a:cubicBezTo>
                    <a:pt x="0" y="2920"/>
                    <a:pt x="2920" y="0"/>
                    <a:pt x="6475" y="0"/>
                  </a:cubicBezTo>
                  <a:lnTo>
                    <a:pt x="63985" y="0"/>
                  </a:lnTo>
                  <a:cubicBezTo>
                    <a:pt x="67540" y="0"/>
                    <a:pt x="70460" y="2920"/>
                    <a:pt x="70460" y="6475"/>
                  </a:cubicBezTo>
                  <a:cubicBezTo>
                    <a:pt x="70460" y="10029"/>
                    <a:pt x="67540" y="12949"/>
                    <a:pt x="63985" y="12949"/>
                  </a:cubicBezTo>
                  <a:close/>
                </a:path>
              </a:pathLst>
            </a:custGeom>
            <a:grpFill/>
            <a:ln w="3175" cap="flat">
              <a:solidFill>
                <a:schemeClr val="bg1"/>
              </a:solidFill>
              <a:prstDash val="solid"/>
              <a:miter/>
            </a:ln>
          </p:spPr>
          <p:txBody>
            <a:bodyPr rtlCol="0" anchor="ctr"/>
            <a:lstStyle/>
            <a:p>
              <a:endParaRPr lang="ru-RU"/>
            </a:p>
          </p:txBody>
        </p:sp>
      </p:grpSp>
      <p:cxnSp>
        <p:nvCxnSpPr>
          <p:cNvPr id="104" name="Прямая соединительная линия 103">
            <a:extLst>
              <a:ext uri="{FF2B5EF4-FFF2-40B4-BE49-F238E27FC236}">
                <a16:creationId xmlns:a16="http://schemas.microsoft.com/office/drawing/2014/main" id="{BB1D0AB3-B660-4313-81DE-741D9352447F}"/>
              </a:ext>
            </a:extLst>
          </p:cNvPr>
          <p:cNvCxnSpPr>
            <a:cxnSpLocks/>
          </p:cNvCxnSpPr>
          <p:nvPr/>
        </p:nvCxnSpPr>
        <p:spPr>
          <a:xfrm>
            <a:off x="1425640" y="20592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7" name="Прямая соединительная линия 106">
            <a:extLst>
              <a:ext uri="{FF2B5EF4-FFF2-40B4-BE49-F238E27FC236}">
                <a16:creationId xmlns:a16="http://schemas.microsoft.com/office/drawing/2014/main" id="{37C41715-B5E8-4980-97A6-4D8E9C53B56B}"/>
              </a:ext>
            </a:extLst>
          </p:cNvPr>
          <p:cNvCxnSpPr>
            <a:cxnSpLocks/>
          </p:cNvCxnSpPr>
          <p:nvPr/>
        </p:nvCxnSpPr>
        <p:spPr>
          <a:xfrm>
            <a:off x="1425640" y="26064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8" name="Прямая соединительная линия 107">
            <a:extLst>
              <a:ext uri="{FF2B5EF4-FFF2-40B4-BE49-F238E27FC236}">
                <a16:creationId xmlns:a16="http://schemas.microsoft.com/office/drawing/2014/main" id="{EE93F8DD-F6B1-4126-8A7C-5B2832DB7EB1}"/>
              </a:ext>
            </a:extLst>
          </p:cNvPr>
          <p:cNvCxnSpPr>
            <a:cxnSpLocks/>
          </p:cNvCxnSpPr>
          <p:nvPr/>
        </p:nvCxnSpPr>
        <p:spPr>
          <a:xfrm>
            <a:off x="3988840" y="29736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9" name="Прямая соединительная линия 108">
            <a:extLst>
              <a:ext uri="{FF2B5EF4-FFF2-40B4-BE49-F238E27FC236}">
                <a16:creationId xmlns:a16="http://schemas.microsoft.com/office/drawing/2014/main" id="{79DE4208-DB99-4DA4-BED6-47848375D1A5}"/>
              </a:ext>
            </a:extLst>
          </p:cNvPr>
          <p:cNvCxnSpPr>
            <a:cxnSpLocks/>
          </p:cNvCxnSpPr>
          <p:nvPr/>
        </p:nvCxnSpPr>
        <p:spPr>
          <a:xfrm>
            <a:off x="3988840" y="35208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0" name="Овал 109">
            <a:extLst>
              <a:ext uri="{FF2B5EF4-FFF2-40B4-BE49-F238E27FC236}">
                <a16:creationId xmlns:a16="http://schemas.microsoft.com/office/drawing/2014/main" id="{E0C04F3B-F81A-46F8-AA42-316A4382F9DF}"/>
              </a:ext>
            </a:extLst>
          </p:cNvPr>
          <p:cNvSpPr/>
          <p:nvPr/>
        </p:nvSpPr>
        <p:spPr>
          <a:xfrm>
            <a:off x="6226742" y="5100192"/>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11" name="Прямая соединительная линия 110">
            <a:extLst>
              <a:ext uri="{FF2B5EF4-FFF2-40B4-BE49-F238E27FC236}">
                <a16:creationId xmlns:a16="http://schemas.microsoft.com/office/drawing/2014/main" id="{19EB52CB-2F1E-4E19-9C04-813ABE7E33DD}"/>
              </a:ext>
            </a:extLst>
          </p:cNvPr>
          <p:cNvCxnSpPr>
            <a:cxnSpLocks/>
          </p:cNvCxnSpPr>
          <p:nvPr/>
        </p:nvCxnSpPr>
        <p:spPr>
          <a:xfrm>
            <a:off x="6302942" y="47736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2" name="Прямая соединительная линия 111">
            <a:extLst>
              <a:ext uri="{FF2B5EF4-FFF2-40B4-BE49-F238E27FC236}">
                <a16:creationId xmlns:a16="http://schemas.microsoft.com/office/drawing/2014/main" id="{7A7B9AEA-392C-4AF1-AB35-9112DFA3936F}"/>
              </a:ext>
            </a:extLst>
          </p:cNvPr>
          <p:cNvCxnSpPr>
            <a:cxnSpLocks/>
          </p:cNvCxnSpPr>
          <p:nvPr/>
        </p:nvCxnSpPr>
        <p:spPr>
          <a:xfrm>
            <a:off x="6302942" y="53208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3" name="Овал 112">
            <a:extLst>
              <a:ext uri="{FF2B5EF4-FFF2-40B4-BE49-F238E27FC236}">
                <a16:creationId xmlns:a16="http://schemas.microsoft.com/office/drawing/2014/main" id="{7C0AD47D-1A25-4E07-8535-DB836EAC2E1D}"/>
              </a:ext>
            </a:extLst>
          </p:cNvPr>
          <p:cNvSpPr/>
          <p:nvPr/>
        </p:nvSpPr>
        <p:spPr>
          <a:xfrm>
            <a:off x="8100448" y="3956742"/>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14" name="Прямая соединительная линия 113">
            <a:extLst>
              <a:ext uri="{FF2B5EF4-FFF2-40B4-BE49-F238E27FC236}">
                <a16:creationId xmlns:a16="http://schemas.microsoft.com/office/drawing/2014/main" id="{DCA61404-B03C-47E5-8556-D2C87CC701D8}"/>
              </a:ext>
            </a:extLst>
          </p:cNvPr>
          <p:cNvCxnSpPr>
            <a:cxnSpLocks/>
          </p:cNvCxnSpPr>
          <p:nvPr/>
        </p:nvCxnSpPr>
        <p:spPr>
          <a:xfrm>
            <a:off x="8172040" y="363015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5" name="Прямая соединительная линия 114">
            <a:extLst>
              <a:ext uri="{FF2B5EF4-FFF2-40B4-BE49-F238E27FC236}">
                <a16:creationId xmlns:a16="http://schemas.microsoft.com/office/drawing/2014/main" id="{F68164B9-769C-4D25-B4E3-26571B113CF9}"/>
              </a:ext>
            </a:extLst>
          </p:cNvPr>
          <p:cNvCxnSpPr>
            <a:cxnSpLocks/>
          </p:cNvCxnSpPr>
          <p:nvPr/>
        </p:nvCxnSpPr>
        <p:spPr>
          <a:xfrm>
            <a:off x="8172040" y="417735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6" name="Овал 115">
            <a:extLst>
              <a:ext uri="{FF2B5EF4-FFF2-40B4-BE49-F238E27FC236}">
                <a16:creationId xmlns:a16="http://schemas.microsoft.com/office/drawing/2014/main" id="{13FEFBA0-7E75-4E77-8FA0-94AB05678AE4}"/>
              </a:ext>
            </a:extLst>
          </p:cNvPr>
          <p:cNvSpPr/>
          <p:nvPr/>
        </p:nvSpPr>
        <p:spPr>
          <a:xfrm>
            <a:off x="9316011" y="2926524"/>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17" name="Прямая соединительная линия 116">
            <a:extLst>
              <a:ext uri="{FF2B5EF4-FFF2-40B4-BE49-F238E27FC236}">
                <a16:creationId xmlns:a16="http://schemas.microsoft.com/office/drawing/2014/main" id="{12A2FF82-D291-412D-BC38-259527CCE1A1}"/>
              </a:ext>
            </a:extLst>
          </p:cNvPr>
          <p:cNvCxnSpPr>
            <a:cxnSpLocks/>
          </p:cNvCxnSpPr>
          <p:nvPr/>
        </p:nvCxnSpPr>
        <p:spPr>
          <a:xfrm>
            <a:off x="9392211" y="2599932"/>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Прямая соединительная линия 117">
            <a:extLst>
              <a:ext uri="{FF2B5EF4-FFF2-40B4-BE49-F238E27FC236}">
                <a16:creationId xmlns:a16="http://schemas.microsoft.com/office/drawing/2014/main" id="{966B4E9E-827F-4E86-9ADA-0C03856EB41F}"/>
              </a:ext>
            </a:extLst>
          </p:cNvPr>
          <p:cNvCxnSpPr>
            <a:cxnSpLocks/>
          </p:cNvCxnSpPr>
          <p:nvPr/>
        </p:nvCxnSpPr>
        <p:spPr>
          <a:xfrm>
            <a:off x="9392211" y="3147132"/>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1D1F433-9B3D-4C42-B022-CC0B4373D622}"/>
              </a:ext>
            </a:extLst>
          </p:cNvPr>
          <p:cNvSpPr txBox="1"/>
          <p:nvPr/>
        </p:nvSpPr>
        <p:spPr>
          <a:xfrm>
            <a:off x="6500769" y="4299013"/>
            <a:ext cx="1894163" cy="424732"/>
          </a:xfrm>
          <a:prstGeom prst="rect">
            <a:avLst/>
          </a:prstGeom>
          <a:gradFill flip="none" rotWithShape="1">
            <a:gsLst>
              <a:gs pos="0">
                <a:schemeClr val="bg1">
                  <a:alpha val="10000"/>
                </a:schemeClr>
              </a:gs>
              <a:gs pos="53600">
                <a:schemeClr val="bg1">
                  <a:alpha val="80000"/>
                </a:schemeClr>
              </a:gs>
              <a:gs pos="100000">
                <a:schemeClr val="bg1">
                  <a:alpha val="10000"/>
                </a:schemeClr>
              </a:gs>
            </a:gsLst>
            <a:lin ang="5400000" scaled="1"/>
            <a:tileRect/>
          </a:gradFill>
        </p:spPr>
        <p:txBody>
          <a:bodyPr wrap="square" lIns="108000" rtlCol="0">
            <a:spAutoFit/>
          </a:bodyPr>
          <a:lstStyle/>
          <a:p>
            <a:pPr>
              <a:lnSpc>
                <a:spcPct val="80000"/>
              </a:lnSpc>
            </a:pPr>
            <a:r>
              <a:rPr lang="ru-RU" sz="1300" spc="-20">
                <a:solidFill>
                  <a:schemeClr val="accent6">
                    <a:lumMod val="75000"/>
                  </a:schemeClr>
                </a:solidFill>
                <a:latin typeface="+mj-lt"/>
              </a:rPr>
              <a:t>Решимость </a:t>
            </a:r>
            <a:br>
              <a:rPr lang="ru-RU" sz="1300" spc="-20">
                <a:solidFill>
                  <a:schemeClr val="accent6">
                    <a:lumMod val="75000"/>
                  </a:schemeClr>
                </a:solidFill>
                <a:latin typeface="+mj-lt"/>
              </a:rPr>
            </a:br>
            <a:r>
              <a:rPr lang="ru-RU" sz="1300" spc="-20">
                <a:solidFill>
                  <a:schemeClr val="accent6">
                    <a:lumMod val="75000"/>
                  </a:schemeClr>
                </a:solidFill>
                <a:latin typeface="+mj-lt"/>
              </a:rPr>
              <a:t>и преданность</a:t>
            </a:r>
            <a:endParaRPr lang="ru-RU" sz="1300" spc="-20">
              <a:solidFill>
                <a:schemeClr val="accent6">
                  <a:lumMod val="75000"/>
                </a:schemeClr>
              </a:solidFill>
            </a:endParaRPr>
          </a:p>
        </p:txBody>
      </p:sp>
      <p:sp>
        <p:nvSpPr>
          <p:cNvPr id="119" name="Овал 118">
            <a:extLst>
              <a:ext uri="{FF2B5EF4-FFF2-40B4-BE49-F238E27FC236}">
                <a16:creationId xmlns:a16="http://schemas.microsoft.com/office/drawing/2014/main" id="{072EA981-77BD-4D4F-96E5-5CA080DFC29F}"/>
              </a:ext>
            </a:extLst>
          </p:cNvPr>
          <p:cNvSpPr/>
          <p:nvPr/>
        </p:nvSpPr>
        <p:spPr>
          <a:xfrm>
            <a:off x="11399794" y="2308392"/>
            <a:ext cx="152400" cy="152400"/>
          </a:xfrm>
          <a:prstGeom prst="ellipse">
            <a:avLst/>
          </a:prstGeom>
          <a:solidFill>
            <a:schemeClr val="accent6"/>
          </a:solidFill>
          <a:ln w="2857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20" name="Прямая соединительная линия 119">
            <a:extLst>
              <a:ext uri="{FF2B5EF4-FFF2-40B4-BE49-F238E27FC236}">
                <a16:creationId xmlns:a16="http://schemas.microsoft.com/office/drawing/2014/main" id="{E0555463-1536-43CF-B7E1-FEE71D1E8526}"/>
              </a:ext>
            </a:extLst>
          </p:cNvPr>
          <p:cNvCxnSpPr>
            <a:cxnSpLocks/>
          </p:cNvCxnSpPr>
          <p:nvPr/>
        </p:nvCxnSpPr>
        <p:spPr>
          <a:xfrm>
            <a:off x="11471386" y="19818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1" name="Прямая соединительная линия 120">
            <a:extLst>
              <a:ext uri="{FF2B5EF4-FFF2-40B4-BE49-F238E27FC236}">
                <a16:creationId xmlns:a16="http://schemas.microsoft.com/office/drawing/2014/main" id="{D550BFDD-0D67-4AC5-B537-E8D9414E0A55}"/>
              </a:ext>
            </a:extLst>
          </p:cNvPr>
          <p:cNvCxnSpPr>
            <a:cxnSpLocks/>
          </p:cNvCxnSpPr>
          <p:nvPr/>
        </p:nvCxnSpPr>
        <p:spPr>
          <a:xfrm>
            <a:off x="11471386" y="2529000"/>
            <a:ext cx="0" cy="230400"/>
          </a:xfrm>
          <a:prstGeom prst="line">
            <a:avLst/>
          </a:prstGeom>
          <a:ln cap="rnd">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75EE26C-CF6E-4CAF-92EB-1B90A192BAF2}"/>
              </a:ext>
            </a:extLst>
          </p:cNvPr>
          <p:cNvSpPr txBox="1"/>
          <p:nvPr/>
        </p:nvSpPr>
        <p:spPr>
          <a:xfrm>
            <a:off x="8367926" y="4538274"/>
            <a:ext cx="1042474" cy="292388"/>
          </a:xfrm>
          <a:prstGeom prst="rect">
            <a:avLst/>
          </a:prstGeom>
          <a:noFill/>
        </p:spPr>
        <p:txBody>
          <a:bodyPr wrap="square" lIns="108000" rtlCol="0">
            <a:spAutoFit/>
          </a:bodyPr>
          <a:lstStyle/>
          <a:p>
            <a:r>
              <a:rPr lang="ru-RU" sz="1300" spc="-20">
                <a:solidFill>
                  <a:schemeClr val="accent6">
                    <a:lumMod val="75000"/>
                  </a:schemeClr>
                </a:solidFill>
                <a:latin typeface="+mj-lt"/>
              </a:rPr>
              <a:t>Депрессия</a:t>
            </a:r>
            <a:endParaRPr lang="ru-RU" sz="1300" spc="-20">
              <a:solidFill>
                <a:schemeClr val="accent6">
                  <a:lumMod val="75000"/>
                </a:schemeClr>
              </a:solidFill>
            </a:endParaRPr>
          </a:p>
        </p:txBody>
      </p:sp>
      <p:sp>
        <p:nvSpPr>
          <p:cNvPr id="80" name="Овал 79">
            <a:extLst>
              <a:ext uri="{FF2B5EF4-FFF2-40B4-BE49-F238E27FC236}">
                <a16:creationId xmlns:a16="http://schemas.microsoft.com/office/drawing/2014/main" id="{A7903EA4-025E-4F5B-AD57-E23342D4AB73}"/>
              </a:ext>
            </a:extLst>
          </p:cNvPr>
          <p:cNvSpPr/>
          <p:nvPr/>
        </p:nvSpPr>
        <p:spPr>
          <a:xfrm>
            <a:off x="7970135" y="4488468"/>
            <a:ext cx="406400" cy="406400"/>
          </a:xfrm>
          <a:prstGeom prst="ellipse">
            <a:avLst/>
          </a:prstGeom>
          <a:solidFill>
            <a:schemeClr val="accent5">
              <a:lumMod val="75000"/>
              <a:alpha val="80000"/>
            </a:schemeClr>
          </a:solidFill>
          <a:ln>
            <a:noFill/>
          </a:ln>
          <a:effectLst>
            <a:outerShdw blurRad="63500" sx="102000" sy="102000" algn="ctr" rotWithShape="0">
              <a:schemeClr val="accent5">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57D94843-DB1F-41D2-9E34-F053F34E228D}"/>
              </a:ext>
            </a:extLst>
          </p:cNvPr>
          <p:cNvSpPr txBox="1"/>
          <p:nvPr/>
        </p:nvSpPr>
        <p:spPr>
          <a:xfrm>
            <a:off x="8022094" y="4364567"/>
            <a:ext cx="306494" cy="461665"/>
          </a:xfrm>
          <a:prstGeom prst="rect">
            <a:avLst/>
          </a:prstGeom>
          <a:noFill/>
        </p:spPr>
        <p:txBody>
          <a:bodyPr wrap="square" rtlCol="0">
            <a:spAutoFit/>
          </a:bodyPr>
          <a:lstStyle/>
          <a:p>
            <a:pPr algn="ctr"/>
            <a:r>
              <a:rPr lang="ru-RU" sz="2400">
                <a:ln w="9525">
                  <a:solidFill>
                    <a:srgbClr val="FF3A3A"/>
                  </a:solidFill>
                </a:ln>
                <a:solidFill>
                  <a:schemeClr val="bg1"/>
                </a:solidFill>
                <a:latin typeface="Verdana" panose="020B0604030504040204" pitchFamily="34" charset="0"/>
                <a:ea typeface="Verdana" panose="020B0604030504040204" pitchFamily="34" charset="0"/>
              </a:rPr>
              <a:t>…</a:t>
            </a:r>
          </a:p>
        </p:txBody>
      </p:sp>
      <p:sp>
        <p:nvSpPr>
          <p:cNvPr id="123" name="TextBox 122">
            <a:extLst>
              <a:ext uri="{FF2B5EF4-FFF2-40B4-BE49-F238E27FC236}">
                <a16:creationId xmlns:a16="http://schemas.microsoft.com/office/drawing/2014/main" id="{ACA1E735-EB60-476E-871B-8F3F068BB87A}"/>
              </a:ext>
            </a:extLst>
          </p:cNvPr>
          <p:cNvSpPr txBox="1"/>
          <p:nvPr/>
        </p:nvSpPr>
        <p:spPr>
          <a:xfrm>
            <a:off x="8014894" y="3090167"/>
            <a:ext cx="306494" cy="461665"/>
          </a:xfrm>
          <a:prstGeom prst="rect">
            <a:avLst/>
          </a:prstGeom>
          <a:noFill/>
        </p:spPr>
        <p:txBody>
          <a:bodyPr wrap="square" rtlCol="0">
            <a:spAutoFit/>
          </a:bodyPr>
          <a:lstStyle/>
          <a:p>
            <a:pPr algn="ctr"/>
            <a:r>
              <a:rPr lang="en-US" sz="2400">
                <a:ln w="9525">
                  <a:solidFill>
                    <a:srgbClr val="56B78D"/>
                  </a:solidFill>
                </a:ln>
                <a:solidFill>
                  <a:schemeClr val="bg1"/>
                </a:solidFill>
                <a:effectLst>
                  <a:outerShdw blurRad="63500" sx="102000" sy="102000" algn="ctr" rotWithShape="0">
                    <a:prstClr val="black">
                      <a:alpha val="40000"/>
                    </a:prstClr>
                  </a:outerShdw>
                </a:effectLst>
                <a:latin typeface="Verdana" panose="020B0604030504040204" pitchFamily="34" charset="0"/>
                <a:ea typeface="Verdana" panose="020B0604030504040204" pitchFamily="34" charset="0"/>
              </a:rPr>
              <a:t>~</a:t>
            </a:r>
            <a:endParaRPr lang="ru-RU" sz="2400">
              <a:ln w="9525">
                <a:solidFill>
                  <a:srgbClr val="56B78D"/>
                </a:solidFill>
              </a:ln>
              <a:solidFill>
                <a:schemeClr val="bg1"/>
              </a:solidFill>
              <a:effectLst>
                <a:outerShdw blurRad="63500" sx="102000" sy="102000" algn="ctr" rotWithShape="0">
                  <a:prstClr val="black">
                    <a:alpha val="40000"/>
                  </a:prstClr>
                </a:outerShdw>
              </a:effectLst>
              <a:latin typeface="Verdana" panose="020B0604030504040204" pitchFamily="34" charset="0"/>
              <a:ea typeface="Verdana" panose="020B0604030504040204" pitchFamily="34" charset="0"/>
            </a:endParaRPr>
          </a:p>
        </p:txBody>
      </p:sp>
      <p:grpSp>
        <p:nvGrpSpPr>
          <p:cNvPr id="124" name="Группа 123">
            <a:extLst>
              <a:ext uri="{FF2B5EF4-FFF2-40B4-BE49-F238E27FC236}">
                <a16:creationId xmlns:a16="http://schemas.microsoft.com/office/drawing/2014/main" id="{2D005984-64FB-4163-81D0-D07BDD6364E8}"/>
              </a:ext>
            </a:extLst>
          </p:cNvPr>
          <p:cNvGrpSpPr/>
          <p:nvPr/>
        </p:nvGrpSpPr>
        <p:grpSpPr>
          <a:xfrm>
            <a:off x="9263873" y="3532953"/>
            <a:ext cx="232928" cy="232926"/>
            <a:chOff x="631401" y="1876199"/>
            <a:chExt cx="423654" cy="423654"/>
          </a:xfrm>
          <a:solidFill>
            <a:schemeClr val="bg1"/>
          </a:solidFill>
          <a:effectLst>
            <a:outerShdw blurRad="63500" sx="102000" sy="102000" algn="ctr" rotWithShape="0">
              <a:schemeClr val="accent5">
                <a:lumMod val="75000"/>
                <a:alpha val="40000"/>
              </a:schemeClr>
            </a:outerShdw>
          </a:effectLst>
        </p:grpSpPr>
        <p:sp>
          <p:nvSpPr>
            <p:cNvPr id="125" name="Полилиния: фигура 124">
              <a:extLst>
                <a:ext uri="{FF2B5EF4-FFF2-40B4-BE49-F238E27FC236}">
                  <a16:creationId xmlns:a16="http://schemas.microsoft.com/office/drawing/2014/main" id="{20747110-91B0-48BD-A5C0-2956AFBAC41C}"/>
                </a:ext>
              </a:extLst>
            </p:cNvPr>
            <p:cNvSpPr/>
            <p:nvPr/>
          </p:nvSpPr>
          <p:spPr>
            <a:xfrm>
              <a:off x="631401" y="1876199"/>
              <a:ext cx="331131" cy="331003"/>
            </a:xfrm>
            <a:custGeom>
              <a:avLst/>
              <a:gdLst>
                <a:gd name="connsiteX0" fmla="*/ 165566 w 331131"/>
                <a:gd name="connsiteY0" fmla="*/ 331004 h 331003"/>
                <a:gd name="connsiteX1" fmla="*/ 0 w 331131"/>
                <a:gd name="connsiteY1" fmla="*/ 165438 h 331003"/>
                <a:gd name="connsiteX2" fmla="*/ 165566 w 331131"/>
                <a:gd name="connsiteY2" fmla="*/ 0 h 331003"/>
                <a:gd name="connsiteX3" fmla="*/ 331132 w 331131"/>
                <a:gd name="connsiteY3" fmla="*/ 165566 h 331003"/>
                <a:gd name="connsiteX4" fmla="*/ 165566 w 331131"/>
                <a:gd name="connsiteY4" fmla="*/ 331004 h 331003"/>
                <a:gd name="connsiteX5" fmla="*/ 165566 w 331131"/>
                <a:gd name="connsiteY5" fmla="*/ 13199 h 331003"/>
                <a:gd name="connsiteX6" fmla="*/ 13199 w 331131"/>
                <a:gd name="connsiteY6" fmla="*/ 165566 h 331003"/>
                <a:gd name="connsiteX7" fmla="*/ 165566 w 331131"/>
                <a:gd name="connsiteY7" fmla="*/ 317933 h 331003"/>
                <a:gd name="connsiteX8" fmla="*/ 317804 w 331131"/>
                <a:gd name="connsiteY8" fmla="*/ 165566 h 331003"/>
                <a:gd name="connsiteX9" fmla="*/ 165566 w 331131"/>
                <a:gd name="connsiteY9" fmla="*/ 13199 h 33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1131" h="331003">
                  <a:moveTo>
                    <a:pt x="165566" y="331004"/>
                  </a:moveTo>
                  <a:cubicBezTo>
                    <a:pt x="74325" y="331004"/>
                    <a:pt x="0" y="256807"/>
                    <a:pt x="0" y="165438"/>
                  </a:cubicBezTo>
                  <a:cubicBezTo>
                    <a:pt x="0" y="74069"/>
                    <a:pt x="74197" y="0"/>
                    <a:pt x="165566" y="0"/>
                  </a:cubicBezTo>
                  <a:cubicBezTo>
                    <a:pt x="256935" y="0"/>
                    <a:pt x="331132" y="74197"/>
                    <a:pt x="331132" y="165566"/>
                  </a:cubicBezTo>
                  <a:cubicBezTo>
                    <a:pt x="331132" y="256935"/>
                    <a:pt x="256806" y="331004"/>
                    <a:pt x="165566" y="331004"/>
                  </a:cubicBezTo>
                  <a:close/>
                  <a:moveTo>
                    <a:pt x="165566" y="13199"/>
                  </a:moveTo>
                  <a:cubicBezTo>
                    <a:pt x="81630" y="13199"/>
                    <a:pt x="13199" y="81501"/>
                    <a:pt x="13199" y="165566"/>
                  </a:cubicBezTo>
                  <a:cubicBezTo>
                    <a:pt x="13199" y="249630"/>
                    <a:pt x="81501" y="317933"/>
                    <a:pt x="165566" y="317933"/>
                  </a:cubicBezTo>
                  <a:cubicBezTo>
                    <a:pt x="249630" y="317933"/>
                    <a:pt x="317804" y="249502"/>
                    <a:pt x="317804" y="165566"/>
                  </a:cubicBezTo>
                  <a:cubicBezTo>
                    <a:pt x="317804" y="81630"/>
                    <a:pt x="249502" y="13199"/>
                    <a:pt x="165566" y="13199"/>
                  </a:cubicBezTo>
                  <a:close/>
                </a:path>
              </a:pathLst>
            </a:custGeom>
            <a:grpFill/>
            <a:ln w="3175" cap="flat">
              <a:solidFill>
                <a:schemeClr val="bg1"/>
              </a:solidFill>
              <a:prstDash val="solid"/>
              <a:miter/>
            </a:ln>
          </p:spPr>
          <p:txBody>
            <a:bodyPr rtlCol="0" anchor="ctr"/>
            <a:lstStyle/>
            <a:p>
              <a:endParaRPr lang="ru-RU"/>
            </a:p>
          </p:txBody>
        </p:sp>
        <p:sp>
          <p:nvSpPr>
            <p:cNvPr id="126" name="Полилиния: фигура 125">
              <a:extLst>
                <a:ext uri="{FF2B5EF4-FFF2-40B4-BE49-F238E27FC236}">
                  <a16:creationId xmlns:a16="http://schemas.microsoft.com/office/drawing/2014/main" id="{3B929ED4-79E2-41C5-B082-E36753594CC1}"/>
                </a:ext>
              </a:extLst>
            </p:cNvPr>
            <p:cNvSpPr/>
            <p:nvPr/>
          </p:nvSpPr>
          <p:spPr>
            <a:xfrm>
              <a:off x="887567" y="2132237"/>
              <a:ext cx="167488" cy="167616"/>
            </a:xfrm>
            <a:custGeom>
              <a:avLst/>
              <a:gdLst>
                <a:gd name="connsiteX0" fmla="*/ 136989 w 167488"/>
                <a:gd name="connsiteY0" fmla="*/ 167616 h 167616"/>
                <a:gd name="connsiteX1" fmla="*/ 115460 w 167488"/>
                <a:gd name="connsiteY1" fmla="*/ 158646 h 167616"/>
                <a:gd name="connsiteX2" fmla="*/ 1922 w 167488"/>
                <a:gd name="connsiteY2" fmla="*/ 45108 h 167616"/>
                <a:gd name="connsiteX3" fmla="*/ 1922 w 167488"/>
                <a:gd name="connsiteY3" fmla="*/ 35753 h 167616"/>
                <a:gd name="connsiteX4" fmla="*/ 35753 w 167488"/>
                <a:gd name="connsiteY4" fmla="*/ 1922 h 167616"/>
                <a:gd name="connsiteX5" fmla="*/ 40366 w 167488"/>
                <a:gd name="connsiteY5" fmla="*/ 0 h 167616"/>
                <a:gd name="connsiteX6" fmla="*/ 44980 w 167488"/>
                <a:gd name="connsiteY6" fmla="*/ 1922 h 167616"/>
                <a:gd name="connsiteX7" fmla="*/ 158518 w 167488"/>
                <a:gd name="connsiteY7" fmla="*/ 115460 h 167616"/>
                <a:gd name="connsiteX8" fmla="*/ 167488 w 167488"/>
                <a:gd name="connsiteY8" fmla="*/ 136989 h 167616"/>
                <a:gd name="connsiteX9" fmla="*/ 158518 w 167488"/>
                <a:gd name="connsiteY9" fmla="*/ 158518 h 167616"/>
                <a:gd name="connsiteX10" fmla="*/ 136989 w 167488"/>
                <a:gd name="connsiteY10" fmla="*/ 167616 h 167616"/>
                <a:gd name="connsiteX11" fmla="*/ 16147 w 167488"/>
                <a:gd name="connsiteY11" fmla="*/ 40110 h 167616"/>
                <a:gd name="connsiteX12" fmla="*/ 124815 w 167488"/>
                <a:gd name="connsiteY12" fmla="*/ 149291 h 167616"/>
                <a:gd name="connsiteX13" fmla="*/ 137117 w 167488"/>
                <a:gd name="connsiteY13" fmla="*/ 154161 h 167616"/>
                <a:gd name="connsiteX14" fmla="*/ 149419 w 167488"/>
                <a:gd name="connsiteY14" fmla="*/ 149291 h 167616"/>
                <a:gd name="connsiteX15" fmla="*/ 154545 w 167488"/>
                <a:gd name="connsiteY15" fmla="*/ 136989 h 167616"/>
                <a:gd name="connsiteX16" fmla="*/ 149419 w 167488"/>
                <a:gd name="connsiteY16" fmla="*/ 124687 h 167616"/>
                <a:gd name="connsiteX17" fmla="*/ 40494 w 167488"/>
                <a:gd name="connsiteY17" fmla="*/ 15762 h 167616"/>
                <a:gd name="connsiteX18" fmla="*/ 16147 w 167488"/>
                <a:gd name="connsiteY18" fmla="*/ 40110 h 16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488" h="167616">
                  <a:moveTo>
                    <a:pt x="136989" y="167616"/>
                  </a:moveTo>
                  <a:cubicBezTo>
                    <a:pt x="128788" y="167616"/>
                    <a:pt x="121227" y="164413"/>
                    <a:pt x="115460" y="158646"/>
                  </a:cubicBezTo>
                  <a:lnTo>
                    <a:pt x="1922" y="45108"/>
                  </a:lnTo>
                  <a:cubicBezTo>
                    <a:pt x="-641" y="42545"/>
                    <a:pt x="-641" y="38316"/>
                    <a:pt x="1922" y="35753"/>
                  </a:cubicBezTo>
                  <a:lnTo>
                    <a:pt x="35753" y="1922"/>
                  </a:lnTo>
                  <a:cubicBezTo>
                    <a:pt x="37034" y="641"/>
                    <a:pt x="38700" y="0"/>
                    <a:pt x="40366" y="0"/>
                  </a:cubicBezTo>
                  <a:cubicBezTo>
                    <a:pt x="42160" y="0"/>
                    <a:pt x="43826" y="641"/>
                    <a:pt x="44980" y="1922"/>
                  </a:cubicBezTo>
                  <a:lnTo>
                    <a:pt x="158518" y="115460"/>
                  </a:lnTo>
                  <a:cubicBezTo>
                    <a:pt x="164284" y="121227"/>
                    <a:pt x="167488" y="128916"/>
                    <a:pt x="167488" y="136989"/>
                  </a:cubicBezTo>
                  <a:cubicBezTo>
                    <a:pt x="167488" y="145062"/>
                    <a:pt x="164284" y="152751"/>
                    <a:pt x="158518" y="158518"/>
                  </a:cubicBezTo>
                  <a:cubicBezTo>
                    <a:pt x="152751" y="164413"/>
                    <a:pt x="145062" y="167616"/>
                    <a:pt x="136989" y="167616"/>
                  </a:cubicBezTo>
                  <a:close/>
                  <a:moveTo>
                    <a:pt x="16147" y="40110"/>
                  </a:moveTo>
                  <a:lnTo>
                    <a:pt x="124815" y="149291"/>
                  </a:lnTo>
                  <a:cubicBezTo>
                    <a:pt x="127891" y="152367"/>
                    <a:pt x="132376" y="154161"/>
                    <a:pt x="137117" y="154161"/>
                  </a:cubicBezTo>
                  <a:cubicBezTo>
                    <a:pt x="141731" y="154161"/>
                    <a:pt x="146216" y="152367"/>
                    <a:pt x="149419" y="149291"/>
                  </a:cubicBezTo>
                  <a:cubicBezTo>
                    <a:pt x="152751" y="145959"/>
                    <a:pt x="154545" y="141602"/>
                    <a:pt x="154545" y="136989"/>
                  </a:cubicBezTo>
                  <a:cubicBezTo>
                    <a:pt x="154545" y="132376"/>
                    <a:pt x="152751" y="128019"/>
                    <a:pt x="149419" y="124687"/>
                  </a:cubicBezTo>
                  <a:lnTo>
                    <a:pt x="40494" y="15762"/>
                  </a:lnTo>
                  <a:lnTo>
                    <a:pt x="16147" y="40110"/>
                  </a:lnTo>
                  <a:close/>
                </a:path>
              </a:pathLst>
            </a:custGeom>
            <a:grpFill/>
            <a:ln w="3175" cap="flat">
              <a:solidFill>
                <a:schemeClr val="bg1"/>
              </a:solidFill>
              <a:prstDash val="solid"/>
              <a:miter/>
            </a:ln>
          </p:spPr>
          <p:txBody>
            <a:bodyPr rtlCol="0" anchor="ctr"/>
            <a:lstStyle/>
            <a:p>
              <a:endParaRPr lang="ru-RU"/>
            </a:p>
          </p:txBody>
        </p:sp>
        <p:sp>
          <p:nvSpPr>
            <p:cNvPr id="127" name="Полилиния: фигура 126">
              <a:extLst>
                <a:ext uri="{FF2B5EF4-FFF2-40B4-BE49-F238E27FC236}">
                  <a16:creationId xmlns:a16="http://schemas.microsoft.com/office/drawing/2014/main" id="{20C9C3BE-4EBF-4BFC-BBF0-2A7134EDCB94}"/>
                </a:ext>
              </a:extLst>
            </p:cNvPr>
            <p:cNvSpPr/>
            <p:nvPr/>
          </p:nvSpPr>
          <p:spPr>
            <a:xfrm>
              <a:off x="688555" y="1933353"/>
              <a:ext cx="114947" cy="114947"/>
            </a:xfrm>
            <a:custGeom>
              <a:avLst/>
              <a:gdLst>
                <a:gd name="connsiteX0" fmla="*/ 6535 w 114947"/>
                <a:gd name="connsiteY0" fmla="*/ 114948 h 114947"/>
                <a:gd name="connsiteX1" fmla="*/ 0 w 114947"/>
                <a:gd name="connsiteY1" fmla="*/ 108412 h 114947"/>
                <a:gd name="connsiteX2" fmla="*/ 108412 w 114947"/>
                <a:gd name="connsiteY2" fmla="*/ 0 h 114947"/>
                <a:gd name="connsiteX3" fmla="*/ 114948 w 114947"/>
                <a:gd name="connsiteY3" fmla="*/ 6535 h 114947"/>
                <a:gd name="connsiteX4" fmla="*/ 108412 w 114947"/>
                <a:gd name="connsiteY4" fmla="*/ 13071 h 114947"/>
                <a:gd name="connsiteX5" fmla="*/ 13199 w 114947"/>
                <a:gd name="connsiteY5" fmla="*/ 108284 h 114947"/>
                <a:gd name="connsiteX6" fmla="*/ 6535 w 114947"/>
                <a:gd name="connsiteY6" fmla="*/ 114948 h 114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47" h="114947">
                  <a:moveTo>
                    <a:pt x="6535" y="114948"/>
                  </a:moveTo>
                  <a:cubicBezTo>
                    <a:pt x="2947" y="114948"/>
                    <a:pt x="0" y="112000"/>
                    <a:pt x="0" y="108412"/>
                  </a:cubicBezTo>
                  <a:cubicBezTo>
                    <a:pt x="0" y="48696"/>
                    <a:pt x="48568" y="0"/>
                    <a:pt x="108412" y="0"/>
                  </a:cubicBezTo>
                  <a:cubicBezTo>
                    <a:pt x="112000" y="0"/>
                    <a:pt x="114948" y="2947"/>
                    <a:pt x="114948" y="6535"/>
                  </a:cubicBezTo>
                  <a:cubicBezTo>
                    <a:pt x="114948" y="10124"/>
                    <a:pt x="112000" y="13071"/>
                    <a:pt x="108412" y="13071"/>
                  </a:cubicBezTo>
                  <a:cubicBezTo>
                    <a:pt x="55872" y="13071"/>
                    <a:pt x="13199" y="55744"/>
                    <a:pt x="13199" y="108284"/>
                  </a:cubicBezTo>
                  <a:cubicBezTo>
                    <a:pt x="13071" y="112000"/>
                    <a:pt x="10124" y="114948"/>
                    <a:pt x="6535" y="114948"/>
                  </a:cubicBezTo>
                  <a:close/>
                </a:path>
              </a:pathLst>
            </a:custGeom>
            <a:grpFill/>
            <a:ln w="3175" cap="flat">
              <a:solidFill>
                <a:schemeClr val="bg1"/>
              </a:solidFill>
              <a:prstDash val="solid"/>
              <a:miter/>
            </a:ln>
          </p:spPr>
          <p:txBody>
            <a:bodyPr rtlCol="0" anchor="ctr"/>
            <a:lstStyle/>
            <a:p>
              <a:endParaRPr lang="ru-RU"/>
            </a:p>
          </p:txBody>
        </p:sp>
      </p:grpSp>
      <p:grpSp>
        <p:nvGrpSpPr>
          <p:cNvPr id="129" name="Группа 128">
            <a:extLst>
              <a:ext uri="{FF2B5EF4-FFF2-40B4-BE49-F238E27FC236}">
                <a16:creationId xmlns:a16="http://schemas.microsoft.com/office/drawing/2014/main" id="{83FB0D5F-EB0F-49DD-975B-2B931E93BA41}"/>
              </a:ext>
            </a:extLst>
          </p:cNvPr>
          <p:cNvGrpSpPr/>
          <p:nvPr/>
        </p:nvGrpSpPr>
        <p:grpSpPr>
          <a:xfrm>
            <a:off x="11345784" y="1579984"/>
            <a:ext cx="241615" cy="241616"/>
            <a:chOff x="649353" y="5020115"/>
            <a:chExt cx="448663" cy="448662"/>
          </a:xfrm>
          <a:solidFill>
            <a:schemeClr val="bg1"/>
          </a:solidFill>
        </p:grpSpPr>
        <p:sp>
          <p:nvSpPr>
            <p:cNvPr id="130" name="Полилиния: фигура 129">
              <a:extLst>
                <a:ext uri="{FF2B5EF4-FFF2-40B4-BE49-F238E27FC236}">
                  <a16:creationId xmlns:a16="http://schemas.microsoft.com/office/drawing/2014/main" id="{3B951066-DCC0-4C44-B803-2C66230AED24}"/>
                </a:ext>
              </a:extLst>
            </p:cNvPr>
            <p:cNvSpPr/>
            <p:nvPr/>
          </p:nvSpPr>
          <p:spPr>
            <a:xfrm>
              <a:off x="754896" y="5125521"/>
              <a:ext cx="237576" cy="237576"/>
            </a:xfrm>
            <a:custGeom>
              <a:avLst/>
              <a:gdLst>
                <a:gd name="connsiteX0" fmla="*/ 118788 w 237576"/>
                <a:gd name="connsiteY0" fmla="*/ 237576 h 237576"/>
                <a:gd name="connsiteX1" fmla="*/ 0 w 237576"/>
                <a:gd name="connsiteY1" fmla="*/ 118788 h 237576"/>
                <a:gd name="connsiteX2" fmla="*/ 118788 w 237576"/>
                <a:gd name="connsiteY2" fmla="*/ 0 h 237576"/>
                <a:gd name="connsiteX3" fmla="*/ 237576 w 237576"/>
                <a:gd name="connsiteY3" fmla="*/ 118788 h 237576"/>
                <a:gd name="connsiteX4" fmla="*/ 118788 w 237576"/>
                <a:gd name="connsiteY4" fmla="*/ 237576 h 237576"/>
                <a:gd name="connsiteX5" fmla="*/ 118788 w 237576"/>
                <a:gd name="connsiteY5" fmla="*/ 14210 h 237576"/>
                <a:gd name="connsiteX6" fmla="*/ 14210 w 237576"/>
                <a:gd name="connsiteY6" fmla="*/ 118788 h 237576"/>
                <a:gd name="connsiteX7" fmla="*/ 118788 w 237576"/>
                <a:gd name="connsiteY7" fmla="*/ 223366 h 237576"/>
                <a:gd name="connsiteX8" fmla="*/ 223366 w 237576"/>
                <a:gd name="connsiteY8" fmla="*/ 118788 h 237576"/>
                <a:gd name="connsiteX9" fmla="*/ 118788 w 237576"/>
                <a:gd name="connsiteY9" fmla="*/ 14210 h 23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576" h="237576">
                  <a:moveTo>
                    <a:pt x="118788" y="237576"/>
                  </a:moveTo>
                  <a:cubicBezTo>
                    <a:pt x="53255" y="237576"/>
                    <a:pt x="0" y="184322"/>
                    <a:pt x="0" y="118788"/>
                  </a:cubicBezTo>
                  <a:cubicBezTo>
                    <a:pt x="0" y="53255"/>
                    <a:pt x="53255" y="0"/>
                    <a:pt x="118788" y="0"/>
                  </a:cubicBezTo>
                  <a:cubicBezTo>
                    <a:pt x="184322" y="0"/>
                    <a:pt x="237576" y="53255"/>
                    <a:pt x="237576" y="118788"/>
                  </a:cubicBezTo>
                  <a:cubicBezTo>
                    <a:pt x="237576" y="184322"/>
                    <a:pt x="184322" y="237576"/>
                    <a:pt x="118788" y="237576"/>
                  </a:cubicBezTo>
                  <a:close/>
                  <a:moveTo>
                    <a:pt x="118788" y="14210"/>
                  </a:moveTo>
                  <a:cubicBezTo>
                    <a:pt x="61119" y="14210"/>
                    <a:pt x="14210" y="61119"/>
                    <a:pt x="14210" y="118788"/>
                  </a:cubicBezTo>
                  <a:cubicBezTo>
                    <a:pt x="14210" y="176458"/>
                    <a:pt x="61119" y="223366"/>
                    <a:pt x="118788" y="223366"/>
                  </a:cubicBezTo>
                  <a:cubicBezTo>
                    <a:pt x="176458" y="223366"/>
                    <a:pt x="223366" y="176458"/>
                    <a:pt x="223366" y="118788"/>
                  </a:cubicBezTo>
                  <a:cubicBezTo>
                    <a:pt x="223366" y="61119"/>
                    <a:pt x="176458" y="14210"/>
                    <a:pt x="118788" y="14210"/>
                  </a:cubicBezTo>
                  <a:close/>
                </a:path>
              </a:pathLst>
            </a:custGeom>
            <a:grpFill/>
            <a:ln w="3175" cap="flat">
              <a:solidFill>
                <a:schemeClr val="bg1"/>
              </a:solidFill>
              <a:prstDash val="solid"/>
              <a:miter/>
            </a:ln>
          </p:spPr>
          <p:txBody>
            <a:bodyPr rtlCol="0" anchor="ctr"/>
            <a:lstStyle/>
            <a:p>
              <a:endParaRPr lang="ru-RU"/>
            </a:p>
          </p:txBody>
        </p:sp>
        <p:sp>
          <p:nvSpPr>
            <p:cNvPr id="131" name="Полилиния: фигура 130">
              <a:extLst>
                <a:ext uri="{FF2B5EF4-FFF2-40B4-BE49-F238E27FC236}">
                  <a16:creationId xmlns:a16="http://schemas.microsoft.com/office/drawing/2014/main" id="{7C1E66D6-2512-44E8-A2DB-160B1597A6D0}"/>
                </a:ext>
              </a:extLst>
            </p:cNvPr>
            <p:cNvSpPr/>
            <p:nvPr/>
          </p:nvSpPr>
          <p:spPr>
            <a:xfrm>
              <a:off x="649353" y="5020115"/>
              <a:ext cx="448663" cy="448662"/>
            </a:xfrm>
            <a:custGeom>
              <a:avLst/>
              <a:gdLst>
                <a:gd name="connsiteX0" fmla="*/ 211501 w 448663"/>
                <a:gd name="connsiteY0" fmla="*/ 448663 h 448662"/>
                <a:gd name="connsiteX1" fmla="*/ 178251 w 448663"/>
                <a:gd name="connsiteY1" fmla="*/ 415414 h 448662"/>
                <a:gd name="connsiteX2" fmla="*/ 178251 w 448663"/>
                <a:gd name="connsiteY2" fmla="*/ 393477 h 448662"/>
                <a:gd name="connsiteX3" fmla="*/ 137551 w 448663"/>
                <a:gd name="connsiteY3" fmla="*/ 376507 h 448662"/>
                <a:gd name="connsiteX4" fmla="*/ 121685 w 448663"/>
                <a:gd name="connsiteY4" fmla="*/ 392098 h 448662"/>
                <a:gd name="connsiteX5" fmla="*/ 98231 w 448663"/>
                <a:gd name="connsiteY5" fmla="*/ 401755 h 448662"/>
                <a:gd name="connsiteX6" fmla="*/ 74777 w 448663"/>
                <a:gd name="connsiteY6" fmla="*/ 392098 h 448662"/>
                <a:gd name="connsiteX7" fmla="*/ 56566 w 448663"/>
                <a:gd name="connsiteY7" fmla="*/ 373886 h 448662"/>
                <a:gd name="connsiteX8" fmla="*/ 46770 w 448663"/>
                <a:gd name="connsiteY8" fmla="*/ 350432 h 448662"/>
                <a:gd name="connsiteX9" fmla="*/ 56566 w 448663"/>
                <a:gd name="connsiteY9" fmla="*/ 326978 h 448662"/>
                <a:gd name="connsiteX10" fmla="*/ 72156 w 448663"/>
                <a:gd name="connsiteY10" fmla="*/ 311388 h 448662"/>
                <a:gd name="connsiteX11" fmla="*/ 55462 w 448663"/>
                <a:gd name="connsiteY11" fmla="*/ 270550 h 448662"/>
                <a:gd name="connsiteX12" fmla="*/ 33250 w 448663"/>
                <a:gd name="connsiteY12" fmla="*/ 270412 h 448662"/>
                <a:gd name="connsiteX13" fmla="*/ 0 w 448663"/>
                <a:gd name="connsiteY13" fmla="*/ 237162 h 448662"/>
                <a:gd name="connsiteX14" fmla="*/ 0 w 448663"/>
                <a:gd name="connsiteY14" fmla="*/ 211501 h 448662"/>
                <a:gd name="connsiteX15" fmla="*/ 33250 w 448663"/>
                <a:gd name="connsiteY15" fmla="*/ 178251 h 448662"/>
                <a:gd name="connsiteX16" fmla="*/ 55186 w 448663"/>
                <a:gd name="connsiteY16" fmla="*/ 178251 h 448662"/>
                <a:gd name="connsiteX17" fmla="*/ 72156 w 448663"/>
                <a:gd name="connsiteY17" fmla="*/ 137551 h 448662"/>
                <a:gd name="connsiteX18" fmla="*/ 56566 w 448663"/>
                <a:gd name="connsiteY18" fmla="*/ 121685 h 448662"/>
                <a:gd name="connsiteX19" fmla="*/ 56566 w 448663"/>
                <a:gd name="connsiteY19" fmla="*/ 74777 h 448662"/>
                <a:gd name="connsiteX20" fmla="*/ 74777 w 448663"/>
                <a:gd name="connsiteY20" fmla="*/ 56566 h 448662"/>
                <a:gd name="connsiteX21" fmla="*/ 98231 w 448663"/>
                <a:gd name="connsiteY21" fmla="*/ 46908 h 448662"/>
                <a:gd name="connsiteX22" fmla="*/ 121685 w 448663"/>
                <a:gd name="connsiteY22" fmla="*/ 56566 h 448662"/>
                <a:gd name="connsiteX23" fmla="*/ 137275 w 448663"/>
                <a:gd name="connsiteY23" fmla="*/ 72156 h 448662"/>
                <a:gd name="connsiteX24" fmla="*/ 178113 w 448663"/>
                <a:gd name="connsiteY24" fmla="*/ 55462 h 448662"/>
                <a:gd name="connsiteX25" fmla="*/ 178251 w 448663"/>
                <a:gd name="connsiteY25" fmla="*/ 33250 h 448662"/>
                <a:gd name="connsiteX26" fmla="*/ 211501 w 448663"/>
                <a:gd name="connsiteY26" fmla="*/ 0 h 448662"/>
                <a:gd name="connsiteX27" fmla="*/ 237162 w 448663"/>
                <a:gd name="connsiteY27" fmla="*/ 0 h 448662"/>
                <a:gd name="connsiteX28" fmla="*/ 270412 w 448663"/>
                <a:gd name="connsiteY28" fmla="*/ 33250 h 448662"/>
                <a:gd name="connsiteX29" fmla="*/ 270412 w 448663"/>
                <a:gd name="connsiteY29" fmla="*/ 55186 h 448662"/>
                <a:gd name="connsiteX30" fmla="*/ 311112 w 448663"/>
                <a:gd name="connsiteY30" fmla="*/ 72156 h 448662"/>
                <a:gd name="connsiteX31" fmla="*/ 326978 w 448663"/>
                <a:gd name="connsiteY31" fmla="*/ 56566 h 448662"/>
                <a:gd name="connsiteX32" fmla="*/ 350432 w 448663"/>
                <a:gd name="connsiteY32" fmla="*/ 46908 h 448662"/>
                <a:gd name="connsiteX33" fmla="*/ 373886 w 448663"/>
                <a:gd name="connsiteY33" fmla="*/ 56566 h 448662"/>
                <a:gd name="connsiteX34" fmla="*/ 392097 w 448663"/>
                <a:gd name="connsiteY34" fmla="*/ 74777 h 448662"/>
                <a:gd name="connsiteX35" fmla="*/ 401755 w 448663"/>
                <a:gd name="connsiteY35" fmla="*/ 98231 h 448662"/>
                <a:gd name="connsiteX36" fmla="*/ 392097 w 448663"/>
                <a:gd name="connsiteY36" fmla="*/ 121685 h 448662"/>
                <a:gd name="connsiteX37" fmla="*/ 376507 w 448663"/>
                <a:gd name="connsiteY37" fmla="*/ 137275 h 448662"/>
                <a:gd name="connsiteX38" fmla="*/ 393201 w 448663"/>
                <a:gd name="connsiteY38" fmla="*/ 178113 h 448662"/>
                <a:gd name="connsiteX39" fmla="*/ 415413 w 448663"/>
                <a:gd name="connsiteY39" fmla="*/ 178251 h 448662"/>
                <a:gd name="connsiteX40" fmla="*/ 448663 w 448663"/>
                <a:gd name="connsiteY40" fmla="*/ 211501 h 448662"/>
                <a:gd name="connsiteX41" fmla="*/ 448663 w 448663"/>
                <a:gd name="connsiteY41" fmla="*/ 237162 h 448662"/>
                <a:gd name="connsiteX42" fmla="*/ 415413 w 448663"/>
                <a:gd name="connsiteY42" fmla="*/ 270412 h 448662"/>
                <a:gd name="connsiteX43" fmla="*/ 393477 w 448663"/>
                <a:gd name="connsiteY43" fmla="*/ 270412 h 448662"/>
                <a:gd name="connsiteX44" fmla="*/ 376507 w 448663"/>
                <a:gd name="connsiteY44" fmla="*/ 311112 h 448662"/>
                <a:gd name="connsiteX45" fmla="*/ 392097 w 448663"/>
                <a:gd name="connsiteY45" fmla="*/ 326978 h 448662"/>
                <a:gd name="connsiteX46" fmla="*/ 401755 w 448663"/>
                <a:gd name="connsiteY46" fmla="*/ 350432 h 448662"/>
                <a:gd name="connsiteX47" fmla="*/ 392097 w 448663"/>
                <a:gd name="connsiteY47" fmla="*/ 373886 h 448662"/>
                <a:gd name="connsiteX48" fmla="*/ 373886 w 448663"/>
                <a:gd name="connsiteY48" fmla="*/ 392098 h 448662"/>
                <a:gd name="connsiteX49" fmla="*/ 350432 w 448663"/>
                <a:gd name="connsiteY49" fmla="*/ 401755 h 448662"/>
                <a:gd name="connsiteX50" fmla="*/ 326978 w 448663"/>
                <a:gd name="connsiteY50" fmla="*/ 392098 h 448662"/>
                <a:gd name="connsiteX51" fmla="*/ 311388 w 448663"/>
                <a:gd name="connsiteY51" fmla="*/ 376507 h 448662"/>
                <a:gd name="connsiteX52" fmla="*/ 270550 w 448663"/>
                <a:gd name="connsiteY52" fmla="*/ 393201 h 448662"/>
                <a:gd name="connsiteX53" fmla="*/ 270412 w 448663"/>
                <a:gd name="connsiteY53" fmla="*/ 415414 h 448662"/>
                <a:gd name="connsiteX54" fmla="*/ 237162 w 448663"/>
                <a:gd name="connsiteY54" fmla="*/ 448663 h 448662"/>
                <a:gd name="connsiteX55" fmla="*/ 211501 w 448663"/>
                <a:gd name="connsiteY55" fmla="*/ 448663 h 448662"/>
                <a:gd name="connsiteX56" fmla="*/ 136310 w 448663"/>
                <a:gd name="connsiteY56" fmla="*/ 360227 h 448662"/>
                <a:gd name="connsiteX57" fmla="*/ 140035 w 448663"/>
                <a:gd name="connsiteY57" fmla="*/ 361331 h 448662"/>
                <a:gd name="connsiteX58" fmla="*/ 187081 w 448663"/>
                <a:gd name="connsiteY58" fmla="*/ 380784 h 448662"/>
                <a:gd name="connsiteX59" fmla="*/ 192600 w 448663"/>
                <a:gd name="connsiteY59" fmla="*/ 387683 h 448662"/>
                <a:gd name="connsiteX60" fmla="*/ 192600 w 448663"/>
                <a:gd name="connsiteY60" fmla="*/ 415414 h 448662"/>
                <a:gd name="connsiteX61" fmla="*/ 211639 w 448663"/>
                <a:gd name="connsiteY61" fmla="*/ 434453 h 448662"/>
                <a:gd name="connsiteX62" fmla="*/ 237300 w 448663"/>
                <a:gd name="connsiteY62" fmla="*/ 434453 h 448662"/>
                <a:gd name="connsiteX63" fmla="*/ 256340 w 448663"/>
                <a:gd name="connsiteY63" fmla="*/ 415414 h 448662"/>
                <a:gd name="connsiteX64" fmla="*/ 256340 w 448663"/>
                <a:gd name="connsiteY64" fmla="*/ 387683 h 448662"/>
                <a:gd name="connsiteX65" fmla="*/ 261858 w 448663"/>
                <a:gd name="connsiteY65" fmla="*/ 380784 h 448662"/>
                <a:gd name="connsiteX66" fmla="*/ 308904 w 448663"/>
                <a:gd name="connsiteY66" fmla="*/ 361331 h 448662"/>
                <a:gd name="connsiteX67" fmla="*/ 312629 w 448663"/>
                <a:gd name="connsiteY67" fmla="*/ 360227 h 448662"/>
                <a:gd name="connsiteX68" fmla="*/ 318010 w 448663"/>
                <a:gd name="connsiteY68" fmla="*/ 362711 h 448662"/>
                <a:gd name="connsiteX69" fmla="*/ 337187 w 448663"/>
                <a:gd name="connsiteY69" fmla="*/ 381888 h 448662"/>
                <a:gd name="connsiteX70" fmla="*/ 350570 w 448663"/>
                <a:gd name="connsiteY70" fmla="*/ 387407 h 448662"/>
                <a:gd name="connsiteX71" fmla="*/ 364090 w 448663"/>
                <a:gd name="connsiteY71" fmla="*/ 381888 h 448662"/>
                <a:gd name="connsiteX72" fmla="*/ 382302 w 448663"/>
                <a:gd name="connsiteY72" fmla="*/ 363677 h 448662"/>
                <a:gd name="connsiteX73" fmla="*/ 382302 w 448663"/>
                <a:gd name="connsiteY73" fmla="*/ 336773 h 448662"/>
                <a:gd name="connsiteX74" fmla="*/ 363125 w 448663"/>
                <a:gd name="connsiteY74" fmla="*/ 317596 h 448662"/>
                <a:gd name="connsiteX75" fmla="*/ 361055 w 448663"/>
                <a:gd name="connsiteY75" fmla="*/ 309732 h 448662"/>
                <a:gd name="connsiteX76" fmla="*/ 361607 w 448663"/>
                <a:gd name="connsiteY76" fmla="*/ 308490 h 448662"/>
                <a:gd name="connsiteX77" fmla="*/ 381060 w 448663"/>
                <a:gd name="connsiteY77" fmla="*/ 261444 h 448662"/>
                <a:gd name="connsiteX78" fmla="*/ 387958 w 448663"/>
                <a:gd name="connsiteY78" fmla="*/ 256064 h 448662"/>
                <a:gd name="connsiteX79" fmla="*/ 415689 w 448663"/>
                <a:gd name="connsiteY79" fmla="*/ 256064 h 448662"/>
                <a:gd name="connsiteX80" fmla="*/ 434729 w 448663"/>
                <a:gd name="connsiteY80" fmla="*/ 237024 h 448662"/>
                <a:gd name="connsiteX81" fmla="*/ 434729 w 448663"/>
                <a:gd name="connsiteY81" fmla="*/ 211363 h 448662"/>
                <a:gd name="connsiteX82" fmla="*/ 415689 w 448663"/>
                <a:gd name="connsiteY82" fmla="*/ 192324 h 448662"/>
                <a:gd name="connsiteX83" fmla="*/ 387958 w 448663"/>
                <a:gd name="connsiteY83" fmla="*/ 192324 h 448662"/>
                <a:gd name="connsiteX84" fmla="*/ 381060 w 448663"/>
                <a:gd name="connsiteY84" fmla="*/ 186943 h 448662"/>
                <a:gd name="connsiteX85" fmla="*/ 361607 w 448663"/>
                <a:gd name="connsiteY85" fmla="*/ 139897 h 448662"/>
                <a:gd name="connsiteX86" fmla="*/ 362573 w 448663"/>
                <a:gd name="connsiteY86" fmla="*/ 131205 h 448662"/>
                <a:gd name="connsiteX87" fmla="*/ 382164 w 448663"/>
                <a:gd name="connsiteY87" fmla="*/ 111614 h 448662"/>
                <a:gd name="connsiteX88" fmla="*/ 382164 w 448663"/>
                <a:gd name="connsiteY88" fmla="*/ 84711 h 448662"/>
                <a:gd name="connsiteX89" fmla="*/ 363952 w 448663"/>
                <a:gd name="connsiteY89" fmla="*/ 66499 h 448662"/>
                <a:gd name="connsiteX90" fmla="*/ 350432 w 448663"/>
                <a:gd name="connsiteY90" fmla="*/ 60981 h 448662"/>
                <a:gd name="connsiteX91" fmla="*/ 336911 w 448663"/>
                <a:gd name="connsiteY91" fmla="*/ 66499 h 448662"/>
                <a:gd name="connsiteX92" fmla="*/ 317320 w 448663"/>
                <a:gd name="connsiteY92" fmla="*/ 86090 h 448662"/>
                <a:gd name="connsiteX93" fmla="*/ 312353 w 448663"/>
                <a:gd name="connsiteY93" fmla="*/ 88160 h 448662"/>
                <a:gd name="connsiteX94" fmla="*/ 308628 w 448663"/>
                <a:gd name="connsiteY94" fmla="*/ 87056 h 448662"/>
                <a:gd name="connsiteX95" fmla="*/ 261582 w 448663"/>
                <a:gd name="connsiteY95" fmla="*/ 67603 h 448662"/>
                <a:gd name="connsiteX96" fmla="*/ 256202 w 448663"/>
                <a:gd name="connsiteY96" fmla="*/ 60705 h 448662"/>
                <a:gd name="connsiteX97" fmla="*/ 256202 w 448663"/>
                <a:gd name="connsiteY97" fmla="*/ 32974 h 448662"/>
                <a:gd name="connsiteX98" fmla="*/ 237162 w 448663"/>
                <a:gd name="connsiteY98" fmla="*/ 13935 h 448662"/>
                <a:gd name="connsiteX99" fmla="*/ 211501 w 448663"/>
                <a:gd name="connsiteY99" fmla="*/ 13935 h 448662"/>
                <a:gd name="connsiteX100" fmla="*/ 192462 w 448663"/>
                <a:gd name="connsiteY100" fmla="*/ 32974 h 448662"/>
                <a:gd name="connsiteX101" fmla="*/ 192462 w 448663"/>
                <a:gd name="connsiteY101" fmla="*/ 60705 h 448662"/>
                <a:gd name="connsiteX102" fmla="*/ 186943 w 448663"/>
                <a:gd name="connsiteY102" fmla="*/ 67603 h 448662"/>
                <a:gd name="connsiteX103" fmla="*/ 139897 w 448663"/>
                <a:gd name="connsiteY103" fmla="*/ 87056 h 448662"/>
                <a:gd name="connsiteX104" fmla="*/ 136172 w 448663"/>
                <a:gd name="connsiteY104" fmla="*/ 88160 h 448662"/>
                <a:gd name="connsiteX105" fmla="*/ 131205 w 448663"/>
                <a:gd name="connsiteY105" fmla="*/ 86090 h 448662"/>
                <a:gd name="connsiteX106" fmla="*/ 111614 w 448663"/>
                <a:gd name="connsiteY106" fmla="*/ 66499 h 448662"/>
                <a:gd name="connsiteX107" fmla="*/ 98093 w 448663"/>
                <a:gd name="connsiteY107" fmla="*/ 60981 h 448662"/>
                <a:gd name="connsiteX108" fmla="*/ 84711 w 448663"/>
                <a:gd name="connsiteY108" fmla="*/ 66499 h 448662"/>
                <a:gd name="connsiteX109" fmla="*/ 66499 w 448663"/>
                <a:gd name="connsiteY109" fmla="*/ 84711 h 448662"/>
                <a:gd name="connsiteX110" fmla="*/ 60981 w 448663"/>
                <a:gd name="connsiteY110" fmla="*/ 98231 h 448662"/>
                <a:gd name="connsiteX111" fmla="*/ 66499 w 448663"/>
                <a:gd name="connsiteY111" fmla="*/ 111752 h 448662"/>
                <a:gd name="connsiteX112" fmla="*/ 86090 w 448663"/>
                <a:gd name="connsiteY112" fmla="*/ 131343 h 448662"/>
                <a:gd name="connsiteX113" fmla="*/ 87056 w 448663"/>
                <a:gd name="connsiteY113" fmla="*/ 140035 h 448662"/>
                <a:gd name="connsiteX114" fmla="*/ 67603 w 448663"/>
                <a:gd name="connsiteY114" fmla="*/ 187081 h 448662"/>
                <a:gd name="connsiteX115" fmla="*/ 60705 w 448663"/>
                <a:gd name="connsiteY115" fmla="*/ 192462 h 448662"/>
                <a:gd name="connsiteX116" fmla="*/ 33250 w 448663"/>
                <a:gd name="connsiteY116" fmla="*/ 192462 h 448662"/>
                <a:gd name="connsiteX117" fmla="*/ 14210 w 448663"/>
                <a:gd name="connsiteY117" fmla="*/ 211501 h 448662"/>
                <a:gd name="connsiteX118" fmla="*/ 14210 w 448663"/>
                <a:gd name="connsiteY118" fmla="*/ 237162 h 448662"/>
                <a:gd name="connsiteX119" fmla="*/ 33250 w 448663"/>
                <a:gd name="connsiteY119" fmla="*/ 256202 h 448662"/>
                <a:gd name="connsiteX120" fmla="*/ 60981 w 448663"/>
                <a:gd name="connsiteY120" fmla="*/ 256202 h 448662"/>
                <a:gd name="connsiteX121" fmla="*/ 67879 w 448663"/>
                <a:gd name="connsiteY121" fmla="*/ 261582 h 448662"/>
                <a:gd name="connsiteX122" fmla="*/ 87332 w 448663"/>
                <a:gd name="connsiteY122" fmla="*/ 308628 h 448662"/>
                <a:gd name="connsiteX123" fmla="*/ 85952 w 448663"/>
                <a:gd name="connsiteY123" fmla="*/ 317734 h 448662"/>
                <a:gd name="connsiteX124" fmla="*/ 66775 w 448663"/>
                <a:gd name="connsiteY124" fmla="*/ 336911 h 448662"/>
                <a:gd name="connsiteX125" fmla="*/ 61257 w 448663"/>
                <a:gd name="connsiteY125" fmla="*/ 350432 h 448662"/>
                <a:gd name="connsiteX126" fmla="*/ 66775 w 448663"/>
                <a:gd name="connsiteY126" fmla="*/ 363953 h 448662"/>
                <a:gd name="connsiteX127" fmla="*/ 84987 w 448663"/>
                <a:gd name="connsiteY127" fmla="*/ 382164 h 448662"/>
                <a:gd name="connsiteX128" fmla="*/ 98369 w 448663"/>
                <a:gd name="connsiteY128" fmla="*/ 387683 h 448662"/>
                <a:gd name="connsiteX129" fmla="*/ 111890 w 448663"/>
                <a:gd name="connsiteY129" fmla="*/ 382164 h 448662"/>
                <a:gd name="connsiteX130" fmla="*/ 131205 w 448663"/>
                <a:gd name="connsiteY130" fmla="*/ 362849 h 448662"/>
                <a:gd name="connsiteX131" fmla="*/ 136310 w 448663"/>
                <a:gd name="connsiteY131" fmla="*/ 360227 h 44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48663" h="448662">
                  <a:moveTo>
                    <a:pt x="211501" y="448663"/>
                  </a:moveTo>
                  <a:cubicBezTo>
                    <a:pt x="193151" y="448663"/>
                    <a:pt x="178251" y="433763"/>
                    <a:pt x="178251" y="415414"/>
                  </a:cubicBezTo>
                  <a:lnTo>
                    <a:pt x="178251" y="393477"/>
                  </a:lnTo>
                  <a:cubicBezTo>
                    <a:pt x="163903" y="389338"/>
                    <a:pt x="150244" y="383681"/>
                    <a:pt x="137551" y="376507"/>
                  </a:cubicBezTo>
                  <a:lnTo>
                    <a:pt x="121685" y="392098"/>
                  </a:lnTo>
                  <a:cubicBezTo>
                    <a:pt x="115477" y="398306"/>
                    <a:pt x="107061" y="401755"/>
                    <a:pt x="98231" y="401755"/>
                  </a:cubicBezTo>
                  <a:cubicBezTo>
                    <a:pt x="89402" y="401755"/>
                    <a:pt x="80986" y="398306"/>
                    <a:pt x="74777" y="392098"/>
                  </a:cubicBezTo>
                  <a:lnTo>
                    <a:pt x="56566" y="373886"/>
                  </a:lnTo>
                  <a:cubicBezTo>
                    <a:pt x="50357" y="367678"/>
                    <a:pt x="46770" y="359262"/>
                    <a:pt x="46770" y="350432"/>
                  </a:cubicBezTo>
                  <a:cubicBezTo>
                    <a:pt x="46770" y="341602"/>
                    <a:pt x="50219" y="333186"/>
                    <a:pt x="56566" y="326978"/>
                  </a:cubicBezTo>
                  <a:lnTo>
                    <a:pt x="72156" y="311388"/>
                  </a:lnTo>
                  <a:cubicBezTo>
                    <a:pt x="64982" y="298281"/>
                    <a:pt x="59325" y="284760"/>
                    <a:pt x="55462" y="270550"/>
                  </a:cubicBezTo>
                  <a:lnTo>
                    <a:pt x="33250" y="270412"/>
                  </a:lnTo>
                  <a:cubicBezTo>
                    <a:pt x="14900" y="270412"/>
                    <a:pt x="0" y="255512"/>
                    <a:pt x="0" y="237162"/>
                  </a:cubicBezTo>
                  <a:lnTo>
                    <a:pt x="0" y="211501"/>
                  </a:lnTo>
                  <a:cubicBezTo>
                    <a:pt x="0" y="193151"/>
                    <a:pt x="14900" y="178251"/>
                    <a:pt x="33250" y="178251"/>
                  </a:cubicBezTo>
                  <a:lnTo>
                    <a:pt x="55186" y="178251"/>
                  </a:lnTo>
                  <a:cubicBezTo>
                    <a:pt x="59325" y="163903"/>
                    <a:pt x="64982" y="150244"/>
                    <a:pt x="72156" y="137551"/>
                  </a:cubicBezTo>
                  <a:lnTo>
                    <a:pt x="56566" y="121685"/>
                  </a:lnTo>
                  <a:cubicBezTo>
                    <a:pt x="43597" y="108717"/>
                    <a:pt x="43597" y="87746"/>
                    <a:pt x="56566" y="74777"/>
                  </a:cubicBezTo>
                  <a:lnTo>
                    <a:pt x="74777" y="56566"/>
                  </a:lnTo>
                  <a:cubicBezTo>
                    <a:pt x="80986" y="50357"/>
                    <a:pt x="89402" y="46908"/>
                    <a:pt x="98231" y="46908"/>
                  </a:cubicBezTo>
                  <a:cubicBezTo>
                    <a:pt x="107061" y="46908"/>
                    <a:pt x="115477" y="50357"/>
                    <a:pt x="121685" y="56566"/>
                  </a:cubicBezTo>
                  <a:lnTo>
                    <a:pt x="137275" y="72156"/>
                  </a:lnTo>
                  <a:cubicBezTo>
                    <a:pt x="150382" y="64982"/>
                    <a:pt x="163903" y="59325"/>
                    <a:pt x="178113" y="55462"/>
                  </a:cubicBezTo>
                  <a:lnTo>
                    <a:pt x="178251" y="33250"/>
                  </a:lnTo>
                  <a:cubicBezTo>
                    <a:pt x="178251" y="14900"/>
                    <a:pt x="193151" y="0"/>
                    <a:pt x="211501" y="0"/>
                  </a:cubicBezTo>
                  <a:lnTo>
                    <a:pt x="237162" y="0"/>
                  </a:lnTo>
                  <a:cubicBezTo>
                    <a:pt x="255512" y="0"/>
                    <a:pt x="270412" y="14900"/>
                    <a:pt x="270412" y="33250"/>
                  </a:cubicBezTo>
                  <a:lnTo>
                    <a:pt x="270412" y="55186"/>
                  </a:lnTo>
                  <a:cubicBezTo>
                    <a:pt x="284760" y="59325"/>
                    <a:pt x="298419" y="64982"/>
                    <a:pt x="311112" y="72156"/>
                  </a:cubicBezTo>
                  <a:lnTo>
                    <a:pt x="326978" y="56566"/>
                  </a:lnTo>
                  <a:cubicBezTo>
                    <a:pt x="333186" y="50357"/>
                    <a:pt x="341602" y="46908"/>
                    <a:pt x="350432" y="46908"/>
                  </a:cubicBezTo>
                  <a:cubicBezTo>
                    <a:pt x="359262" y="46908"/>
                    <a:pt x="367678" y="50357"/>
                    <a:pt x="373886" y="56566"/>
                  </a:cubicBezTo>
                  <a:lnTo>
                    <a:pt x="392097" y="74777"/>
                  </a:lnTo>
                  <a:cubicBezTo>
                    <a:pt x="398306" y="80986"/>
                    <a:pt x="401755" y="89401"/>
                    <a:pt x="401755" y="98231"/>
                  </a:cubicBezTo>
                  <a:cubicBezTo>
                    <a:pt x="401755" y="107061"/>
                    <a:pt x="398306" y="115477"/>
                    <a:pt x="392097" y="121685"/>
                  </a:cubicBezTo>
                  <a:lnTo>
                    <a:pt x="376507" y="137275"/>
                  </a:lnTo>
                  <a:cubicBezTo>
                    <a:pt x="383681" y="150382"/>
                    <a:pt x="389338" y="163903"/>
                    <a:pt x="393201" y="178113"/>
                  </a:cubicBezTo>
                  <a:lnTo>
                    <a:pt x="415413" y="178251"/>
                  </a:lnTo>
                  <a:cubicBezTo>
                    <a:pt x="433763" y="178251"/>
                    <a:pt x="448663" y="193151"/>
                    <a:pt x="448663" y="211501"/>
                  </a:cubicBezTo>
                  <a:lnTo>
                    <a:pt x="448663" y="237162"/>
                  </a:lnTo>
                  <a:cubicBezTo>
                    <a:pt x="448663" y="255512"/>
                    <a:pt x="433763" y="270412"/>
                    <a:pt x="415413" y="270412"/>
                  </a:cubicBezTo>
                  <a:lnTo>
                    <a:pt x="393477" y="270412"/>
                  </a:lnTo>
                  <a:cubicBezTo>
                    <a:pt x="389338" y="284760"/>
                    <a:pt x="383681" y="298419"/>
                    <a:pt x="376507" y="311112"/>
                  </a:cubicBezTo>
                  <a:lnTo>
                    <a:pt x="392097" y="326978"/>
                  </a:lnTo>
                  <a:cubicBezTo>
                    <a:pt x="398306" y="333186"/>
                    <a:pt x="401755" y="341602"/>
                    <a:pt x="401755" y="350432"/>
                  </a:cubicBezTo>
                  <a:cubicBezTo>
                    <a:pt x="401755" y="359262"/>
                    <a:pt x="398306" y="367678"/>
                    <a:pt x="392097" y="373886"/>
                  </a:cubicBezTo>
                  <a:lnTo>
                    <a:pt x="373886" y="392098"/>
                  </a:lnTo>
                  <a:cubicBezTo>
                    <a:pt x="367678" y="398306"/>
                    <a:pt x="359262" y="401755"/>
                    <a:pt x="350432" y="401755"/>
                  </a:cubicBezTo>
                  <a:cubicBezTo>
                    <a:pt x="341602" y="401755"/>
                    <a:pt x="333186" y="398306"/>
                    <a:pt x="326978" y="392098"/>
                  </a:cubicBezTo>
                  <a:lnTo>
                    <a:pt x="311388" y="376507"/>
                  </a:lnTo>
                  <a:cubicBezTo>
                    <a:pt x="298281" y="383681"/>
                    <a:pt x="284760" y="389338"/>
                    <a:pt x="270550" y="393201"/>
                  </a:cubicBezTo>
                  <a:lnTo>
                    <a:pt x="270412" y="415414"/>
                  </a:lnTo>
                  <a:cubicBezTo>
                    <a:pt x="270412" y="433763"/>
                    <a:pt x="255512" y="448663"/>
                    <a:pt x="237162" y="448663"/>
                  </a:cubicBezTo>
                  <a:lnTo>
                    <a:pt x="211501" y="448663"/>
                  </a:lnTo>
                  <a:close/>
                  <a:moveTo>
                    <a:pt x="136310" y="360227"/>
                  </a:moveTo>
                  <a:cubicBezTo>
                    <a:pt x="137551" y="360227"/>
                    <a:pt x="138931" y="360641"/>
                    <a:pt x="140035" y="361331"/>
                  </a:cubicBezTo>
                  <a:cubicBezTo>
                    <a:pt x="154521" y="370299"/>
                    <a:pt x="170387" y="376783"/>
                    <a:pt x="187081" y="380784"/>
                  </a:cubicBezTo>
                  <a:cubicBezTo>
                    <a:pt x="190254" y="381474"/>
                    <a:pt x="192600" y="384372"/>
                    <a:pt x="192600" y="387683"/>
                  </a:cubicBezTo>
                  <a:lnTo>
                    <a:pt x="192600" y="415414"/>
                  </a:lnTo>
                  <a:cubicBezTo>
                    <a:pt x="192600" y="425899"/>
                    <a:pt x="201153" y="434453"/>
                    <a:pt x="211639" y="434453"/>
                  </a:cubicBezTo>
                  <a:lnTo>
                    <a:pt x="237300" y="434453"/>
                  </a:lnTo>
                  <a:cubicBezTo>
                    <a:pt x="247786" y="434453"/>
                    <a:pt x="256340" y="425899"/>
                    <a:pt x="256340" y="415414"/>
                  </a:cubicBezTo>
                  <a:lnTo>
                    <a:pt x="256340" y="387683"/>
                  </a:lnTo>
                  <a:cubicBezTo>
                    <a:pt x="256340" y="384372"/>
                    <a:pt x="258547" y="381612"/>
                    <a:pt x="261858" y="380784"/>
                  </a:cubicBezTo>
                  <a:cubicBezTo>
                    <a:pt x="278552" y="376783"/>
                    <a:pt x="294418" y="370299"/>
                    <a:pt x="308904" y="361331"/>
                  </a:cubicBezTo>
                  <a:cubicBezTo>
                    <a:pt x="310008" y="360641"/>
                    <a:pt x="311250" y="360227"/>
                    <a:pt x="312629" y="360227"/>
                  </a:cubicBezTo>
                  <a:cubicBezTo>
                    <a:pt x="314699" y="360227"/>
                    <a:pt x="316768" y="361193"/>
                    <a:pt x="318010" y="362711"/>
                  </a:cubicBezTo>
                  <a:lnTo>
                    <a:pt x="337187" y="381888"/>
                  </a:lnTo>
                  <a:cubicBezTo>
                    <a:pt x="340774" y="385475"/>
                    <a:pt x="345603" y="387407"/>
                    <a:pt x="350570" y="387407"/>
                  </a:cubicBezTo>
                  <a:cubicBezTo>
                    <a:pt x="355537" y="387407"/>
                    <a:pt x="360503" y="385475"/>
                    <a:pt x="364090" y="381888"/>
                  </a:cubicBezTo>
                  <a:lnTo>
                    <a:pt x="382302" y="363677"/>
                  </a:lnTo>
                  <a:cubicBezTo>
                    <a:pt x="389752" y="356226"/>
                    <a:pt x="389752" y="344223"/>
                    <a:pt x="382302" y="336773"/>
                  </a:cubicBezTo>
                  <a:lnTo>
                    <a:pt x="363125" y="317596"/>
                  </a:lnTo>
                  <a:cubicBezTo>
                    <a:pt x="360779" y="315665"/>
                    <a:pt x="359951" y="312492"/>
                    <a:pt x="361055" y="309732"/>
                  </a:cubicBezTo>
                  <a:cubicBezTo>
                    <a:pt x="361193" y="309318"/>
                    <a:pt x="361469" y="308904"/>
                    <a:pt x="361607" y="308490"/>
                  </a:cubicBezTo>
                  <a:cubicBezTo>
                    <a:pt x="370575" y="294004"/>
                    <a:pt x="377059" y="278138"/>
                    <a:pt x="381060" y="261444"/>
                  </a:cubicBezTo>
                  <a:cubicBezTo>
                    <a:pt x="381888" y="258271"/>
                    <a:pt x="384647" y="256064"/>
                    <a:pt x="387958" y="256064"/>
                  </a:cubicBezTo>
                  <a:lnTo>
                    <a:pt x="415689" y="256064"/>
                  </a:lnTo>
                  <a:cubicBezTo>
                    <a:pt x="426175" y="256064"/>
                    <a:pt x="434729" y="247510"/>
                    <a:pt x="434729" y="237024"/>
                  </a:cubicBezTo>
                  <a:lnTo>
                    <a:pt x="434729" y="211363"/>
                  </a:lnTo>
                  <a:cubicBezTo>
                    <a:pt x="434729" y="200877"/>
                    <a:pt x="426175" y="192324"/>
                    <a:pt x="415689" y="192324"/>
                  </a:cubicBezTo>
                  <a:lnTo>
                    <a:pt x="387958" y="192324"/>
                  </a:lnTo>
                  <a:cubicBezTo>
                    <a:pt x="384647" y="192324"/>
                    <a:pt x="381888" y="190116"/>
                    <a:pt x="381060" y="186943"/>
                  </a:cubicBezTo>
                  <a:cubicBezTo>
                    <a:pt x="377059" y="170249"/>
                    <a:pt x="370575" y="154521"/>
                    <a:pt x="361607" y="139897"/>
                  </a:cubicBezTo>
                  <a:cubicBezTo>
                    <a:pt x="359813" y="137138"/>
                    <a:pt x="360365" y="133551"/>
                    <a:pt x="362573" y="131205"/>
                  </a:cubicBezTo>
                  <a:lnTo>
                    <a:pt x="382164" y="111614"/>
                  </a:lnTo>
                  <a:cubicBezTo>
                    <a:pt x="389614" y="104164"/>
                    <a:pt x="389614" y="92161"/>
                    <a:pt x="382164" y="84711"/>
                  </a:cubicBezTo>
                  <a:lnTo>
                    <a:pt x="363952" y="66499"/>
                  </a:lnTo>
                  <a:cubicBezTo>
                    <a:pt x="360365" y="62912"/>
                    <a:pt x="355537" y="60981"/>
                    <a:pt x="350432" y="60981"/>
                  </a:cubicBezTo>
                  <a:cubicBezTo>
                    <a:pt x="345327" y="60981"/>
                    <a:pt x="340498" y="62912"/>
                    <a:pt x="336911" y="66499"/>
                  </a:cubicBezTo>
                  <a:lnTo>
                    <a:pt x="317320" y="86090"/>
                  </a:lnTo>
                  <a:cubicBezTo>
                    <a:pt x="315941" y="87470"/>
                    <a:pt x="314147" y="88160"/>
                    <a:pt x="312353" y="88160"/>
                  </a:cubicBezTo>
                  <a:cubicBezTo>
                    <a:pt x="310974" y="88160"/>
                    <a:pt x="309732" y="87746"/>
                    <a:pt x="308628" y="87056"/>
                  </a:cubicBezTo>
                  <a:cubicBezTo>
                    <a:pt x="294142" y="78088"/>
                    <a:pt x="278276" y="71604"/>
                    <a:pt x="261582" y="67603"/>
                  </a:cubicBezTo>
                  <a:cubicBezTo>
                    <a:pt x="258409" y="66775"/>
                    <a:pt x="256202" y="64016"/>
                    <a:pt x="256202" y="60705"/>
                  </a:cubicBezTo>
                  <a:lnTo>
                    <a:pt x="256202" y="32974"/>
                  </a:lnTo>
                  <a:cubicBezTo>
                    <a:pt x="256202" y="22488"/>
                    <a:pt x="247648" y="13935"/>
                    <a:pt x="237162" y="13935"/>
                  </a:cubicBezTo>
                  <a:lnTo>
                    <a:pt x="211501" y="13935"/>
                  </a:lnTo>
                  <a:cubicBezTo>
                    <a:pt x="201015" y="13935"/>
                    <a:pt x="192462" y="22488"/>
                    <a:pt x="192462" y="32974"/>
                  </a:cubicBezTo>
                  <a:lnTo>
                    <a:pt x="192462" y="60705"/>
                  </a:lnTo>
                  <a:cubicBezTo>
                    <a:pt x="192462" y="64016"/>
                    <a:pt x="190254" y="66775"/>
                    <a:pt x="186943" y="67603"/>
                  </a:cubicBezTo>
                  <a:cubicBezTo>
                    <a:pt x="170249" y="71604"/>
                    <a:pt x="154521" y="78088"/>
                    <a:pt x="139897" y="87056"/>
                  </a:cubicBezTo>
                  <a:cubicBezTo>
                    <a:pt x="138793" y="87746"/>
                    <a:pt x="137551" y="88160"/>
                    <a:pt x="136172" y="88160"/>
                  </a:cubicBezTo>
                  <a:cubicBezTo>
                    <a:pt x="134240" y="88160"/>
                    <a:pt x="132447" y="87470"/>
                    <a:pt x="131205" y="86090"/>
                  </a:cubicBezTo>
                  <a:lnTo>
                    <a:pt x="111614" y="66499"/>
                  </a:lnTo>
                  <a:cubicBezTo>
                    <a:pt x="108027" y="62912"/>
                    <a:pt x="103198" y="60981"/>
                    <a:pt x="98093" y="60981"/>
                  </a:cubicBezTo>
                  <a:cubicBezTo>
                    <a:pt x="92989" y="60981"/>
                    <a:pt x="88160" y="62912"/>
                    <a:pt x="84711" y="66499"/>
                  </a:cubicBezTo>
                  <a:lnTo>
                    <a:pt x="66499" y="84711"/>
                  </a:lnTo>
                  <a:cubicBezTo>
                    <a:pt x="62912" y="88298"/>
                    <a:pt x="60981" y="93127"/>
                    <a:pt x="60981" y="98231"/>
                  </a:cubicBezTo>
                  <a:cubicBezTo>
                    <a:pt x="60981" y="103336"/>
                    <a:pt x="62912" y="108165"/>
                    <a:pt x="66499" y="111752"/>
                  </a:cubicBezTo>
                  <a:lnTo>
                    <a:pt x="86090" y="131343"/>
                  </a:lnTo>
                  <a:cubicBezTo>
                    <a:pt x="88436" y="133688"/>
                    <a:pt x="88850" y="137275"/>
                    <a:pt x="87056" y="140035"/>
                  </a:cubicBezTo>
                  <a:cubicBezTo>
                    <a:pt x="78088" y="154521"/>
                    <a:pt x="71604" y="170387"/>
                    <a:pt x="67603" y="187081"/>
                  </a:cubicBezTo>
                  <a:cubicBezTo>
                    <a:pt x="66913" y="190254"/>
                    <a:pt x="64016" y="192462"/>
                    <a:pt x="60705" y="192462"/>
                  </a:cubicBezTo>
                  <a:lnTo>
                    <a:pt x="33250" y="192462"/>
                  </a:lnTo>
                  <a:cubicBezTo>
                    <a:pt x="22764" y="192462"/>
                    <a:pt x="14210" y="201016"/>
                    <a:pt x="14210" y="211501"/>
                  </a:cubicBezTo>
                  <a:lnTo>
                    <a:pt x="14210" y="237162"/>
                  </a:lnTo>
                  <a:cubicBezTo>
                    <a:pt x="14210" y="247648"/>
                    <a:pt x="22764" y="256202"/>
                    <a:pt x="33250" y="256202"/>
                  </a:cubicBezTo>
                  <a:lnTo>
                    <a:pt x="60981" y="256202"/>
                  </a:lnTo>
                  <a:cubicBezTo>
                    <a:pt x="64292" y="256202"/>
                    <a:pt x="67051" y="258409"/>
                    <a:pt x="67879" y="261582"/>
                  </a:cubicBezTo>
                  <a:cubicBezTo>
                    <a:pt x="71880" y="278276"/>
                    <a:pt x="78364" y="294142"/>
                    <a:pt x="87332" y="308628"/>
                  </a:cubicBezTo>
                  <a:cubicBezTo>
                    <a:pt x="89126" y="312077"/>
                    <a:pt x="88436" y="315665"/>
                    <a:pt x="85952" y="317734"/>
                  </a:cubicBezTo>
                  <a:lnTo>
                    <a:pt x="66775" y="336911"/>
                  </a:lnTo>
                  <a:cubicBezTo>
                    <a:pt x="63188" y="340498"/>
                    <a:pt x="61257" y="345327"/>
                    <a:pt x="61257" y="350432"/>
                  </a:cubicBezTo>
                  <a:cubicBezTo>
                    <a:pt x="61257" y="355537"/>
                    <a:pt x="63188" y="360227"/>
                    <a:pt x="66775" y="363953"/>
                  </a:cubicBezTo>
                  <a:lnTo>
                    <a:pt x="84987" y="382164"/>
                  </a:lnTo>
                  <a:cubicBezTo>
                    <a:pt x="88574" y="385751"/>
                    <a:pt x="93403" y="387683"/>
                    <a:pt x="98369" y="387683"/>
                  </a:cubicBezTo>
                  <a:cubicBezTo>
                    <a:pt x="103474" y="387683"/>
                    <a:pt x="108303" y="385751"/>
                    <a:pt x="111890" y="382164"/>
                  </a:cubicBezTo>
                  <a:lnTo>
                    <a:pt x="131205" y="362849"/>
                  </a:lnTo>
                  <a:cubicBezTo>
                    <a:pt x="132309" y="361193"/>
                    <a:pt x="134240" y="360227"/>
                    <a:pt x="136310" y="360227"/>
                  </a:cubicBezTo>
                  <a:close/>
                </a:path>
              </a:pathLst>
            </a:custGeom>
            <a:grpFill/>
            <a:ln w="3175" cap="flat">
              <a:solidFill>
                <a:schemeClr val="bg1"/>
              </a:solidFill>
              <a:prstDash val="solid"/>
              <a:miter/>
            </a:ln>
          </p:spPr>
          <p:txBody>
            <a:bodyPr rtlCol="0" anchor="ctr"/>
            <a:lstStyle/>
            <a:p>
              <a:endParaRPr lang="ru-RU"/>
            </a:p>
          </p:txBody>
        </p:sp>
      </p:grpSp>
      <p:grpSp>
        <p:nvGrpSpPr>
          <p:cNvPr id="132" name="Рисунок 61">
            <a:extLst>
              <a:ext uri="{FF2B5EF4-FFF2-40B4-BE49-F238E27FC236}">
                <a16:creationId xmlns:a16="http://schemas.microsoft.com/office/drawing/2014/main" id="{087BDC98-1A22-45C1-B2D5-A46959D8841D}"/>
              </a:ext>
            </a:extLst>
          </p:cNvPr>
          <p:cNvGrpSpPr/>
          <p:nvPr/>
        </p:nvGrpSpPr>
        <p:grpSpPr>
          <a:xfrm>
            <a:off x="9278475" y="2174400"/>
            <a:ext cx="229357" cy="247760"/>
            <a:chOff x="3531889" y="2924975"/>
            <a:chExt cx="401285" cy="433486"/>
          </a:xfrm>
          <a:solidFill>
            <a:schemeClr val="bg1"/>
          </a:solidFill>
          <a:effectLst>
            <a:outerShdw blurRad="63500" sx="102000" sy="102000" algn="ctr" rotWithShape="0">
              <a:prstClr val="black">
                <a:alpha val="40000"/>
              </a:prstClr>
            </a:outerShdw>
          </a:effectLst>
        </p:grpSpPr>
        <p:grpSp>
          <p:nvGrpSpPr>
            <p:cNvPr id="133" name="Рисунок 61">
              <a:extLst>
                <a:ext uri="{FF2B5EF4-FFF2-40B4-BE49-F238E27FC236}">
                  <a16:creationId xmlns:a16="http://schemas.microsoft.com/office/drawing/2014/main" id="{EF37D39A-EABB-4C7A-939E-EBA37D9D5C78}"/>
                </a:ext>
              </a:extLst>
            </p:cNvPr>
            <p:cNvGrpSpPr/>
            <p:nvPr/>
          </p:nvGrpSpPr>
          <p:grpSpPr>
            <a:xfrm>
              <a:off x="3627720" y="3023513"/>
              <a:ext cx="209872" cy="334948"/>
              <a:chOff x="3627720" y="3023513"/>
              <a:chExt cx="209872" cy="334948"/>
            </a:xfrm>
            <a:grpFill/>
          </p:grpSpPr>
          <p:sp>
            <p:nvSpPr>
              <p:cNvPr id="141" name="Полилиния: фигура 140">
                <a:extLst>
                  <a:ext uri="{FF2B5EF4-FFF2-40B4-BE49-F238E27FC236}">
                    <a16:creationId xmlns:a16="http://schemas.microsoft.com/office/drawing/2014/main" id="{018113EB-3FD5-47F9-B0BB-6A1D9A9C58FD}"/>
                  </a:ext>
                </a:extLst>
              </p:cNvPr>
              <p:cNvSpPr/>
              <p:nvPr/>
            </p:nvSpPr>
            <p:spPr>
              <a:xfrm>
                <a:off x="3627720" y="3023513"/>
                <a:ext cx="209872" cy="334948"/>
              </a:xfrm>
              <a:custGeom>
                <a:avLst/>
                <a:gdLst>
                  <a:gd name="connsiteX0" fmla="*/ 103088 w 209872"/>
                  <a:gd name="connsiteY0" fmla="*/ 334949 h 334948"/>
                  <a:gd name="connsiteX1" fmla="*/ 57973 w 209872"/>
                  <a:gd name="connsiteY1" fmla="*/ 291490 h 334948"/>
                  <a:gd name="connsiteX2" fmla="*/ 57835 w 209872"/>
                  <a:gd name="connsiteY2" fmla="*/ 286247 h 334948"/>
                  <a:gd name="connsiteX3" fmla="*/ 17549 w 209872"/>
                  <a:gd name="connsiteY3" fmla="*/ 162906 h 334948"/>
                  <a:gd name="connsiteX4" fmla="*/ 717 w 209872"/>
                  <a:gd name="connsiteY4" fmla="*/ 92958 h 334948"/>
                  <a:gd name="connsiteX5" fmla="*/ 93016 w 209872"/>
                  <a:gd name="connsiteY5" fmla="*/ 659 h 334948"/>
                  <a:gd name="connsiteX6" fmla="*/ 174968 w 209872"/>
                  <a:gd name="connsiteY6" fmla="*/ 26734 h 334948"/>
                  <a:gd name="connsiteX7" fmla="*/ 209873 w 209872"/>
                  <a:gd name="connsiteY7" fmla="*/ 104961 h 334948"/>
                  <a:gd name="connsiteX8" fmla="*/ 191109 w 209872"/>
                  <a:gd name="connsiteY8" fmla="*/ 164838 h 334948"/>
                  <a:gd name="connsiteX9" fmla="*/ 148340 w 209872"/>
                  <a:gd name="connsiteY9" fmla="*/ 291628 h 334948"/>
                  <a:gd name="connsiteX10" fmla="*/ 103088 w 209872"/>
                  <a:gd name="connsiteY10" fmla="*/ 334949 h 334948"/>
                  <a:gd name="connsiteX11" fmla="*/ 104881 w 209872"/>
                  <a:gd name="connsiteY11" fmla="*/ 14179 h 334948"/>
                  <a:gd name="connsiteX12" fmla="*/ 94396 w 209872"/>
                  <a:gd name="connsiteY12" fmla="*/ 14731 h 334948"/>
                  <a:gd name="connsiteX13" fmla="*/ 14652 w 209872"/>
                  <a:gd name="connsiteY13" fmla="*/ 94475 h 334948"/>
                  <a:gd name="connsiteX14" fmla="*/ 29276 w 209872"/>
                  <a:gd name="connsiteY14" fmla="*/ 155042 h 334948"/>
                  <a:gd name="connsiteX15" fmla="*/ 72045 w 209872"/>
                  <a:gd name="connsiteY15" fmla="*/ 285695 h 334948"/>
                  <a:gd name="connsiteX16" fmla="*/ 72183 w 209872"/>
                  <a:gd name="connsiteY16" fmla="*/ 290938 h 334948"/>
                  <a:gd name="connsiteX17" fmla="*/ 103088 w 209872"/>
                  <a:gd name="connsiteY17" fmla="*/ 320738 h 334948"/>
                  <a:gd name="connsiteX18" fmla="*/ 133992 w 209872"/>
                  <a:gd name="connsiteY18" fmla="*/ 290938 h 334948"/>
                  <a:gd name="connsiteX19" fmla="*/ 179244 w 209872"/>
                  <a:gd name="connsiteY19" fmla="*/ 156560 h 334948"/>
                  <a:gd name="connsiteX20" fmla="*/ 195524 w 209872"/>
                  <a:gd name="connsiteY20" fmla="*/ 104823 h 334948"/>
                  <a:gd name="connsiteX21" fmla="*/ 165310 w 209872"/>
                  <a:gd name="connsiteY21" fmla="*/ 37220 h 334948"/>
                  <a:gd name="connsiteX22" fmla="*/ 104881 w 209872"/>
                  <a:gd name="connsiteY22" fmla="*/ 14179 h 33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9872" h="334948">
                    <a:moveTo>
                      <a:pt x="103088" y="334949"/>
                    </a:moveTo>
                    <a:cubicBezTo>
                      <a:pt x="78668" y="334949"/>
                      <a:pt x="58939" y="315909"/>
                      <a:pt x="57973" y="291490"/>
                    </a:cubicBezTo>
                    <a:lnTo>
                      <a:pt x="57835" y="286247"/>
                    </a:lnTo>
                    <a:cubicBezTo>
                      <a:pt x="56317" y="242788"/>
                      <a:pt x="42383" y="200157"/>
                      <a:pt x="17549" y="162906"/>
                    </a:cubicBezTo>
                    <a:cubicBezTo>
                      <a:pt x="3753" y="142211"/>
                      <a:pt x="-2180" y="117929"/>
                      <a:pt x="717" y="92958"/>
                    </a:cubicBezTo>
                    <a:cubicBezTo>
                      <a:pt x="6098" y="44808"/>
                      <a:pt x="44866" y="6039"/>
                      <a:pt x="93016" y="659"/>
                    </a:cubicBezTo>
                    <a:cubicBezTo>
                      <a:pt x="123368" y="-2652"/>
                      <a:pt x="152341" y="6591"/>
                      <a:pt x="174968" y="26734"/>
                    </a:cubicBezTo>
                    <a:cubicBezTo>
                      <a:pt x="197180" y="46601"/>
                      <a:pt x="209873" y="75160"/>
                      <a:pt x="209873" y="104961"/>
                    </a:cubicBezTo>
                    <a:cubicBezTo>
                      <a:pt x="209873" y="126483"/>
                      <a:pt x="203388" y="147178"/>
                      <a:pt x="191109" y="164838"/>
                    </a:cubicBezTo>
                    <a:cubicBezTo>
                      <a:pt x="164758" y="202640"/>
                      <a:pt x="149996" y="246513"/>
                      <a:pt x="148340" y="291628"/>
                    </a:cubicBezTo>
                    <a:cubicBezTo>
                      <a:pt x="147237" y="315909"/>
                      <a:pt x="127507" y="334949"/>
                      <a:pt x="103088" y="334949"/>
                    </a:cubicBezTo>
                    <a:close/>
                    <a:moveTo>
                      <a:pt x="104881" y="14179"/>
                    </a:moveTo>
                    <a:cubicBezTo>
                      <a:pt x="101432" y="14179"/>
                      <a:pt x="97845" y="14317"/>
                      <a:pt x="94396" y="14731"/>
                    </a:cubicBezTo>
                    <a:cubicBezTo>
                      <a:pt x="52868" y="19284"/>
                      <a:pt x="19343" y="52810"/>
                      <a:pt x="14652" y="94475"/>
                    </a:cubicBezTo>
                    <a:cubicBezTo>
                      <a:pt x="12307" y="116136"/>
                      <a:pt x="17273" y="137106"/>
                      <a:pt x="29276" y="155042"/>
                    </a:cubicBezTo>
                    <a:cubicBezTo>
                      <a:pt x="55628" y="194500"/>
                      <a:pt x="70390" y="239615"/>
                      <a:pt x="72045" y="285695"/>
                    </a:cubicBezTo>
                    <a:lnTo>
                      <a:pt x="72183" y="290938"/>
                    </a:lnTo>
                    <a:cubicBezTo>
                      <a:pt x="72735" y="307632"/>
                      <a:pt x="86394" y="320738"/>
                      <a:pt x="103088" y="320738"/>
                    </a:cubicBezTo>
                    <a:cubicBezTo>
                      <a:pt x="119781" y="320738"/>
                      <a:pt x="133440" y="307632"/>
                      <a:pt x="133992" y="290938"/>
                    </a:cubicBezTo>
                    <a:cubicBezTo>
                      <a:pt x="135647" y="243064"/>
                      <a:pt x="151375" y="196569"/>
                      <a:pt x="179244" y="156560"/>
                    </a:cubicBezTo>
                    <a:cubicBezTo>
                      <a:pt x="189868" y="141383"/>
                      <a:pt x="195524" y="123448"/>
                      <a:pt x="195524" y="104823"/>
                    </a:cubicBezTo>
                    <a:cubicBezTo>
                      <a:pt x="195524" y="79023"/>
                      <a:pt x="184487" y="54465"/>
                      <a:pt x="165310" y="37220"/>
                    </a:cubicBezTo>
                    <a:cubicBezTo>
                      <a:pt x="148478" y="22181"/>
                      <a:pt x="127370" y="14179"/>
                      <a:pt x="104881" y="14179"/>
                    </a:cubicBezTo>
                    <a:close/>
                  </a:path>
                </a:pathLst>
              </a:custGeom>
              <a:grpFill/>
              <a:ln w="3175" cap="flat">
                <a:solidFill>
                  <a:schemeClr val="bg1"/>
                </a:solidFill>
                <a:prstDash val="solid"/>
                <a:miter/>
              </a:ln>
            </p:spPr>
            <p:txBody>
              <a:bodyPr rtlCol="0" anchor="ctr"/>
              <a:lstStyle/>
              <a:p>
                <a:endParaRPr lang="ru-RU"/>
              </a:p>
            </p:txBody>
          </p:sp>
          <p:sp>
            <p:nvSpPr>
              <p:cNvPr id="142" name="Полилиния: фигура 141">
                <a:extLst>
                  <a:ext uri="{FF2B5EF4-FFF2-40B4-BE49-F238E27FC236}">
                    <a16:creationId xmlns:a16="http://schemas.microsoft.com/office/drawing/2014/main" id="{26DC60F9-BD62-4DE3-A3A9-832C9F43D0B7}"/>
                  </a:ext>
                </a:extLst>
              </p:cNvPr>
              <p:cNvSpPr/>
              <p:nvPr/>
            </p:nvSpPr>
            <p:spPr>
              <a:xfrm>
                <a:off x="3683782" y="3258871"/>
                <a:ext cx="95568" cy="23433"/>
              </a:xfrm>
              <a:custGeom>
                <a:avLst/>
                <a:gdLst>
                  <a:gd name="connsiteX0" fmla="*/ 47302 w 95568"/>
                  <a:gd name="connsiteY0" fmla="*/ 23434 h 23433"/>
                  <a:gd name="connsiteX1" fmla="*/ 3567 w 95568"/>
                  <a:gd name="connsiteY1" fmla="*/ 13224 h 23433"/>
                  <a:gd name="connsiteX2" fmla="*/ 945 w 95568"/>
                  <a:gd name="connsiteY2" fmla="*/ 3567 h 23433"/>
                  <a:gd name="connsiteX3" fmla="*/ 10603 w 95568"/>
                  <a:gd name="connsiteY3" fmla="*/ 945 h 23433"/>
                  <a:gd name="connsiteX4" fmla="*/ 10603 w 95568"/>
                  <a:gd name="connsiteY4" fmla="*/ 945 h 23433"/>
                  <a:gd name="connsiteX5" fmla="*/ 85518 w 95568"/>
                  <a:gd name="connsiteY5" fmla="*/ 669 h 23433"/>
                  <a:gd name="connsiteX6" fmla="*/ 94900 w 95568"/>
                  <a:gd name="connsiteY6" fmla="*/ 4119 h 23433"/>
                  <a:gd name="connsiteX7" fmla="*/ 91451 w 95568"/>
                  <a:gd name="connsiteY7" fmla="*/ 13500 h 23433"/>
                  <a:gd name="connsiteX8" fmla="*/ 47302 w 95568"/>
                  <a:gd name="connsiteY8" fmla="*/ 23434 h 23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68" h="23433">
                    <a:moveTo>
                      <a:pt x="47302" y="23434"/>
                    </a:moveTo>
                    <a:cubicBezTo>
                      <a:pt x="21916" y="23434"/>
                      <a:pt x="4670" y="13776"/>
                      <a:pt x="3567" y="13224"/>
                    </a:cubicBezTo>
                    <a:cubicBezTo>
                      <a:pt x="118" y="11293"/>
                      <a:pt x="-986" y="7016"/>
                      <a:pt x="945" y="3567"/>
                    </a:cubicBezTo>
                    <a:cubicBezTo>
                      <a:pt x="2877" y="118"/>
                      <a:pt x="7154" y="-986"/>
                      <a:pt x="10603" y="945"/>
                    </a:cubicBezTo>
                    <a:lnTo>
                      <a:pt x="10603" y="945"/>
                    </a:lnTo>
                    <a:cubicBezTo>
                      <a:pt x="11983" y="1773"/>
                      <a:pt x="44405" y="19571"/>
                      <a:pt x="85518" y="669"/>
                    </a:cubicBezTo>
                    <a:cubicBezTo>
                      <a:pt x="89105" y="-986"/>
                      <a:pt x="93244" y="531"/>
                      <a:pt x="94900" y="4119"/>
                    </a:cubicBezTo>
                    <a:cubicBezTo>
                      <a:pt x="96555" y="7706"/>
                      <a:pt x="95038" y="11845"/>
                      <a:pt x="91451" y="13500"/>
                    </a:cubicBezTo>
                    <a:cubicBezTo>
                      <a:pt x="75309" y="20950"/>
                      <a:pt x="60270" y="23434"/>
                      <a:pt x="47302" y="23434"/>
                    </a:cubicBezTo>
                    <a:close/>
                  </a:path>
                </a:pathLst>
              </a:custGeom>
              <a:grpFill/>
              <a:ln w="3175" cap="flat">
                <a:solidFill>
                  <a:schemeClr val="bg1"/>
                </a:solidFill>
                <a:prstDash val="solid"/>
                <a:miter/>
              </a:ln>
            </p:spPr>
            <p:txBody>
              <a:bodyPr rtlCol="0" anchor="ctr"/>
              <a:lstStyle/>
              <a:p>
                <a:endParaRPr lang="ru-RU"/>
              </a:p>
            </p:txBody>
          </p:sp>
        </p:grpSp>
        <p:sp>
          <p:nvSpPr>
            <p:cNvPr id="134" name="Полилиния: фигура 133">
              <a:extLst>
                <a:ext uri="{FF2B5EF4-FFF2-40B4-BE49-F238E27FC236}">
                  <a16:creationId xmlns:a16="http://schemas.microsoft.com/office/drawing/2014/main" id="{48B9FE94-20D2-4EE1-B375-E0D1E2CEFAAD}"/>
                </a:ext>
              </a:extLst>
            </p:cNvPr>
            <p:cNvSpPr/>
            <p:nvPr/>
          </p:nvSpPr>
          <p:spPr>
            <a:xfrm>
              <a:off x="3725565" y="2924975"/>
              <a:ext cx="14072" cy="70638"/>
            </a:xfrm>
            <a:custGeom>
              <a:avLst/>
              <a:gdLst>
                <a:gd name="connsiteX0" fmla="*/ 7036 w 14072"/>
                <a:gd name="connsiteY0" fmla="*/ 70638 h 70638"/>
                <a:gd name="connsiteX1" fmla="*/ 0 w 14072"/>
                <a:gd name="connsiteY1" fmla="*/ 63602 h 70638"/>
                <a:gd name="connsiteX2" fmla="*/ 0 w 14072"/>
                <a:gd name="connsiteY2" fmla="*/ 7036 h 70638"/>
                <a:gd name="connsiteX3" fmla="*/ 7036 w 14072"/>
                <a:gd name="connsiteY3" fmla="*/ 0 h 70638"/>
                <a:gd name="connsiteX4" fmla="*/ 14072 w 14072"/>
                <a:gd name="connsiteY4" fmla="*/ 7036 h 70638"/>
                <a:gd name="connsiteX5" fmla="*/ 14072 w 14072"/>
                <a:gd name="connsiteY5" fmla="*/ 63602 h 70638"/>
                <a:gd name="connsiteX6" fmla="*/ 7036 w 14072"/>
                <a:gd name="connsiteY6" fmla="*/ 70638 h 7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2" h="70638">
                  <a:moveTo>
                    <a:pt x="7036" y="70638"/>
                  </a:moveTo>
                  <a:cubicBezTo>
                    <a:pt x="3173" y="70638"/>
                    <a:pt x="0" y="67465"/>
                    <a:pt x="0" y="63602"/>
                  </a:cubicBezTo>
                  <a:lnTo>
                    <a:pt x="0" y="7036"/>
                  </a:lnTo>
                  <a:cubicBezTo>
                    <a:pt x="0" y="3173"/>
                    <a:pt x="3173" y="0"/>
                    <a:pt x="7036" y="0"/>
                  </a:cubicBezTo>
                  <a:cubicBezTo>
                    <a:pt x="10899" y="0"/>
                    <a:pt x="14072" y="3173"/>
                    <a:pt x="14072" y="7036"/>
                  </a:cubicBezTo>
                  <a:lnTo>
                    <a:pt x="14072" y="63602"/>
                  </a:lnTo>
                  <a:cubicBezTo>
                    <a:pt x="14072" y="67465"/>
                    <a:pt x="10899" y="70638"/>
                    <a:pt x="7036" y="70638"/>
                  </a:cubicBezTo>
                  <a:close/>
                </a:path>
              </a:pathLst>
            </a:custGeom>
            <a:grpFill/>
            <a:ln w="3175" cap="flat">
              <a:solidFill>
                <a:schemeClr val="bg1"/>
              </a:solidFill>
              <a:prstDash val="solid"/>
              <a:miter/>
            </a:ln>
          </p:spPr>
          <p:txBody>
            <a:bodyPr rtlCol="0" anchor="ctr"/>
            <a:lstStyle/>
            <a:p>
              <a:endParaRPr lang="ru-RU"/>
            </a:p>
          </p:txBody>
        </p:sp>
        <p:sp>
          <p:nvSpPr>
            <p:cNvPr id="135" name="Полилиния: фигура 134">
              <a:extLst>
                <a:ext uri="{FF2B5EF4-FFF2-40B4-BE49-F238E27FC236}">
                  <a16:creationId xmlns:a16="http://schemas.microsoft.com/office/drawing/2014/main" id="{F50E98B5-A9D8-458F-B430-245B1CDE0533}"/>
                </a:ext>
              </a:extLst>
            </p:cNvPr>
            <p:cNvSpPr/>
            <p:nvPr/>
          </p:nvSpPr>
          <p:spPr>
            <a:xfrm>
              <a:off x="3599214" y="2970942"/>
              <a:ext cx="50445" cy="57368"/>
            </a:xfrm>
            <a:custGeom>
              <a:avLst/>
              <a:gdLst>
                <a:gd name="connsiteX0" fmla="*/ 43434 w 50445"/>
                <a:gd name="connsiteY0" fmla="*/ 57369 h 57368"/>
                <a:gd name="connsiteX1" fmla="*/ 38053 w 50445"/>
                <a:gd name="connsiteY1" fmla="*/ 54885 h 57368"/>
                <a:gd name="connsiteX2" fmla="*/ 1631 w 50445"/>
                <a:gd name="connsiteY2" fmla="*/ 11564 h 57368"/>
                <a:gd name="connsiteX3" fmla="*/ 2458 w 50445"/>
                <a:gd name="connsiteY3" fmla="*/ 1631 h 57368"/>
                <a:gd name="connsiteX4" fmla="*/ 12392 w 50445"/>
                <a:gd name="connsiteY4" fmla="*/ 2458 h 57368"/>
                <a:gd name="connsiteX5" fmla="*/ 48815 w 50445"/>
                <a:gd name="connsiteY5" fmla="*/ 45779 h 57368"/>
                <a:gd name="connsiteX6" fmla="*/ 47987 w 50445"/>
                <a:gd name="connsiteY6" fmla="*/ 55713 h 57368"/>
                <a:gd name="connsiteX7" fmla="*/ 43434 w 50445"/>
                <a:gd name="connsiteY7" fmla="*/ 57369 h 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45" h="57368">
                  <a:moveTo>
                    <a:pt x="43434" y="57369"/>
                  </a:moveTo>
                  <a:cubicBezTo>
                    <a:pt x="41365" y="57369"/>
                    <a:pt x="39433" y="56541"/>
                    <a:pt x="38053" y="54885"/>
                  </a:cubicBezTo>
                  <a:lnTo>
                    <a:pt x="1631" y="11564"/>
                  </a:lnTo>
                  <a:cubicBezTo>
                    <a:pt x="-853" y="8529"/>
                    <a:pt x="-439" y="4114"/>
                    <a:pt x="2458" y="1631"/>
                  </a:cubicBezTo>
                  <a:cubicBezTo>
                    <a:pt x="5494" y="-853"/>
                    <a:pt x="9909" y="-439"/>
                    <a:pt x="12392" y="2458"/>
                  </a:cubicBezTo>
                  <a:lnTo>
                    <a:pt x="48815" y="45779"/>
                  </a:lnTo>
                  <a:cubicBezTo>
                    <a:pt x="51298" y="48815"/>
                    <a:pt x="50884" y="53230"/>
                    <a:pt x="47987" y="55713"/>
                  </a:cubicBezTo>
                  <a:cubicBezTo>
                    <a:pt x="46607" y="56817"/>
                    <a:pt x="45090" y="57369"/>
                    <a:pt x="43434" y="57369"/>
                  </a:cubicBezTo>
                  <a:close/>
                </a:path>
              </a:pathLst>
            </a:custGeom>
            <a:grpFill/>
            <a:ln w="3175" cap="flat">
              <a:solidFill>
                <a:schemeClr val="bg1"/>
              </a:solidFill>
              <a:prstDash val="solid"/>
              <a:miter/>
            </a:ln>
          </p:spPr>
          <p:txBody>
            <a:bodyPr rtlCol="0" anchor="ctr"/>
            <a:lstStyle/>
            <a:p>
              <a:endParaRPr lang="ru-RU"/>
            </a:p>
          </p:txBody>
        </p:sp>
        <p:sp>
          <p:nvSpPr>
            <p:cNvPr id="136" name="Полилиния: фигура 135">
              <a:extLst>
                <a:ext uri="{FF2B5EF4-FFF2-40B4-BE49-F238E27FC236}">
                  <a16:creationId xmlns:a16="http://schemas.microsoft.com/office/drawing/2014/main" id="{0D6E3797-A4A1-4BB1-A19F-8C094EBD364A}"/>
                </a:ext>
              </a:extLst>
            </p:cNvPr>
            <p:cNvSpPr/>
            <p:nvPr/>
          </p:nvSpPr>
          <p:spPr>
            <a:xfrm>
              <a:off x="3531889" y="3086974"/>
              <a:ext cx="70030" cy="24116"/>
            </a:xfrm>
            <a:custGeom>
              <a:avLst/>
              <a:gdLst>
                <a:gd name="connsiteX0" fmla="*/ 62884 w 70030"/>
                <a:gd name="connsiteY0" fmla="*/ 24116 h 24116"/>
                <a:gd name="connsiteX1" fmla="*/ 61643 w 70030"/>
                <a:gd name="connsiteY1" fmla="*/ 23978 h 24116"/>
                <a:gd name="connsiteX2" fmla="*/ 5905 w 70030"/>
                <a:gd name="connsiteY2" fmla="*/ 14183 h 24116"/>
                <a:gd name="connsiteX3" fmla="*/ 110 w 70030"/>
                <a:gd name="connsiteY3" fmla="*/ 5905 h 24116"/>
                <a:gd name="connsiteX4" fmla="*/ 8388 w 70030"/>
                <a:gd name="connsiteY4" fmla="*/ 110 h 24116"/>
                <a:gd name="connsiteX5" fmla="*/ 64126 w 70030"/>
                <a:gd name="connsiteY5" fmla="*/ 9906 h 24116"/>
                <a:gd name="connsiteX6" fmla="*/ 69921 w 70030"/>
                <a:gd name="connsiteY6" fmla="*/ 18184 h 24116"/>
                <a:gd name="connsiteX7" fmla="*/ 62884 w 70030"/>
                <a:gd name="connsiteY7" fmla="*/ 24116 h 2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0" h="24116">
                  <a:moveTo>
                    <a:pt x="62884" y="24116"/>
                  </a:moveTo>
                  <a:cubicBezTo>
                    <a:pt x="62470" y="24116"/>
                    <a:pt x="62057" y="24116"/>
                    <a:pt x="61643" y="23978"/>
                  </a:cubicBezTo>
                  <a:lnTo>
                    <a:pt x="5905" y="14183"/>
                  </a:lnTo>
                  <a:cubicBezTo>
                    <a:pt x="2042" y="13493"/>
                    <a:pt x="-580" y="9768"/>
                    <a:pt x="110" y="5905"/>
                  </a:cubicBezTo>
                  <a:cubicBezTo>
                    <a:pt x="800" y="2042"/>
                    <a:pt x="4525" y="-580"/>
                    <a:pt x="8388" y="110"/>
                  </a:cubicBezTo>
                  <a:lnTo>
                    <a:pt x="64126" y="9906"/>
                  </a:lnTo>
                  <a:cubicBezTo>
                    <a:pt x="67989" y="10596"/>
                    <a:pt x="70611" y="14321"/>
                    <a:pt x="69921" y="18184"/>
                  </a:cubicBezTo>
                  <a:cubicBezTo>
                    <a:pt x="69231" y="21771"/>
                    <a:pt x="66333" y="24116"/>
                    <a:pt x="62884" y="24116"/>
                  </a:cubicBezTo>
                  <a:close/>
                </a:path>
              </a:pathLst>
            </a:custGeom>
            <a:grpFill/>
            <a:ln w="3175" cap="flat">
              <a:solidFill>
                <a:schemeClr val="bg1"/>
              </a:solidFill>
              <a:prstDash val="solid"/>
              <a:miter/>
            </a:ln>
          </p:spPr>
          <p:txBody>
            <a:bodyPr rtlCol="0" anchor="ctr"/>
            <a:lstStyle/>
            <a:p>
              <a:endParaRPr lang="ru-RU"/>
            </a:p>
          </p:txBody>
        </p:sp>
        <p:sp>
          <p:nvSpPr>
            <p:cNvPr id="137" name="Полилиния: фигура 136">
              <a:extLst>
                <a:ext uri="{FF2B5EF4-FFF2-40B4-BE49-F238E27FC236}">
                  <a16:creationId xmlns:a16="http://schemas.microsoft.com/office/drawing/2014/main" id="{BDFC72EB-556A-4FA6-B709-EF92CE56DF85}"/>
                </a:ext>
              </a:extLst>
            </p:cNvPr>
            <p:cNvSpPr/>
            <p:nvPr/>
          </p:nvSpPr>
          <p:spPr>
            <a:xfrm>
              <a:off x="3555198" y="3191268"/>
              <a:ext cx="63147" cy="42472"/>
            </a:xfrm>
            <a:custGeom>
              <a:avLst/>
              <a:gdLst>
                <a:gd name="connsiteX0" fmla="*/ 7154 w 63147"/>
                <a:gd name="connsiteY0" fmla="*/ 42473 h 42472"/>
                <a:gd name="connsiteX1" fmla="*/ 945 w 63147"/>
                <a:gd name="connsiteY1" fmla="*/ 38886 h 42472"/>
                <a:gd name="connsiteX2" fmla="*/ 3567 w 63147"/>
                <a:gd name="connsiteY2" fmla="*/ 29228 h 42472"/>
                <a:gd name="connsiteX3" fmla="*/ 52544 w 63147"/>
                <a:gd name="connsiteY3" fmla="*/ 945 h 42472"/>
                <a:gd name="connsiteX4" fmla="*/ 62202 w 63147"/>
                <a:gd name="connsiteY4" fmla="*/ 3567 h 42472"/>
                <a:gd name="connsiteX5" fmla="*/ 59581 w 63147"/>
                <a:gd name="connsiteY5" fmla="*/ 13224 h 42472"/>
                <a:gd name="connsiteX6" fmla="*/ 10603 w 63147"/>
                <a:gd name="connsiteY6" fmla="*/ 41507 h 42472"/>
                <a:gd name="connsiteX7" fmla="*/ 7154 w 63147"/>
                <a:gd name="connsiteY7" fmla="*/ 42473 h 4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7" h="42472">
                  <a:moveTo>
                    <a:pt x="7154" y="42473"/>
                  </a:moveTo>
                  <a:cubicBezTo>
                    <a:pt x="4670" y="42473"/>
                    <a:pt x="2325" y="41231"/>
                    <a:pt x="945" y="38886"/>
                  </a:cubicBezTo>
                  <a:cubicBezTo>
                    <a:pt x="-986" y="35437"/>
                    <a:pt x="118" y="31160"/>
                    <a:pt x="3567" y="29228"/>
                  </a:cubicBezTo>
                  <a:lnTo>
                    <a:pt x="52544" y="945"/>
                  </a:lnTo>
                  <a:cubicBezTo>
                    <a:pt x="55993" y="-986"/>
                    <a:pt x="60270" y="118"/>
                    <a:pt x="62202" y="3567"/>
                  </a:cubicBezTo>
                  <a:cubicBezTo>
                    <a:pt x="64133" y="7016"/>
                    <a:pt x="63030" y="11293"/>
                    <a:pt x="59581" y="13224"/>
                  </a:cubicBezTo>
                  <a:lnTo>
                    <a:pt x="10603" y="41507"/>
                  </a:lnTo>
                  <a:cubicBezTo>
                    <a:pt x="9637" y="42059"/>
                    <a:pt x="8395" y="42473"/>
                    <a:pt x="7154" y="42473"/>
                  </a:cubicBezTo>
                  <a:close/>
                </a:path>
              </a:pathLst>
            </a:custGeom>
            <a:grpFill/>
            <a:ln w="3175" cap="flat">
              <a:solidFill>
                <a:schemeClr val="bg1"/>
              </a:solidFill>
              <a:prstDash val="solid"/>
              <a:miter/>
            </a:ln>
          </p:spPr>
          <p:txBody>
            <a:bodyPr rtlCol="0" anchor="ctr"/>
            <a:lstStyle/>
            <a:p>
              <a:endParaRPr lang="ru-RU"/>
            </a:p>
          </p:txBody>
        </p:sp>
        <p:sp>
          <p:nvSpPr>
            <p:cNvPr id="138" name="Полилиния: фигура 137">
              <a:extLst>
                <a:ext uri="{FF2B5EF4-FFF2-40B4-BE49-F238E27FC236}">
                  <a16:creationId xmlns:a16="http://schemas.microsoft.com/office/drawing/2014/main" id="{2391D201-1F13-4BD7-A645-BB6601E81A60}"/>
                </a:ext>
              </a:extLst>
            </p:cNvPr>
            <p:cNvSpPr/>
            <p:nvPr/>
          </p:nvSpPr>
          <p:spPr>
            <a:xfrm>
              <a:off x="3846581" y="3191268"/>
              <a:ext cx="63147" cy="42472"/>
            </a:xfrm>
            <a:custGeom>
              <a:avLst/>
              <a:gdLst>
                <a:gd name="connsiteX0" fmla="*/ 56131 w 63147"/>
                <a:gd name="connsiteY0" fmla="*/ 42473 h 42472"/>
                <a:gd name="connsiteX1" fmla="*/ 52544 w 63147"/>
                <a:gd name="connsiteY1" fmla="*/ 41507 h 42472"/>
                <a:gd name="connsiteX2" fmla="*/ 3567 w 63147"/>
                <a:gd name="connsiteY2" fmla="*/ 13224 h 42472"/>
                <a:gd name="connsiteX3" fmla="*/ 945 w 63147"/>
                <a:gd name="connsiteY3" fmla="*/ 3567 h 42472"/>
                <a:gd name="connsiteX4" fmla="*/ 10603 w 63147"/>
                <a:gd name="connsiteY4" fmla="*/ 945 h 42472"/>
                <a:gd name="connsiteX5" fmla="*/ 59581 w 63147"/>
                <a:gd name="connsiteY5" fmla="*/ 29228 h 42472"/>
                <a:gd name="connsiteX6" fmla="*/ 62202 w 63147"/>
                <a:gd name="connsiteY6" fmla="*/ 38886 h 42472"/>
                <a:gd name="connsiteX7" fmla="*/ 56131 w 63147"/>
                <a:gd name="connsiteY7" fmla="*/ 42473 h 4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147" h="42472">
                  <a:moveTo>
                    <a:pt x="56131" y="42473"/>
                  </a:moveTo>
                  <a:cubicBezTo>
                    <a:pt x="54890" y="42473"/>
                    <a:pt x="53648" y="42197"/>
                    <a:pt x="52544" y="41507"/>
                  </a:cubicBezTo>
                  <a:lnTo>
                    <a:pt x="3567" y="13224"/>
                  </a:lnTo>
                  <a:cubicBezTo>
                    <a:pt x="118" y="11293"/>
                    <a:pt x="-986" y="6878"/>
                    <a:pt x="945" y="3567"/>
                  </a:cubicBezTo>
                  <a:cubicBezTo>
                    <a:pt x="2877" y="118"/>
                    <a:pt x="7292" y="-986"/>
                    <a:pt x="10603" y="945"/>
                  </a:cubicBezTo>
                  <a:lnTo>
                    <a:pt x="59581" y="29228"/>
                  </a:lnTo>
                  <a:cubicBezTo>
                    <a:pt x="63030" y="31160"/>
                    <a:pt x="64133" y="35575"/>
                    <a:pt x="62202" y="38886"/>
                  </a:cubicBezTo>
                  <a:cubicBezTo>
                    <a:pt x="60960" y="41093"/>
                    <a:pt x="58615" y="42473"/>
                    <a:pt x="56131" y="42473"/>
                  </a:cubicBezTo>
                  <a:close/>
                </a:path>
              </a:pathLst>
            </a:custGeom>
            <a:grpFill/>
            <a:ln w="3175" cap="flat">
              <a:solidFill>
                <a:schemeClr val="bg1"/>
              </a:solidFill>
              <a:prstDash val="solid"/>
              <a:miter/>
            </a:ln>
          </p:spPr>
          <p:txBody>
            <a:bodyPr rtlCol="0" anchor="ctr"/>
            <a:lstStyle/>
            <a:p>
              <a:endParaRPr lang="ru-RU"/>
            </a:p>
          </p:txBody>
        </p:sp>
        <p:sp>
          <p:nvSpPr>
            <p:cNvPr id="139" name="Полилиния: фигура 138">
              <a:extLst>
                <a:ext uri="{FF2B5EF4-FFF2-40B4-BE49-F238E27FC236}">
                  <a16:creationId xmlns:a16="http://schemas.microsoft.com/office/drawing/2014/main" id="{ECAA4FD8-19B6-4177-AF50-931D9C8E843E}"/>
                </a:ext>
              </a:extLst>
            </p:cNvPr>
            <p:cNvSpPr/>
            <p:nvPr/>
          </p:nvSpPr>
          <p:spPr>
            <a:xfrm>
              <a:off x="3863144" y="3087112"/>
              <a:ext cx="70030" cy="23978"/>
            </a:xfrm>
            <a:custGeom>
              <a:avLst/>
              <a:gdLst>
                <a:gd name="connsiteX0" fmla="*/ 7146 w 70030"/>
                <a:gd name="connsiteY0" fmla="*/ 23978 h 23978"/>
                <a:gd name="connsiteX1" fmla="*/ 110 w 70030"/>
                <a:gd name="connsiteY1" fmla="*/ 18184 h 23978"/>
                <a:gd name="connsiteX2" fmla="*/ 5905 w 70030"/>
                <a:gd name="connsiteY2" fmla="*/ 9906 h 23978"/>
                <a:gd name="connsiteX3" fmla="*/ 61643 w 70030"/>
                <a:gd name="connsiteY3" fmla="*/ 110 h 23978"/>
                <a:gd name="connsiteX4" fmla="*/ 69921 w 70030"/>
                <a:gd name="connsiteY4" fmla="*/ 5905 h 23978"/>
                <a:gd name="connsiteX5" fmla="*/ 64126 w 70030"/>
                <a:gd name="connsiteY5" fmla="*/ 14183 h 23978"/>
                <a:gd name="connsiteX6" fmla="*/ 8388 w 70030"/>
                <a:gd name="connsiteY6" fmla="*/ 23978 h 23978"/>
                <a:gd name="connsiteX7" fmla="*/ 7146 w 70030"/>
                <a:gd name="connsiteY7" fmla="*/ 23978 h 23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0" h="23978">
                  <a:moveTo>
                    <a:pt x="7146" y="23978"/>
                  </a:moveTo>
                  <a:cubicBezTo>
                    <a:pt x="3835" y="23978"/>
                    <a:pt x="800" y="21495"/>
                    <a:pt x="110" y="18184"/>
                  </a:cubicBezTo>
                  <a:cubicBezTo>
                    <a:pt x="-580" y="14321"/>
                    <a:pt x="2042" y="10596"/>
                    <a:pt x="5905" y="9906"/>
                  </a:cubicBezTo>
                  <a:lnTo>
                    <a:pt x="61643" y="110"/>
                  </a:lnTo>
                  <a:cubicBezTo>
                    <a:pt x="65506" y="-580"/>
                    <a:pt x="69231" y="2042"/>
                    <a:pt x="69921" y="5905"/>
                  </a:cubicBezTo>
                  <a:cubicBezTo>
                    <a:pt x="70611" y="9768"/>
                    <a:pt x="67989" y="13493"/>
                    <a:pt x="64126" y="14183"/>
                  </a:cubicBezTo>
                  <a:lnTo>
                    <a:pt x="8388" y="23978"/>
                  </a:lnTo>
                  <a:cubicBezTo>
                    <a:pt x="7974" y="23978"/>
                    <a:pt x="7560" y="23978"/>
                    <a:pt x="7146" y="23978"/>
                  </a:cubicBezTo>
                  <a:close/>
                </a:path>
              </a:pathLst>
            </a:custGeom>
            <a:grpFill/>
            <a:ln w="3175" cap="flat">
              <a:solidFill>
                <a:schemeClr val="bg1"/>
              </a:solidFill>
              <a:prstDash val="solid"/>
              <a:miter/>
            </a:ln>
          </p:spPr>
          <p:txBody>
            <a:bodyPr rtlCol="0" anchor="ctr"/>
            <a:lstStyle/>
            <a:p>
              <a:endParaRPr lang="ru-RU"/>
            </a:p>
          </p:txBody>
        </p:sp>
        <p:sp>
          <p:nvSpPr>
            <p:cNvPr id="140" name="Полилиния: фигура 139">
              <a:extLst>
                <a:ext uri="{FF2B5EF4-FFF2-40B4-BE49-F238E27FC236}">
                  <a16:creationId xmlns:a16="http://schemas.microsoft.com/office/drawing/2014/main" id="{5EE18AB8-CD39-490A-A264-0105B5972549}"/>
                </a:ext>
              </a:extLst>
            </p:cNvPr>
            <p:cNvSpPr/>
            <p:nvPr/>
          </p:nvSpPr>
          <p:spPr>
            <a:xfrm>
              <a:off x="3815303" y="2970840"/>
              <a:ext cx="50649" cy="57470"/>
            </a:xfrm>
            <a:custGeom>
              <a:avLst/>
              <a:gdLst>
                <a:gd name="connsiteX0" fmla="*/ 7113 w 50649"/>
                <a:gd name="connsiteY0" fmla="*/ 57471 h 57470"/>
                <a:gd name="connsiteX1" fmla="*/ 2561 w 50649"/>
                <a:gd name="connsiteY1" fmla="*/ 55815 h 57470"/>
                <a:gd name="connsiteX2" fmla="*/ 1733 w 50649"/>
                <a:gd name="connsiteY2" fmla="*/ 45882 h 57470"/>
                <a:gd name="connsiteX3" fmla="*/ 38155 w 50649"/>
                <a:gd name="connsiteY3" fmla="*/ 2561 h 57470"/>
                <a:gd name="connsiteX4" fmla="*/ 48089 w 50649"/>
                <a:gd name="connsiteY4" fmla="*/ 1733 h 57470"/>
                <a:gd name="connsiteX5" fmla="*/ 48917 w 50649"/>
                <a:gd name="connsiteY5" fmla="*/ 11666 h 57470"/>
                <a:gd name="connsiteX6" fmla="*/ 12494 w 50649"/>
                <a:gd name="connsiteY6" fmla="*/ 54987 h 57470"/>
                <a:gd name="connsiteX7" fmla="*/ 7113 w 50649"/>
                <a:gd name="connsiteY7" fmla="*/ 57471 h 5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49" h="57470">
                  <a:moveTo>
                    <a:pt x="7113" y="57471"/>
                  </a:moveTo>
                  <a:cubicBezTo>
                    <a:pt x="5458" y="57471"/>
                    <a:pt x="3940" y="56919"/>
                    <a:pt x="2561" y="55815"/>
                  </a:cubicBezTo>
                  <a:cubicBezTo>
                    <a:pt x="-475" y="53332"/>
                    <a:pt x="-888" y="48779"/>
                    <a:pt x="1733" y="45882"/>
                  </a:cubicBezTo>
                  <a:lnTo>
                    <a:pt x="38155" y="2561"/>
                  </a:lnTo>
                  <a:cubicBezTo>
                    <a:pt x="40639" y="-475"/>
                    <a:pt x="45192" y="-889"/>
                    <a:pt x="48089" y="1733"/>
                  </a:cubicBezTo>
                  <a:cubicBezTo>
                    <a:pt x="51124" y="4216"/>
                    <a:pt x="51538" y="8769"/>
                    <a:pt x="48917" y="11666"/>
                  </a:cubicBezTo>
                  <a:lnTo>
                    <a:pt x="12494" y="54987"/>
                  </a:lnTo>
                  <a:cubicBezTo>
                    <a:pt x="11114" y="56643"/>
                    <a:pt x="9183" y="57471"/>
                    <a:pt x="7113" y="57471"/>
                  </a:cubicBezTo>
                  <a:close/>
                </a:path>
              </a:pathLst>
            </a:custGeom>
            <a:grpFill/>
            <a:ln w="3175" cap="flat">
              <a:solidFill>
                <a:schemeClr val="bg1"/>
              </a:solidFill>
              <a:prstDash val="solid"/>
              <a:miter/>
            </a:ln>
          </p:spPr>
          <p:txBody>
            <a:bodyPr rtlCol="0" anchor="ctr"/>
            <a:lstStyle/>
            <a:p>
              <a:endParaRPr lang="ru-RU"/>
            </a:p>
          </p:txBody>
        </p:sp>
      </p:grpSp>
      <p:grpSp>
        <p:nvGrpSpPr>
          <p:cNvPr id="143" name="Рисунок 623">
            <a:extLst>
              <a:ext uri="{FF2B5EF4-FFF2-40B4-BE49-F238E27FC236}">
                <a16:creationId xmlns:a16="http://schemas.microsoft.com/office/drawing/2014/main" id="{B288A480-BC94-4F9E-AA92-E3DB0D991BF2}"/>
              </a:ext>
            </a:extLst>
          </p:cNvPr>
          <p:cNvGrpSpPr/>
          <p:nvPr/>
        </p:nvGrpSpPr>
        <p:grpSpPr>
          <a:xfrm>
            <a:off x="3896202" y="2611579"/>
            <a:ext cx="171969" cy="225222"/>
            <a:chOff x="11264138" y="4796796"/>
            <a:chExt cx="314088" cy="411351"/>
          </a:xfrm>
          <a:solidFill>
            <a:schemeClr val="bg1"/>
          </a:solidFill>
          <a:effectLst>
            <a:outerShdw blurRad="63500" sx="102000" sy="102000" algn="ctr" rotWithShape="0">
              <a:schemeClr val="accent4">
                <a:lumMod val="50000"/>
                <a:alpha val="40000"/>
              </a:schemeClr>
            </a:outerShdw>
          </a:effectLst>
        </p:grpSpPr>
        <p:grpSp>
          <p:nvGrpSpPr>
            <p:cNvPr id="144" name="Рисунок 623">
              <a:extLst>
                <a:ext uri="{FF2B5EF4-FFF2-40B4-BE49-F238E27FC236}">
                  <a16:creationId xmlns:a16="http://schemas.microsoft.com/office/drawing/2014/main" id="{F2174295-D0A2-4683-AC78-DFD6BE4CF989}"/>
                </a:ext>
              </a:extLst>
            </p:cNvPr>
            <p:cNvGrpSpPr/>
            <p:nvPr/>
          </p:nvGrpSpPr>
          <p:grpSpPr>
            <a:xfrm>
              <a:off x="11264138" y="4796796"/>
              <a:ext cx="314088" cy="411351"/>
              <a:chOff x="11264138" y="4796796"/>
              <a:chExt cx="314088" cy="411351"/>
            </a:xfrm>
            <a:grpFill/>
          </p:grpSpPr>
          <p:sp>
            <p:nvSpPr>
              <p:cNvPr id="162" name="Полилиния: фигура 161">
                <a:extLst>
                  <a:ext uri="{FF2B5EF4-FFF2-40B4-BE49-F238E27FC236}">
                    <a16:creationId xmlns:a16="http://schemas.microsoft.com/office/drawing/2014/main" id="{4EA0D65C-99D0-4D21-8D47-E62BCEC8A43A}"/>
                  </a:ext>
                </a:extLst>
              </p:cNvPr>
              <p:cNvSpPr/>
              <p:nvPr/>
            </p:nvSpPr>
            <p:spPr>
              <a:xfrm>
                <a:off x="11306683" y="4796796"/>
                <a:ext cx="228998" cy="67405"/>
              </a:xfrm>
              <a:custGeom>
                <a:avLst/>
                <a:gdLst>
                  <a:gd name="connsiteX0" fmla="*/ 210674 w 228998"/>
                  <a:gd name="connsiteY0" fmla="*/ 67405 h 67405"/>
                  <a:gd name="connsiteX1" fmla="*/ 18325 w 228998"/>
                  <a:gd name="connsiteY1" fmla="*/ 67405 h 67405"/>
                  <a:gd name="connsiteX2" fmla="*/ 0 w 228998"/>
                  <a:gd name="connsiteY2" fmla="*/ 49080 h 67405"/>
                  <a:gd name="connsiteX3" fmla="*/ 0 w 228998"/>
                  <a:gd name="connsiteY3" fmla="*/ 18325 h 67405"/>
                  <a:gd name="connsiteX4" fmla="*/ 18325 w 228998"/>
                  <a:gd name="connsiteY4" fmla="*/ 0 h 67405"/>
                  <a:gd name="connsiteX5" fmla="*/ 210674 w 228998"/>
                  <a:gd name="connsiteY5" fmla="*/ 0 h 67405"/>
                  <a:gd name="connsiteX6" fmla="*/ 228999 w 228998"/>
                  <a:gd name="connsiteY6" fmla="*/ 18325 h 67405"/>
                  <a:gd name="connsiteX7" fmla="*/ 228999 w 228998"/>
                  <a:gd name="connsiteY7" fmla="*/ 49080 h 67405"/>
                  <a:gd name="connsiteX8" fmla="*/ 210674 w 228998"/>
                  <a:gd name="connsiteY8" fmla="*/ 67405 h 67405"/>
                  <a:gd name="connsiteX9" fmla="*/ 18325 w 228998"/>
                  <a:gd name="connsiteY9" fmla="*/ 13327 h 67405"/>
                  <a:gd name="connsiteX10" fmla="*/ 13200 w 228998"/>
                  <a:gd name="connsiteY10" fmla="*/ 18453 h 67405"/>
                  <a:gd name="connsiteX11" fmla="*/ 13200 w 228998"/>
                  <a:gd name="connsiteY11" fmla="*/ 49208 h 67405"/>
                  <a:gd name="connsiteX12" fmla="*/ 18325 w 228998"/>
                  <a:gd name="connsiteY12" fmla="*/ 54334 h 67405"/>
                  <a:gd name="connsiteX13" fmla="*/ 210674 w 228998"/>
                  <a:gd name="connsiteY13" fmla="*/ 54334 h 67405"/>
                  <a:gd name="connsiteX14" fmla="*/ 215800 w 228998"/>
                  <a:gd name="connsiteY14" fmla="*/ 49208 h 67405"/>
                  <a:gd name="connsiteX15" fmla="*/ 215800 w 228998"/>
                  <a:gd name="connsiteY15" fmla="*/ 18453 h 67405"/>
                  <a:gd name="connsiteX16" fmla="*/ 210674 w 228998"/>
                  <a:gd name="connsiteY16" fmla="*/ 13327 h 67405"/>
                  <a:gd name="connsiteX17" fmla="*/ 18325 w 228998"/>
                  <a:gd name="connsiteY17" fmla="*/ 13327 h 67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8998" h="67405">
                    <a:moveTo>
                      <a:pt x="210674" y="67405"/>
                    </a:moveTo>
                    <a:lnTo>
                      <a:pt x="18325" y="67405"/>
                    </a:lnTo>
                    <a:cubicBezTo>
                      <a:pt x="8202" y="67405"/>
                      <a:pt x="0" y="59204"/>
                      <a:pt x="0" y="49080"/>
                    </a:cubicBezTo>
                    <a:lnTo>
                      <a:pt x="0" y="18325"/>
                    </a:lnTo>
                    <a:cubicBezTo>
                      <a:pt x="0" y="8201"/>
                      <a:pt x="8202" y="0"/>
                      <a:pt x="18325" y="0"/>
                    </a:cubicBezTo>
                    <a:lnTo>
                      <a:pt x="210674" y="0"/>
                    </a:lnTo>
                    <a:cubicBezTo>
                      <a:pt x="220797" y="0"/>
                      <a:pt x="228999" y="8201"/>
                      <a:pt x="228999" y="18325"/>
                    </a:cubicBezTo>
                    <a:lnTo>
                      <a:pt x="228999" y="49080"/>
                    </a:lnTo>
                    <a:cubicBezTo>
                      <a:pt x="228999" y="59204"/>
                      <a:pt x="220797" y="67405"/>
                      <a:pt x="210674" y="67405"/>
                    </a:cubicBezTo>
                    <a:close/>
                    <a:moveTo>
                      <a:pt x="18325" y="13327"/>
                    </a:moveTo>
                    <a:cubicBezTo>
                      <a:pt x="15506" y="13327"/>
                      <a:pt x="13200" y="15634"/>
                      <a:pt x="13200" y="18453"/>
                    </a:cubicBezTo>
                    <a:lnTo>
                      <a:pt x="13200" y="49208"/>
                    </a:lnTo>
                    <a:cubicBezTo>
                      <a:pt x="13200" y="52028"/>
                      <a:pt x="15506" y="54334"/>
                      <a:pt x="18325" y="54334"/>
                    </a:cubicBezTo>
                    <a:lnTo>
                      <a:pt x="210674" y="54334"/>
                    </a:lnTo>
                    <a:cubicBezTo>
                      <a:pt x="213492" y="54334"/>
                      <a:pt x="215800" y="52028"/>
                      <a:pt x="215800" y="49208"/>
                    </a:cubicBezTo>
                    <a:lnTo>
                      <a:pt x="215800" y="18453"/>
                    </a:lnTo>
                    <a:cubicBezTo>
                      <a:pt x="215800" y="15634"/>
                      <a:pt x="213492" y="13327"/>
                      <a:pt x="210674" y="13327"/>
                    </a:cubicBezTo>
                    <a:lnTo>
                      <a:pt x="18325" y="13327"/>
                    </a:lnTo>
                    <a:close/>
                  </a:path>
                </a:pathLst>
              </a:custGeom>
              <a:grpFill/>
              <a:ln w="3175" cap="flat">
                <a:solidFill>
                  <a:schemeClr val="bg1"/>
                </a:solidFill>
                <a:prstDash val="solid"/>
                <a:miter/>
              </a:ln>
            </p:spPr>
            <p:txBody>
              <a:bodyPr rtlCol="0" anchor="ctr"/>
              <a:lstStyle/>
              <a:p>
                <a:endParaRPr lang="ru-RU"/>
              </a:p>
            </p:txBody>
          </p:sp>
          <p:sp>
            <p:nvSpPr>
              <p:cNvPr id="163" name="Полилиния: фигура 162">
                <a:extLst>
                  <a:ext uri="{FF2B5EF4-FFF2-40B4-BE49-F238E27FC236}">
                    <a16:creationId xmlns:a16="http://schemas.microsoft.com/office/drawing/2014/main" id="{7494A0E5-19B7-47CF-B3A5-DE32D45BCA75}"/>
                  </a:ext>
                </a:extLst>
              </p:cNvPr>
              <p:cNvSpPr/>
              <p:nvPr/>
            </p:nvSpPr>
            <p:spPr>
              <a:xfrm>
                <a:off x="11264138" y="4823963"/>
                <a:ext cx="314088" cy="384184"/>
              </a:xfrm>
              <a:custGeom>
                <a:avLst/>
                <a:gdLst>
                  <a:gd name="connsiteX0" fmla="*/ 294097 w 314088"/>
                  <a:gd name="connsiteY0" fmla="*/ 384185 h 384184"/>
                  <a:gd name="connsiteX1" fmla="*/ 19991 w 314088"/>
                  <a:gd name="connsiteY1" fmla="*/ 384185 h 384184"/>
                  <a:gd name="connsiteX2" fmla="*/ 0 w 314088"/>
                  <a:gd name="connsiteY2" fmla="*/ 364194 h 384184"/>
                  <a:gd name="connsiteX3" fmla="*/ 0 w 314088"/>
                  <a:gd name="connsiteY3" fmla="*/ 19991 h 384184"/>
                  <a:gd name="connsiteX4" fmla="*/ 19991 w 314088"/>
                  <a:gd name="connsiteY4" fmla="*/ 0 h 384184"/>
                  <a:gd name="connsiteX5" fmla="*/ 49209 w 314088"/>
                  <a:gd name="connsiteY5" fmla="*/ 0 h 384184"/>
                  <a:gd name="connsiteX6" fmla="*/ 55744 w 314088"/>
                  <a:gd name="connsiteY6" fmla="*/ 6536 h 384184"/>
                  <a:gd name="connsiteX7" fmla="*/ 49209 w 314088"/>
                  <a:gd name="connsiteY7" fmla="*/ 13071 h 384184"/>
                  <a:gd name="connsiteX8" fmla="*/ 19991 w 314088"/>
                  <a:gd name="connsiteY8" fmla="*/ 13071 h 384184"/>
                  <a:gd name="connsiteX9" fmla="*/ 13200 w 314088"/>
                  <a:gd name="connsiteY9" fmla="*/ 19863 h 384184"/>
                  <a:gd name="connsiteX10" fmla="*/ 13200 w 314088"/>
                  <a:gd name="connsiteY10" fmla="*/ 364066 h 384184"/>
                  <a:gd name="connsiteX11" fmla="*/ 19991 w 314088"/>
                  <a:gd name="connsiteY11" fmla="*/ 370857 h 384184"/>
                  <a:gd name="connsiteX12" fmla="*/ 294097 w 314088"/>
                  <a:gd name="connsiteY12" fmla="*/ 370857 h 384184"/>
                  <a:gd name="connsiteX13" fmla="*/ 300889 w 314088"/>
                  <a:gd name="connsiteY13" fmla="*/ 364066 h 384184"/>
                  <a:gd name="connsiteX14" fmla="*/ 300889 w 314088"/>
                  <a:gd name="connsiteY14" fmla="*/ 19991 h 384184"/>
                  <a:gd name="connsiteX15" fmla="*/ 294097 w 314088"/>
                  <a:gd name="connsiteY15" fmla="*/ 13199 h 384184"/>
                  <a:gd name="connsiteX16" fmla="*/ 266417 w 314088"/>
                  <a:gd name="connsiteY16" fmla="*/ 13199 h 384184"/>
                  <a:gd name="connsiteX17" fmla="*/ 259882 w 314088"/>
                  <a:gd name="connsiteY17" fmla="*/ 6664 h 384184"/>
                  <a:gd name="connsiteX18" fmla="*/ 266417 w 314088"/>
                  <a:gd name="connsiteY18" fmla="*/ 128 h 384184"/>
                  <a:gd name="connsiteX19" fmla="*/ 294097 w 314088"/>
                  <a:gd name="connsiteY19" fmla="*/ 128 h 384184"/>
                  <a:gd name="connsiteX20" fmla="*/ 314088 w 314088"/>
                  <a:gd name="connsiteY20" fmla="*/ 20119 h 384184"/>
                  <a:gd name="connsiteX21" fmla="*/ 314088 w 314088"/>
                  <a:gd name="connsiteY21" fmla="*/ 364322 h 384184"/>
                  <a:gd name="connsiteX22" fmla="*/ 294097 w 314088"/>
                  <a:gd name="connsiteY22" fmla="*/ 384185 h 38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4088" h="384184">
                    <a:moveTo>
                      <a:pt x="294097" y="384185"/>
                    </a:moveTo>
                    <a:lnTo>
                      <a:pt x="19991" y="384185"/>
                    </a:lnTo>
                    <a:cubicBezTo>
                      <a:pt x="8970" y="384185"/>
                      <a:pt x="0" y="375214"/>
                      <a:pt x="0" y="364194"/>
                    </a:cubicBezTo>
                    <a:lnTo>
                      <a:pt x="0" y="19991"/>
                    </a:lnTo>
                    <a:cubicBezTo>
                      <a:pt x="0" y="8970"/>
                      <a:pt x="8970" y="0"/>
                      <a:pt x="19991" y="0"/>
                    </a:cubicBezTo>
                    <a:lnTo>
                      <a:pt x="49209" y="0"/>
                    </a:lnTo>
                    <a:cubicBezTo>
                      <a:pt x="52796" y="0"/>
                      <a:pt x="55744" y="2948"/>
                      <a:pt x="55744" y="6536"/>
                    </a:cubicBezTo>
                    <a:cubicBezTo>
                      <a:pt x="55744" y="10124"/>
                      <a:pt x="52796" y="13071"/>
                      <a:pt x="49209" y="13071"/>
                    </a:cubicBezTo>
                    <a:lnTo>
                      <a:pt x="19991" y="13071"/>
                    </a:lnTo>
                    <a:cubicBezTo>
                      <a:pt x="16275" y="13071"/>
                      <a:pt x="13200" y="16147"/>
                      <a:pt x="13200" y="19863"/>
                    </a:cubicBezTo>
                    <a:lnTo>
                      <a:pt x="13200" y="364066"/>
                    </a:lnTo>
                    <a:cubicBezTo>
                      <a:pt x="13200" y="367782"/>
                      <a:pt x="16275" y="370857"/>
                      <a:pt x="19991" y="370857"/>
                    </a:cubicBezTo>
                    <a:lnTo>
                      <a:pt x="294097" y="370857"/>
                    </a:lnTo>
                    <a:cubicBezTo>
                      <a:pt x="297813" y="370857"/>
                      <a:pt x="300889" y="367782"/>
                      <a:pt x="300889" y="364066"/>
                    </a:cubicBezTo>
                    <a:lnTo>
                      <a:pt x="300889" y="19991"/>
                    </a:lnTo>
                    <a:cubicBezTo>
                      <a:pt x="300889" y="16275"/>
                      <a:pt x="297813" y="13199"/>
                      <a:pt x="294097" y="13199"/>
                    </a:cubicBezTo>
                    <a:lnTo>
                      <a:pt x="266417" y="13199"/>
                    </a:lnTo>
                    <a:cubicBezTo>
                      <a:pt x="262830" y="13199"/>
                      <a:pt x="259882" y="10252"/>
                      <a:pt x="259882" y="6664"/>
                    </a:cubicBezTo>
                    <a:cubicBezTo>
                      <a:pt x="259882" y="3076"/>
                      <a:pt x="262830" y="128"/>
                      <a:pt x="266417" y="128"/>
                    </a:cubicBezTo>
                    <a:lnTo>
                      <a:pt x="294097" y="128"/>
                    </a:lnTo>
                    <a:cubicBezTo>
                      <a:pt x="305118" y="128"/>
                      <a:pt x="314088" y="9099"/>
                      <a:pt x="314088" y="20119"/>
                    </a:cubicBezTo>
                    <a:lnTo>
                      <a:pt x="314088" y="364322"/>
                    </a:lnTo>
                    <a:cubicBezTo>
                      <a:pt x="314088" y="375214"/>
                      <a:pt x="305118" y="384185"/>
                      <a:pt x="294097" y="384185"/>
                    </a:cubicBezTo>
                    <a:close/>
                  </a:path>
                </a:pathLst>
              </a:custGeom>
              <a:grpFill/>
              <a:ln w="3175" cap="flat">
                <a:solidFill>
                  <a:schemeClr val="bg1"/>
                </a:solidFill>
                <a:prstDash val="solid"/>
                <a:miter/>
              </a:ln>
            </p:spPr>
            <p:txBody>
              <a:bodyPr rtlCol="0" anchor="ctr"/>
              <a:lstStyle/>
              <a:p>
                <a:endParaRPr lang="ru-RU"/>
              </a:p>
            </p:txBody>
          </p:sp>
        </p:grpSp>
        <p:grpSp>
          <p:nvGrpSpPr>
            <p:cNvPr id="145" name="Рисунок 623">
              <a:extLst>
                <a:ext uri="{FF2B5EF4-FFF2-40B4-BE49-F238E27FC236}">
                  <a16:creationId xmlns:a16="http://schemas.microsoft.com/office/drawing/2014/main" id="{19938AB6-A6C5-46C3-AFC1-B8ADC52CBCE1}"/>
                </a:ext>
              </a:extLst>
            </p:cNvPr>
            <p:cNvGrpSpPr/>
            <p:nvPr/>
          </p:nvGrpSpPr>
          <p:grpSpPr>
            <a:xfrm>
              <a:off x="11308349" y="4907515"/>
              <a:ext cx="225666" cy="232586"/>
              <a:chOff x="11308349" y="4907515"/>
              <a:chExt cx="225666" cy="232586"/>
            </a:xfrm>
            <a:grpFill/>
          </p:grpSpPr>
          <p:grpSp>
            <p:nvGrpSpPr>
              <p:cNvPr id="146" name="Рисунок 623">
                <a:extLst>
                  <a:ext uri="{FF2B5EF4-FFF2-40B4-BE49-F238E27FC236}">
                    <a16:creationId xmlns:a16="http://schemas.microsoft.com/office/drawing/2014/main" id="{EDAE8D09-945D-4442-BCBB-D43E897AC1A3}"/>
                  </a:ext>
                </a:extLst>
              </p:cNvPr>
              <p:cNvGrpSpPr/>
              <p:nvPr/>
            </p:nvGrpSpPr>
            <p:grpSpPr>
              <a:xfrm>
                <a:off x="11308349" y="4907515"/>
                <a:ext cx="150960" cy="13071"/>
                <a:chOff x="11308349" y="4907515"/>
                <a:chExt cx="150960" cy="13071"/>
              </a:xfrm>
              <a:grpFill/>
            </p:grpSpPr>
            <p:sp>
              <p:nvSpPr>
                <p:cNvPr id="160" name="Полилиния: фигура 159">
                  <a:extLst>
                    <a:ext uri="{FF2B5EF4-FFF2-40B4-BE49-F238E27FC236}">
                      <a16:creationId xmlns:a16="http://schemas.microsoft.com/office/drawing/2014/main" id="{AC6D30AC-71DC-4602-8547-2C440B603B9B}"/>
                    </a:ext>
                  </a:extLst>
                </p:cNvPr>
                <p:cNvSpPr/>
                <p:nvPr/>
              </p:nvSpPr>
              <p:spPr>
                <a:xfrm>
                  <a:off x="11308349" y="4907515"/>
                  <a:ext cx="78554" cy="13071"/>
                </a:xfrm>
                <a:custGeom>
                  <a:avLst/>
                  <a:gdLst>
                    <a:gd name="connsiteX0" fmla="*/ 72019 w 78554"/>
                    <a:gd name="connsiteY0" fmla="*/ 13071 h 13071"/>
                    <a:gd name="connsiteX1" fmla="*/ 6536 w 78554"/>
                    <a:gd name="connsiteY1" fmla="*/ 13071 h 13071"/>
                    <a:gd name="connsiteX2" fmla="*/ 0 w 78554"/>
                    <a:gd name="connsiteY2" fmla="*/ 6535 h 13071"/>
                    <a:gd name="connsiteX3" fmla="*/ 6536 w 78554"/>
                    <a:gd name="connsiteY3" fmla="*/ 0 h 13071"/>
                    <a:gd name="connsiteX4" fmla="*/ 72019 w 78554"/>
                    <a:gd name="connsiteY4" fmla="*/ 0 h 13071"/>
                    <a:gd name="connsiteX5" fmla="*/ 78554 w 78554"/>
                    <a:gd name="connsiteY5" fmla="*/ 6535 h 13071"/>
                    <a:gd name="connsiteX6" fmla="*/ 72019 w 78554"/>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54" h="13071">
                      <a:moveTo>
                        <a:pt x="72019" y="13071"/>
                      </a:moveTo>
                      <a:lnTo>
                        <a:pt x="6536" y="13071"/>
                      </a:lnTo>
                      <a:cubicBezTo>
                        <a:pt x="2947" y="13071"/>
                        <a:pt x="0" y="10124"/>
                        <a:pt x="0" y="6535"/>
                      </a:cubicBezTo>
                      <a:cubicBezTo>
                        <a:pt x="0" y="2947"/>
                        <a:pt x="2947" y="0"/>
                        <a:pt x="6536" y="0"/>
                      </a:cubicBezTo>
                      <a:lnTo>
                        <a:pt x="72019" y="0"/>
                      </a:lnTo>
                      <a:cubicBezTo>
                        <a:pt x="75607" y="0"/>
                        <a:pt x="78554" y="2947"/>
                        <a:pt x="78554" y="6535"/>
                      </a:cubicBezTo>
                      <a:cubicBezTo>
                        <a:pt x="78554" y="10124"/>
                        <a:pt x="75607" y="13071"/>
                        <a:pt x="72019" y="13071"/>
                      </a:cubicBezTo>
                      <a:close/>
                    </a:path>
                  </a:pathLst>
                </a:custGeom>
                <a:grpFill/>
                <a:ln w="3175" cap="flat">
                  <a:solidFill>
                    <a:schemeClr val="bg1"/>
                  </a:solidFill>
                  <a:prstDash val="solid"/>
                  <a:miter/>
                </a:ln>
              </p:spPr>
              <p:txBody>
                <a:bodyPr rtlCol="0" anchor="ctr"/>
                <a:lstStyle/>
                <a:p>
                  <a:endParaRPr lang="ru-RU"/>
                </a:p>
              </p:txBody>
            </p:sp>
            <p:sp>
              <p:nvSpPr>
                <p:cNvPr id="161" name="Полилиния: фигура 160">
                  <a:extLst>
                    <a:ext uri="{FF2B5EF4-FFF2-40B4-BE49-F238E27FC236}">
                      <a16:creationId xmlns:a16="http://schemas.microsoft.com/office/drawing/2014/main" id="{D1D34A7E-F238-430B-9658-D5817C51809D}"/>
                    </a:ext>
                  </a:extLst>
                </p:cNvPr>
                <p:cNvSpPr/>
                <p:nvPr/>
              </p:nvSpPr>
              <p:spPr>
                <a:xfrm>
                  <a:off x="11409329" y="4907515"/>
                  <a:ext cx="49980" cy="13071"/>
                </a:xfrm>
                <a:custGeom>
                  <a:avLst/>
                  <a:gdLst>
                    <a:gd name="connsiteX0" fmla="*/ 43442 w 49980"/>
                    <a:gd name="connsiteY0" fmla="*/ 13071 h 13071"/>
                    <a:gd name="connsiteX1" fmla="*/ 6536 w 49980"/>
                    <a:gd name="connsiteY1" fmla="*/ 13071 h 13071"/>
                    <a:gd name="connsiteX2" fmla="*/ 0 w 49980"/>
                    <a:gd name="connsiteY2" fmla="*/ 6535 h 13071"/>
                    <a:gd name="connsiteX3" fmla="*/ 6536 w 49980"/>
                    <a:gd name="connsiteY3" fmla="*/ 0 h 13071"/>
                    <a:gd name="connsiteX4" fmla="*/ 43442 w 49980"/>
                    <a:gd name="connsiteY4" fmla="*/ 0 h 13071"/>
                    <a:gd name="connsiteX5" fmla="*/ 49977 w 49980"/>
                    <a:gd name="connsiteY5" fmla="*/ 6535 h 13071"/>
                    <a:gd name="connsiteX6" fmla="*/ 43442 w 49980"/>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80" h="13071">
                      <a:moveTo>
                        <a:pt x="43442" y="13071"/>
                      </a:moveTo>
                      <a:lnTo>
                        <a:pt x="6536" y="13071"/>
                      </a:lnTo>
                      <a:cubicBezTo>
                        <a:pt x="2947" y="13071"/>
                        <a:pt x="0" y="10124"/>
                        <a:pt x="0" y="6535"/>
                      </a:cubicBezTo>
                      <a:cubicBezTo>
                        <a:pt x="0" y="2947"/>
                        <a:pt x="2947" y="0"/>
                        <a:pt x="6536" y="0"/>
                      </a:cubicBezTo>
                      <a:lnTo>
                        <a:pt x="43442" y="0"/>
                      </a:lnTo>
                      <a:cubicBezTo>
                        <a:pt x="47030" y="0"/>
                        <a:pt x="49977" y="2947"/>
                        <a:pt x="49977" y="6535"/>
                      </a:cubicBezTo>
                      <a:cubicBezTo>
                        <a:pt x="50105" y="10124"/>
                        <a:pt x="47158" y="13071"/>
                        <a:pt x="43442" y="13071"/>
                      </a:cubicBezTo>
                      <a:close/>
                    </a:path>
                  </a:pathLst>
                </a:custGeom>
                <a:grpFill/>
                <a:ln w="3175" cap="flat">
                  <a:solidFill>
                    <a:schemeClr val="bg1"/>
                  </a:solidFill>
                  <a:prstDash val="solid"/>
                  <a:miter/>
                </a:ln>
              </p:spPr>
              <p:txBody>
                <a:bodyPr rtlCol="0" anchor="ctr"/>
                <a:lstStyle/>
                <a:p>
                  <a:endParaRPr lang="ru-RU"/>
                </a:p>
              </p:txBody>
            </p:sp>
          </p:grpSp>
          <p:grpSp>
            <p:nvGrpSpPr>
              <p:cNvPr id="147" name="Рисунок 623">
                <a:extLst>
                  <a:ext uri="{FF2B5EF4-FFF2-40B4-BE49-F238E27FC236}">
                    <a16:creationId xmlns:a16="http://schemas.microsoft.com/office/drawing/2014/main" id="{315B73F9-4B2B-46DB-B0E2-968B32BDCEDD}"/>
                  </a:ext>
                </a:extLst>
              </p:cNvPr>
              <p:cNvGrpSpPr/>
              <p:nvPr/>
            </p:nvGrpSpPr>
            <p:grpSpPr>
              <a:xfrm>
                <a:off x="11308349" y="4962490"/>
                <a:ext cx="225666" cy="13071"/>
                <a:chOff x="11308349" y="4962490"/>
                <a:chExt cx="225666" cy="13071"/>
              </a:xfrm>
              <a:grpFill/>
            </p:grpSpPr>
            <p:sp>
              <p:nvSpPr>
                <p:cNvPr id="158" name="Полилиния: фигура 157">
                  <a:extLst>
                    <a:ext uri="{FF2B5EF4-FFF2-40B4-BE49-F238E27FC236}">
                      <a16:creationId xmlns:a16="http://schemas.microsoft.com/office/drawing/2014/main" id="{55BB8EA7-ECF7-4B43-89C6-B8B3E96D084B}"/>
                    </a:ext>
                  </a:extLst>
                </p:cNvPr>
                <p:cNvSpPr/>
                <p:nvPr/>
              </p:nvSpPr>
              <p:spPr>
                <a:xfrm>
                  <a:off x="11308349" y="4962490"/>
                  <a:ext cx="93931" cy="13071"/>
                </a:xfrm>
                <a:custGeom>
                  <a:avLst/>
                  <a:gdLst>
                    <a:gd name="connsiteX0" fmla="*/ 87396 w 93931"/>
                    <a:gd name="connsiteY0" fmla="*/ 13071 h 13071"/>
                    <a:gd name="connsiteX1" fmla="*/ 6536 w 93931"/>
                    <a:gd name="connsiteY1" fmla="*/ 13071 h 13071"/>
                    <a:gd name="connsiteX2" fmla="*/ 0 w 93931"/>
                    <a:gd name="connsiteY2" fmla="*/ 6536 h 13071"/>
                    <a:gd name="connsiteX3" fmla="*/ 6536 w 93931"/>
                    <a:gd name="connsiteY3" fmla="*/ 0 h 13071"/>
                    <a:gd name="connsiteX4" fmla="*/ 87396 w 93931"/>
                    <a:gd name="connsiteY4" fmla="*/ 0 h 13071"/>
                    <a:gd name="connsiteX5" fmla="*/ 93932 w 93931"/>
                    <a:gd name="connsiteY5" fmla="*/ 6536 h 13071"/>
                    <a:gd name="connsiteX6" fmla="*/ 87396 w 93931"/>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1" h="13071">
                      <a:moveTo>
                        <a:pt x="87396" y="13071"/>
                      </a:moveTo>
                      <a:lnTo>
                        <a:pt x="6536" y="13071"/>
                      </a:lnTo>
                      <a:cubicBezTo>
                        <a:pt x="2947" y="13071"/>
                        <a:pt x="0" y="10124"/>
                        <a:pt x="0" y="6536"/>
                      </a:cubicBezTo>
                      <a:cubicBezTo>
                        <a:pt x="0" y="2948"/>
                        <a:pt x="2947" y="0"/>
                        <a:pt x="6536" y="0"/>
                      </a:cubicBezTo>
                      <a:lnTo>
                        <a:pt x="87396" y="0"/>
                      </a:lnTo>
                      <a:cubicBezTo>
                        <a:pt x="90984" y="0"/>
                        <a:pt x="93932" y="2948"/>
                        <a:pt x="93932" y="6536"/>
                      </a:cubicBezTo>
                      <a:cubicBezTo>
                        <a:pt x="93932" y="10124"/>
                        <a:pt x="90984" y="13071"/>
                        <a:pt x="87396" y="13071"/>
                      </a:cubicBezTo>
                      <a:close/>
                    </a:path>
                  </a:pathLst>
                </a:custGeom>
                <a:grpFill/>
                <a:ln w="3175" cap="flat">
                  <a:solidFill>
                    <a:schemeClr val="bg1"/>
                  </a:solidFill>
                  <a:prstDash val="solid"/>
                  <a:miter/>
                </a:ln>
              </p:spPr>
              <p:txBody>
                <a:bodyPr rtlCol="0" anchor="ctr"/>
                <a:lstStyle/>
                <a:p>
                  <a:endParaRPr lang="ru-RU"/>
                </a:p>
              </p:txBody>
            </p:sp>
            <p:sp>
              <p:nvSpPr>
                <p:cNvPr id="159" name="Полилиния: фигура 158">
                  <a:extLst>
                    <a:ext uri="{FF2B5EF4-FFF2-40B4-BE49-F238E27FC236}">
                      <a16:creationId xmlns:a16="http://schemas.microsoft.com/office/drawing/2014/main" id="{E047D22C-6FAA-4FA6-BF4F-66D009E5D500}"/>
                    </a:ext>
                  </a:extLst>
                </p:cNvPr>
                <p:cNvSpPr/>
                <p:nvPr/>
              </p:nvSpPr>
              <p:spPr>
                <a:xfrm>
                  <a:off x="11427910" y="4962490"/>
                  <a:ext cx="106105" cy="13071"/>
                </a:xfrm>
                <a:custGeom>
                  <a:avLst/>
                  <a:gdLst>
                    <a:gd name="connsiteX0" fmla="*/ 99570 w 106105"/>
                    <a:gd name="connsiteY0" fmla="*/ 13071 h 13071"/>
                    <a:gd name="connsiteX1" fmla="*/ 6535 w 106105"/>
                    <a:gd name="connsiteY1" fmla="*/ 13071 h 13071"/>
                    <a:gd name="connsiteX2" fmla="*/ 0 w 106105"/>
                    <a:gd name="connsiteY2" fmla="*/ 6536 h 13071"/>
                    <a:gd name="connsiteX3" fmla="*/ 6535 w 106105"/>
                    <a:gd name="connsiteY3" fmla="*/ 0 h 13071"/>
                    <a:gd name="connsiteX4" fmla="*/ 99570 w 106105"/>
                    <a:gd name="connsiteY4" fmla="*/ 0 h 13071"/>
                    <a:gd name="connsiteX5" fmla="*/ 106105 w 106105"/>
                    <a:gd name="connsiteY5" fmla="*/ 6536 h 13071"/>
                    <a:gd name="connsiteX6" fmla="*/ 99570 w 106105"/>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05" h="13071">
                      <a:moveTo>
                        <a:pt x="99570" y="13071"/>
                      </a:moveTo>
                      <a:lnTo>
                        <a:pt x="6535" y="13071"/>
                      </a:lnTo>
                      <a:cubicBezTo>
                        <a:pt x="2947" y="13071"/>
                        <a:pt x="0" y="10124"/>
                        <a:pt x="0" y="6536"/>
                      </a:cubicBezTo>
                      <a:cubicBezTo>
                        <a:pt x="0" y="2948"/>
                        <a:pt x="2947" y="0"/>
                        <a:pt x="6535" y="0"/>
                      </a:cubicBezTo>
                      <a:lnTo>
                        <a:pt x="99570" y="0"/>
                      </a:lnTo>
                      <a:cubicBezTo>
                        <a:pt x="103158" y="0"/>
                        <a:pt x="106105" y="2948"/>
                        <a:pt x="106105" y="6536"/>
                      </a:cubicBezTo>
                      <a:cubicBezTo>
                        <a:pt x="106105" y="10124"/>
                        <a:pt x="103158" y="13071"/>
                        <a:pt x="99570" y="13071"/>
                      </a:cubicBezTo>
                      <a:close/>
                    </a:path>
                  </a:pathLst>
                </a:custGeom>
                <a:grpFill/>
                <a:ln w="3175" cap="flat">
                  <a:solidFill>
                    <a:schemeClr val="bg1"/>
                  </a:solidFill>
                  <a:prstDash val="solid"/>
                  <a:miter/>
                </a:ln>
              </p:spPr>
              <p:txBody>
                <a:bodyPr rtlCol="0" anchor="ctr"/>
                <a:lstStyle/>
                <a:p>
                  <a:endParaRPr lang="ru-RU"/>
                </a:p>
              </p:txBody>
            </p:sp>
          </p:grpSp>
          <p:grpSp>
            <p:nvGrpSpPr>
              <p:cNvPr id="148" name="Рисунок 623">
                <a:extLst>
                  <a:ext uri="{FF2B5EF4-FFF2-40B4-BE49-F238E27FC236}">
                    <a16:creationId xmlns:a16="http://schemas.microsoft.com/office/drawing/2014/main" id="{E921C946-3938-480F-A01D-EC6CC206CB97}"/>
                  </a:ext>
                </a:extLst>
              </p:cNvPr>
              <p:cNvGrpSpPr/>
              <p:nvPr/>
            </p:nvGrpSpPr>
            <p:grpSpPr>
              <a:xfrm>
                <a:off x="11308477" y="5017337"/>
                <a:ext cx="225538" cy="13071"/>
                <a:chOff x="11308477" y="5017337"/>
                <a:chExt cx="225538" cy="13071"/>
              </a:xfrm>
              <a:grpFill/>
            </p:grpSpPr>
            <p:sp>
              <p:nvSpPr>
                <p:cNvPr id="156" name="Полилиния: фигура 155">
                  <a:extLst>
                    <a:ext uri="{FF2B5EF4-FFF2-40B4-BE49-F238E27FC236}">
                      <a16:creationId xmlns:a16="http://schemas.microsoft.com/office/drawing/2014/main" id="{394AFF3E-4F50-43CD-A2CF-CE5D350A59A0}"/>
                    </a:ext>
                  </a:extLst>
                </p:cNvPr>
                <p:cNvSpPr/>
                <p:nvPr/>
              </p:nvSpPr>
              <p:spPr>
                <a:xfrm>
                  <a:off x="11362940" y="5017337"/>
                  <a:ext cx="171075" cy="13071"/>
                </a:xfrm>
                <a:custGeom>
                  <a:avLst/>
                  <a:gdLst>
                    <a:gd name="connsiteX0" fmla="*/ 164540 w 171075"/>
                    <a:gd name="connsiteY0" fmla="*/ 13071 h 13071"/>
                    <a:gd name="connsiteX1" fmla="*/ 6536 w 171075"/>
                    <a:gd name="connsiteY1" fmla="*/ 13071 h 13071"/>
                    <a:gd name="connsiteX2" fmla="*/ 0 w 171075"/>
                    <a:gd name="connsiteY2" fmla="*/ 6536 h 13071"/>
                    <a:gd name="connsiteX3" fmla="*/ 6536 w 171075"/>
                    <a:gd name="connsiteY3" fmla="*/ 0 h 13071"/>
                    <a:gd name="connsiteX4" fmla="*/ 164540 w 171075"/>
                    <a:gd name="connsiteY4" fmla="*/ 0 h 13071"/>
                    <a:gd name="connsiteX5" fmla="*/ 171076 w 171075"/>
                    <a:gd name="connsiteY5" fmla="*/ 6536 h 13071"/>
                    <a:gd name="connsiteX6" fmla="*/ 164540 w 171075"/>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75" h="13071">
                      <a:moveTo>
                        <a:pt x="164540" y="13071"/>
                      </a:moveTo>
                      <a:lnTo>
                        <a:pt x="6536" y="13071"/>
                      </a:lnTo>
                      <a:cubicBezTo>
                        <a:pt x="2947" y="13071"/>
                        <a:pt x="0" y="10124"/>
                        <a:pt x="0" y="6536"/>
                      </a:cubicBezTo>
                      <a:cubicBezTo>
                        <a:pt x="0" y="2948"/>
                        <a:pt x="2947" y="0"/>
                        <a:pt x="6536" y="0"/>
                      </a:cubicBezTo>
                      <a:lnTo>
                        <a:pt x="164540" y="0"/>
                      </a:lnTo>
                      <a:cubicBezTo>
                        <a:pt x="168129" y="0"/>
                        <a:pt x="171076" y="2948"/>
                        <a:pt x="171076" y="6536"/>
                      </a:cubicBezTo>
                      <a:cubicBezTo>
                        <a:pt x="171076" y="10124"/>
                        <a:pt x="168129" y="13071"/>
                        <a:pt x="164540" y="13071"/>
                      </a:cubicBezTo>
                      <a:close/>
                    </a:path>
                  </a:pathLst>
                </a:custGeom>
                <a:grpFill/>
                <a:ln w="3175" cap="flat">
                  <a:solidFill>
                    <a:schemeClr val="bg1"/>
                  </a:solidFill>
                  <a:prstDash val="solid"/>
                  <a:miter/>
                </a:ln>
              </p:spPr>
              <p:txBody>
                <a:bodyPr rtlCol="0" anchor="ctr"/>
                <a:lstStyle/>
                <a:p>
                  <a:endParaRPr lang="ru-RU"/>
                </a:p>
              </p:txBody>
            </p:sp>
            <p:sp>
              <p:nvSpPr>
                <p:cNvPr id="157" name="Полилиния: фигура 156">
                  <a:extLst>
                    <a:ext uri="{FF2B5EF4-FFF2-40B4-BE49-F238E27FC236}">
                      <a16:creationId xmlns:a16="http://schemas.microsoft.com/office/drawing/2014/main" id="{E0906E38-1E0B-48AD-9661-E758BCEA94A9}"/>
                    </a:ext>
                  </a:extLst>
                </p:cNvPr>
                <p:cNvSpPr/>
                <p:nvPr/>
              </p:nvSpPr>
              <p:spPr>
                <a:xfrm>
                  <a:off x="11308477" y="5017337"/>
                  <a:ext cx="36393" cy="13071"/>
                </a:xfrm>
                <a:custGeom>
                  <a:avLst/>
                  <a:gdLst>
                    <a:gd name="connsiteX0" fmla="*/ 29858 w 36393"/>
                    <a:gd name="connsiteY0" fmla="*/ 13071 h 13071"/>
                    <a:gd name="connsiteX1" fmla="*/ 6536 w 36393"/>
                    <a:gd name="connsiteY1" fmla="*/ 13071 h 13071"/>
                    <a:gd name="connsiteX2" fmla="*/ 0 w 36393"/>
                    <a:gd name="connsiteY2" fmla="*/ 6536 h 13071"/>
                    <a:gd name="connsiteX3" fmla="*/ 6536 w 36393"/>
                    <a:gd name="connsiteY3" fmla="*/ 0 h 13071"/>
                    <a:gd name="connsiteX4" fmla="*/ 29858 w 36393"/>
                    <a:gd name="connsiteY4" fmla="*/ 0 h 13071"/>
                    <a:gd name="connsiteX5" fmla="*/ 36393 w 36393"/>
                    <a:gd name="connsiteY5" fmla="*/ 6536 h 13071"/>
                    <a:gd name="connsiteX6" fmla="*/ 29858 w 36393"/>
                    <a:gd name="connsiteY6" fmla="*/ 13071 h 1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93" h="13071">
                      <a:moveTo>
                        <a:pt x="29858" y="13071"/>
                      </a:moveTo>
                      <a:lnTo>
                        <a:pt x="6536" y="13071"/>
                      </a:lnTo>
                      <a:cubicBezTo>
                        <a:pt x="2947" y="13071"/>
                        <a:pt x="0" y="10124"/>
                        <a:pt x="0" y="6536"/>
                      </a:cubicBezTo>
                      <a:cubicBezTo>
                        <a:pt x="0" y="2948"/>
                        <a:pt x="2947" y="0"/>
                        <a:pt x="6536" y="0"/>
                      </a:cubicBezTo>
                      <a:lnTo>
                        <a:pt x="29858" y="0"/>
                      </a:lnTo>
                      <a:cubicBezTo>
                        <a:pt x="33446" y="0"/>
                        <a:pt x="36393" y="2948"/>
                        <a:pt x="36393" y="6536"/>
                      </a:cubicBezTo>
                      <a:cubicBezTo>
                        <a:pt x="36393" y="10124"/>
                        <a:pt x="33446" y="13071"/>
                        <a:pt x="29858" y="13071"/>
                      </a:cubicBezTo>
                      <a:close/>
                    </a:path>
                  </a:pathLst>
                </a:custGeom>
                <a:grpFill/>
                <a:ln w="3175" cap="flat">
                  <a:solidFill>
                    <a:schemeClr val="bg1"/>
                  </a:solidFill>
                  <a:prstDash val="solid"/>
                  <a:miter/>
                </a:ln>
              </p:spPr>
              <p:txBody>
                <a:bodyPr rtlCol="0" anchor="ctr"/>
                <a:lstStyle/>
                <a:p>
                  <a:endParaRPr lang="ru-RU"/>
                </a:p>
              </p:txBody>
            </p:sp>
          </p:grpSp>
          <p:grpSp>
            <p:nvGrpSpPr>
              <p:cNvPr id="149" name="Рисунок 623">
                <a:extLst>
                  <a:ext uri="{FF2B5EF4-FFF2-40B4-BE49-F238E27FC236}">
                    <a16:creationId xmlns:a16="http://schemas.microsoft.com/office/drawing/2014/main" id="{F25C3796-3BCB-484E-9628-C20961175C09}"/>
                  </a:ext>
                </a:extLst>
              </p:cNvPr>
              <p:cNvGrpSpPr/>
              <p:nvPr/>
            </p:nvGrpSpPr>
            <p:grpSpPr>
              <a:xfrm>
                <a:off x="11308349" y="5072184"/>
                <a:ext cx="225666" cy="13070"/>
                <a:chOff x="11308349" y="5072184"/>
                <a:chExt cx="225666" cy="13070"/>
              </a:xfrm>
              <a:grpFill/>
            </p:grpSpPr>
            <p:sp>
              <p:nvSpPr>
                <p:cNvPr id="153" name="Полилиния: фигура 152">
                  <a:extLst>
                    <a:ext uri="{FF2B5EF4-FFF2-40B4-BE49-F238E27FC236}">
                      <a16:creationId xmlns:a16="http://schemas.microsoft.com/office/drawing/2014/main" id="{7790C184-4C8C-4A36-A3E6-900611F8F514}"/>
                    </a:ext>
                  </a:extLst>
                </p:cNvPr>
                <p:cNvSpPr/>
                <p:nvPr/>
              </p:nvSpPr>
              <p:spPr>
                <a:xfrm>
                  <a:off x="11308349" y="5072184"/>
                  <a:ext cx="93931" cy="13070"/>
                </a:xfrm>
                <a:custGeom>
                  <a:avLst/>
                  <a:gdLst>
                    <a:gd name="connsiteX0" fmla="*/ 87396 w 93931"/>
                    <a:gd name="connsiteY0" fmla="*/ 13071 h 13070"/>
                    <a:gd name="connsiteX1" fmla="*/ 6536 w 93931"/>
                    <a:gd name="connsiteY1" fmla="*/ 13071 h 13070"/>
                    <a:gd name="connsiteX2" fmla="*/ 0 w 93931"/>
                    <a:gd name="connsiteY2" fmla="*/ 6535 h 13070"/>
                    <a:gd name="connsiteX3" fmla="*/ 6536 w 93931"/>
                    <a:gd name="connsiteY3" fmla="*/ 0 h 13070"/>
                    <a:gd name="connsiteX4" fmla="*/ 87396 w 93931"/>
                    <a:gd name="connsiteY4" fmla="*/ 0 h 13070"/>
                    <a:gd name="connsiteX5" fmla="*/ 93932 w 93931"/>
                    <a:gd name="connsiteY5" fmla="*/ 6535 h 13070"/>
                    <a:gd name="connsiteX6" fmla="*/ 87396 w 93931"/>
                    <a:gd name="connsiteY6" fmla="*/ 13071 h 1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931" h="13070">
                      <a:moveTo>
                        <a:pt x="87396" y="13071"/>
                      </a:moveTo>
                      <a:lnTo>
                        <a:pt x="6536" y="13071"/>
                      </a:lnTo>
                      <a:cubicBezTo>
                        <a:pt x="2947" y="13071"/>
                        <a:pt x="0" y="10124"/>
                        <a:pt x="0" y="6535"/>
                      </a:cubicBezTo>
                      <a:cubicBezTo>
                        <a:pt x="0" y="2947"/>
                        <a:pt x="2947" y="0"/>
                        <a:pt x="6536" y="0"/>
                      </a:cubicBezTo>
                      <a:lnTo>
                        <a:pt x="87396" y="0"/>
                      </a:lnTo>
                      <a:cubicBezTo>
                        <a:pt x="90984" y="0"/>
                        <a:pt x="93932" y="2947"/>
                        <a:pt x="93932" y="6535"/>
                      </a:cubicBezTo>
                      <a:cubicBezTo>
                        <a:pt x="93932" y="10124"/>
                        <a:pt x="90984" y="13071"/>
                        <a:pt x="87396" y="13071"/>
                      </a:cubicBezTo>
                      <a:close/>
                    </a:path>
                  </a:pathLst>
                </a:custGeom>
                <a:grpFill/>
                <a:ln w="3175" cap="flat">
                  <a:solidFill>
                    <a:schemeClr val="bg1"/>
                  </a:solidFill>
                  <a:prstDash val="solid"/>
                  <a:miter/>
                </a:ln>
              </p:spPr>
              <p:txBody>
                <a:bodyPr rtlCol="0" anchor="ctr"/>
                <a:lstStyle/>
                <a:p>
                  <a:endParaRPr lang="ru-RU"/>
                </a:p>
              </p:txBody>
            </p:sp>
            <p:sp>
              <p:nvSpPr>
                <p:cNvPr id="154" name="Полилиния: фигура 153">
                  <a:extLst>
                    <a:ext uri="{FF2B5EF4-FFF2-40B4-BE49-F238E27FC236}">
                      <a16:creationId xmlns:a16="http://schemas.microsoft.com/office/drawing/2014/main" id="{C66D7F80-221D-4CEB-89CA-C013A5A2714F}"/>
                    </a:ext>
                  </a:extLst>
                </p:cNvPr>
                <p:cNvSpPr/>
                <p:nvPr/>
              </p:nvSpPr>
              <p:spPr>
                <a:xfrm>
                  <a:off x="11414711" y="5072184"/>
                  <a:ext cx="31524" cy="13070"/>
                </a:xfrm>
                <a:custGeom>
                  <a:avLst/>
                  <a:gdLst>
                    <a:gd name="connsiteX0" fmla="*/ 24989 w 31524"/>
                    <a:gd name="connsiteY0" fmla="*/ 13071 h 13070"/>
                    <a:gd name="connsiteX1" fmla="*/ 6536 w 31524"/>
                    <a:gd name="connsiteY1" fmla="*/ 13071 h 13070"/>
                    <a:gd name="connsiteX2" fmla="*/ 0 w 31524"/>
                    <a:gd name="connsiteY2" fmla="*/ 6535 h 13070"/>
                    <a:gd name="connsiteX3" fmla="*/ 6536 w 31524"/>
                    <a:gd name="connsiteY3" fmla="*/ 0 h 13070"/>
                    <a:gd name="connsiteX4" fmla="*/ 24989 w 31524"/>
                    <a:gd name="connsiteY4" fmla="*/ 0 h 13070"/>
                    <a:gd name="connsiteX5" fmla="*/ 31524 w 31524"/>
                    <a:gd name="connsiteY5" fmla="*/ 6535 h 13070"/>
                    <a:gd name="connsiteX6" fmla="*/ 24989 w 31524"/>
                    <a:gd name="connsiteY6" fmla="*/ 13071 h 1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4" h="13070">
                      <a:moveTo>
                        <a:pt x="24989" y="13071"/>
                      </a:moveTo>
                      <a:lnTo>
                        <a:pt x="6536" y="13071"/>
                      </a:lnTo>
                      <a:cubicBezTo>
                        <a:pt x="2947" y="13071"/>
                        <a:pt x="0" y="10124"/>
                        <a:pt x="0" y="6535"/>
                      </a:cubicBezTo>
                      <a:cubicBezTo>
                        <a:pt x="0" y="2947"/>
                        <a:pt x="2947" y="0"/>
                        <a:pt x="6536" y="0"/>
                      </a:cubicBezTo>
                      <a:lnTo>
                        <a:pt x="24989" y="0"/>
                      </a:lnTo>
                      <a:cubicBezTo>
                        <a:pt x="28577" y="0"/>
                        <a:pt x="31524" y="2947"/>
                        <a:pt x="31524" y="6535"/>
                      </a:cubicBezTo>
                      <a:cubicBezTo>
                        <a:pt x="31524" y="10124"/>
                        <a:pt x="28577" y="13071"/>
                        <a:pt x="24989" y="13071"/>
                      </a:cubicBezTo>
                      <a:close/>
                    </a:path>
                  </a:pathLst>
                </a:custGeom>
                <a:grpFill/>
                <a:ln w="3175" cap="flat">
                  <a:solidFill>
                    <a:schemeClr val="bg1"/>
                  </a:solidFill>
                  <a:prstDash val="solid"/>
                  <a:miter/>
                </a:ln>
              </p:spPr>
              <p:txBody>
                <a:bodyPr rtlCol="0" anchor="ctr"/>
                <a:lstStyle/>
                <a:p>
                  <a:endParaRPr lang="ru-RU"/>
                </a:p>
              </p:txBody>
            </p:sp>
            <p:sp>
              <p:nvSpPr>
                <p:cNvPr id="155" name="Полилиния: фигура 154">
                  <a:extLst>
                    <a:ext uri="{FF2B5EF4-FFF2-40B4-BE49-F238E27FC236}">
                      <a16:creationId xmlns:a16="http://schemas.microsoft.com/office/drawing/2014/main" id="{DE75229B-1A08-4365-8AA0-4C173E2632F4}"/>
                    </a:ext>
                  </a:extLst>
                </p:cNvPr>
                <p:cNvSpPr/>
                <p:nvPr/>
              </p:nvSpPr>
              <p:spPr>
                <a:xfrm>
                  <a:off x="11458793" y="5072184"/>
                  <a:ext cx="75222" cy="13070"/>
                </a:xfrm>
                <a:custGeom>
                  <a:avLst/>
                  <a:gdLst>
                    <a:gd name="connsiteX0" fmla="*/ 68687 w 75222"/>
                    <a:gd name="connsiteY0" fmla="*/ 13071 h 13070"/>
                    <a:gd name="connsiteX1" fmla="*/ 6536 w 75222"/>
                    <a:gd name="connsiteY1" fmla="*/ 13071 h 13070"/>
                    <a:gd name="connsiteX2" fmla="*/ 0 w 75222"/>
                    <a:gd name="connsiteY2" fmla="*/ 6535 h 13070"/>
                    <a:gd name="connsiteX3" fmla="*/ 6536 w 75222"/>
                    <a:gd name="connsiteY3" fmla="*/ 0 h 13070"/>
                    <a:gd name="connsiteX4" fmla="*/ 68687 w 75222"/>
                    <a:gd name="connsiteY4" fmla="*/ 0 h 13070"/>
                    <a:gd name="connsiteX5" fmla="*/ 75222 w 75222"/>
                    <a:gd name="connsiteY5" fmla="*/ 6535 h 13070"/>
                    <a:gd name="connsiteX6" fmla="*/ 68687 w 75222"/>
                    <a:gd name="connsiteY6" fmla="*/ 13071 h 1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222" h="13070">
                      <a:moveTo>
                        <a:pt x="68687" y="13071"/>
                      </a:moveTo>
                      <a:lnTo>
                        <a:pt x="6536" y="13071"/>
                      </a:lnTo>
                      <a:cubicBezTo>
                        <a:pt x="2947" y="13071"/>
                        <a:pt x="0" y="10124"/>
                        <a:pt x="0" y="6535"/>
                      </a:cubicBezTo>
                      <a:cubicBezTo>
                        <a:pt x="0" y="2947"/>
                        <a:pt x="2947" y="0"/>
                        <a:pt x="6536" y="0"/>
                      </a:cubicBezTo>
                      <a:lnTo>
                        <a:pt x="68687" y="0"/>
                      </a:lnTo>
                      <a:cubicBezTo>
                        <a:pt x="72275" y="0"/>
                        <a:pt x="75222" y="2947"/>
                        <a:pt x="75222" y="6535"/>
                      </a:cubicBezTo>
                      <a:cubicBezTo>
                        <a:pt x="75222" y="10124"/>
                        <a:pt x="72275" y="13071"/>
                        <a:pt x="68687" y="13071"/>
                      </a:cubicBezTo>
                      <a:close/>
                    </a:path>
                  </a:pathLst>
                </a:custGeom>
                <a:grpFill/>
                <a:ln w="3175" cap="flat">
                  <a:solidFill>
                    <a:schemeClr val="bg1"/>
                  </a:solidFill>
                  <a:prstDash val="solid"/>
                  <a:miter/>
                </a:ln>
              </p:spPr>
              <p:txBody>
                <a:bodyPr rtlCol="0" anchor="ctr"/>
                <a:lstStyle/>
                <a:p>
                  <a:endParaRPr lang="ru-RU"/>
                </a:p>
              </p:txBody>
            </p:sp>
          </p:grpSp>
          <p:grpSp>
            <p:nvGrpSpPr>
              <p:cNvPr id="150" name="Рисунок 623">
                <a:extLst>
                  <a:ext uri="{FF2B5EF4-FFF2-40B4-BE49-F238E27FC236}">
                    <a16:creationId xmlns:a16="http://schemas.microsoft.com/office/drawing/2014/main" id="{DAEB3BEE-390D-48AA-8A9E-33BBFC88737B}"/>
                  </a:ext>
                </a:extLst>
              </p:cNvPr>
              <p:cNvGrpSpPr/>
              <p:nvPr/>
            </p:nvGrpSpPr>
            <p:grpSpPr>
              <a:xfrm>
                <a:off x="11365118" y="5127031"/>
                <a:ext cx="168897" cy="13070"/>
                <a:chOff x="11365118" y="5127031"/>
                <a:chExt cx="168897" cy="13070"/>
              </a:xfrm>
              <a:grpFill/>
            </p:grpSpPr>
            <p:sp>
              <p:nvSpPr>
                <p:cNvPr id="151" name="Полилиния: фигура 150">
                  <a:extLst>
                    <a:ext uri="{FF2B5EF4-FFF2-40B4-BE49-F238E27FC236}">
                      <a16:creationId xmlns:a16="http://schemas.microsoft.com/office/drawing/2014/main" id="{61BF647B-BE9C-43C9-90D5-1C94D3E291EA}"/>
                    </a:ext>
                  </a:extLst>
                </p:cNvPr>
                <p:cNvSpPr/>
                <p:nvPr/>
              </p:nvSpPr>
              <p:spPr>
                <a:xfrm>
                  <a:off x="11502492" y="5127031"/>
                  <a:ext cx="31523" cy="13070"/>
                </a:xfrm>
                <a:custGeom>
                  <a:avLst/>
                  <a:gdLst>
                    <a:gd name="connsiteX0" fmla="*/ 24988 w 31523"/>
                    <a:gd name="connsiteY0" fmla="*/ 13071 h 13070"/>
                    <a:gd name="connsiteX1" fmla="*/ 6535 w 31523"/>
                    <a:gd name="connsiteY1" fmla="*/ 13071 h 13070"/>
                    <a:gd name="connsiteX2" fmla="*/ 0 w 31523"/>
                    <a:gd name="connsiteY2" fmla="*/ 6535 h 13070"/>
                    <a:gd name="connsiteX3" fmla="*/ 6535 w 31523"/>
                    <a:gd name="connsiteY3" fmla="*/ 0 h 13070"/>
                    <a:gd name="connsiteX4" fmla="*/ 24988 w 31523"/>
                    <a:gd name="connsiteY4" fmla="*/ 0 h 13070"/>
                    <a:gd name="connsiteX5" fmla="*/ 31524 w 31523"/>
                    <a:gd name="connsiteY5" fmla="*/ 6535 h 13070"/>
                    <a:gd name="connsiteX6" fmla="*/ 24988 w 31523"/>
                    <a:gd name="connsiteY6" fmla="*/ 13071 h 1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3" h="13070">
                      <a:moveTo>
                        <a:pt x="24988" y="13071"/>
                      </a:moveTo>
                      <a:lnTo>
                        <a:pt x="6535" y="13071"/>
                      </a:lnTo>
                      <a:cubicBezTo>
                        <a:pt x="2947" y="13071"/>
                        <a:pt x="0" y="10124"/>
                        <a:pt x="0" y="6535"/>
                      </a:cubicBezTo>
                      <a:cubicBezTo>
                        <a:pt x="0" y="2947"/>
                        <a:pt x="2947" y="0"/>
                        <a:pt x="6535" y="0"/>
                      </a:cubicBezTo>
                      <a:lnTo>
                        <a:pt x="24988" y="0"/>
                      </a:lnTo>
                      <a:cubicBezTo>
                        <a:pt x="28577" y="0"/>
                        <a:pt x="31524" y="2947"/>
                        <a:pt x="31524" y="6535"/>
                      </a:cubicBezTo>
                      <a:cubicBezTo>
                        <a:pt x="31524" y="10124"/>
                        <a:pt x="28577" y="13071"/>
                        <a:pt x="24988" y="13071"/>
                      </a:cubicBezTo>
                      <a:close/>
                    </a:path>
                  </a:pathLst>
                </a:custGeom>
                <a:grpFill/>
                <a:ln w="3175" cap="flat">
                  <a:solidFill>
                    <a:schemeClr val="bg1"/>
                  </a:solidFill>
                  <a:prstDash val="solid"/>
                  <a:miter/>
                </a:ln>
              </p:spPr>
              <p:txBody>
                <a:bodyPr rtlCol="0" anchor="ctr"/>
                <a:lstStyle/>
                <a:p>
                  <a:endParaRPr lang="ru-RU"/>
                </a:p>
              </p:txBody>
            </p:sp>
            <p:sp>
              <p:nvSpPr>
                <p:cNvPr id="152" name="Полилиния: фигура 151">
                  <a:extLst>
                    <a:ext uri="{FF2B5EF4-FFF2-40B4-BE49-F238E27FC236}">
                      <a16:creationId xmlns:a16="http://schemas.microsoft.com/office/drawing/2014/main" id="{415F2E04-D682-47FB-9E7F-D8922C50EE2A}"/>
                    </a:ext>
                  </a:extLst>
                </p:cNvPr>
                <p:cNvSpPr/>
                <p:nvPr/>
              </p:nvSpPr>
              <p:spPr>
                <a:xfrm>
                  <a:off x="11365118" y="5127031"/>
                  <a:ext cx="121739" cy="13070"/>
                </a:xfrm>
                <a:custGeom>
                  <a:avLst/>
                  <a:gdLst>
                    <a:gd name="connsiteX0" fmla="*/ 115204 w 121739"/>
                    <a:gd name="connsiteY0" fmla="*/ 13071 h 13070"/>
                    <a:gd name="connsiteX1" fmla="*/ 6536 w 121739"/>
                    <a:gd name="connsiteY1" fmla="*/ 13071 h 13070"/>
                    <a:gd name="connsiteX2" fmla="*/ 0 w 121739"/>
                    <a:gd name="connsiteY2" fmla="*/ 6535 h 13070"/>
                    <a:gd name="connsiteX3" fmla="*/ 6536 w 121739"/>
                    <a:gd name="connsiteY3" fmla="*/ 0 h 13070"/>
                    <a:gd name="connsiteX4" fmla="*/ 115204 w 121739"/>
                    <a:gd name="connsiteY4" fmla="*/ 0 h 13070"/>
                    <a:gd name="connsiteX5" fmla="*/ 121740 w 121739"/>
                    <a:gd name="connsiteY5" fmla="*/ 6535 h 13070"/>
                    <a:gd name="connsiteX6" fmla="*/ 115204 w 121739"/>
                    <a:gd name="connsiteY6" fmla="*/ 13071 h 1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739" h="13070">
                      <a:moveTo>
                        <a:pt x="115204" y="13071"/>
                      </a:moveTo>
                      <a:lnTo>
                        <a:pt x="6536" y="13071"/>
                      </a:lnTo>
                      <a:cubicBezTo>
                        <a:pt x="2947" y="13071"/>
                        <a:pt x="0" y="10124"/>
                        <a:pt x="0" y="6535"/>
                      </a:cubicBezTo>
                      <a:cubicBezTo>
                        <a:pt x="0" y="2947"/>
                        <a:pt x="2947" y="0"/>
                        <a:pt x="6536" y="0"/>
                      </a:cubicBezTo>
                      <a:lnTo>
                        <a:pt x="115204" y="0"/>
                      </a:lnTo>
                      <a:cubicBezTo>
                        <a:pt x="118792" y="0"/>
                        <a:pt x="121740" y="2947"/>
                        <a:pt x="121740" y="6535"/>
                      </a:cubicBezTo>
                      <a:cubicBezTo>
                        <a:pt x="121740" y="10124"/>
                        <a:pt x="118792" y="13071"/>
                        <a:pt x="115204" y="13071"/>
                      </a:cubicBezTo>
                      <a:close/>
                    </a:path>
                  </a:pathLst>
                </a:custGeom>
                <a:grpFill/>
                <a:ln w="3175" cap="flat">
                  <a:solidFill>
                    <a:schemeClr val="bg1"/>
                  </a:solidFill>
                  <a:prstDash val="solid"/>
                  <a:miter/>
                </a:ln>
              </p:spPr>
              <p:txBody>
                <a:bodyPr rtlCol="0" anchor="ctr"/>
                <a:lstStyle/>
                <a:p>
                  <a:endParaRPr lang="ru-RU"/>
                </a:p>
              </p:txBody>
            </p:sp>
          </p:grpSp>
        </p:grpSp>
      </p:grpSp>
      <p:sp>
        <p:nvSpPr>
          <p:cNvPr id="164" name="Полилиния: фигура 163">
            <a:extLst>
              <a:ext uri="{FF2B5EF4-FFF2-40B4-BE49-F238E27FC236}">
                <a16:creationId xmlns:a16="http://schemas.microsoft.com/office/drawing/2014/main" id="{1CDDEF3A-F4CF-4AB1-BB05-329B67DA97EB}"/>
              </a:ext>
            </a:extLst>
          </p:cNvPr>
          <p:cNvSpPr/>
          <p:nvPr/>
        </p:nvSpPr>
        <p:spPr>
          <a:xfrm>
            <a:off x="11365739" y="2952000"/>
            <a:ext cx="214970" cy="202076"/>
          </a:xfrm>
          <a:custGeom>
            <a:avLst/>
            <a:gdLst>
              <a:gd name="connsiteX0" fmla="*/ 116563 w 300450"/>
              <a:gd name="connsiteY0" fmla="*/ 282429 h 282429"/>
              <a:gd name="connsiteX1" fmla="*/ 112233 w 300450"/>
              <a:gd name="connsiteY1" fmla="*/ 280893 h 282429"/>
              <a:gd name="connsiteX2" fmla="*/ 2865 w 300450"/>
              <a:gd name="connsiteY2" fmla="*/ 197225 h 282429"/>
              <a:gd name="connsiteX3" fmla="*/ 71 w 300450"/>
              <a:gd name="connsiteY3" fmla="*/ 192476 h 282429"/>
              <a:gd name="connsiteX4" fmla="*/ 1468 w 300450"/>
              <a:gd name="connsiteY4" fmla="*/ 187169 h 282429"/>
              <a:gd name="connsiteX5" fmla="*/ 38622 w 300450"/>
              <a:gd name="connsiteY5" fmla="*/ 138561 h 282429"/>
              <a:gd name="connsiteX6" fmla="*/ 43371 w 300450"/>
              <a:gd name="connsiteY6" fmla="*/ 135767 h 282429"/>
              <a:gd name="connsiteX7" fmla="*/ 43790 w 300450"/>
              <a:gd name="connsiteY7" fmla="*/ 135767 h 282429"/>
              <a:gd name="connsiteX8" fmla="*/ 48679 w 300450"/>
              <a:gd name="connsiteY8" fmla="*/ 137164 h 282429"/>
              <a:gd name="connsiteX9" fmla="*/ 103712 w 300450"/>
              <a:gd name="connsiteY9" fmla="*/ 179347 h 282429"/>
              <a:gd name="connsiteX10" fmla="*/ 238921 w 300450"/>
              <a:gd name="connsiteY10" fmla="*/ 2794 h 282429"/>
              <a:gd name="connsiteX11" fmla="*/ 244648 w 300450"/>
              <a:gd name="connsiteY11" fmla="*/ 0 h 282429"/>
              <a:gd name="connsiteX12" fmla="*/ 248978 w 300450"/>
              <a:gd name="connsiteY12" fmla="*/ 1536 h 282429"/>
              <a:gd name="connsiteX13" fmla="*/ 297586 w 300450"/>
              <a:gd name="connsiteY13" fmla="*/ 38691 h 282429"/>
              <a:gd name="connsiteX14" fmla="*/ 300379 w 300450"/>
              <a:gd name="connsiteY14" fmla="*/ 43440 h 282429"/>
              <a:gd name="connsiteX15" fmla="*/ 298982 w 300450"/>
              <a:gd name="connsiteY15" fmla="*/ 48748 h 282429"/>
              <a:gd name="connsiteX16" fmla="*/ 122290 w 300450"/>
              <a:gd name="connsiteY16" fmla="*/ 279636 h 282429"/>
              <a:gd name="connsiteX17" fmla="*/ 117541 w 300450"/>
              <a:gd name="connsiteY17" fmla="*/ 282429 h 282429"/>
              <a:gd name="connsiteX18" fmla="*/ 116563 w 300450"/>
              <a:gd name="connsiteY18" fmla="*/ 282429 h 282429"/>
              <a:gd name="connsiteX19" fmla="*/ 17252 w 300450"/>
              <a:gd name="connsiteY19" fmla="*/ 190242 h 282429"/>
              <a:gd name="connsiteX20" fmla="*/ 115166 w 300450"/>
              <a:gd name="connsiteY20" fmla="*/ 265249 h 282429"/>
              <a:gd name="connsiteX21" fmla="*/ 283199 w 300450"/>
              <a:gd name="connsiteY21" fmla="*/ 45814 h 282429"/>
              <a:gd name="connsiteX22" fmla="*/ 246044 w 300450"/>
              <a:gd name="connsiteY22" fmla="*/ 17320 h 282429"/>
              <a:gd name="connsiteX23" fmla="*/ 110836 w 300450"/>
              <a:gd name="connsiteY23" fmla="*/ 193873 h 282429"/>
              <a:gd name="connsiteX24" fmla="*/ 106087 w 300450"/>
              <a:gd name="connsiteY24" fmla="*/ 196667 h 282429"/>
              <a:gd name="connsiteX25" fmla="*/ 105668 w 300450"/>
              <a:gd name="connsiteY25" fmla="*/ 196667 h 282429"/>
              <a:gd name="connsiteX26" fmla="*/ 100779 w 300450"/>
              <a:gd name="connsiteY26" fmla="*/ 195270 h 282429"/>
              <a:gd name="connsiteX27" fmla="*/ 45746 w 300450"/>
              <a:gd name="connsiteY27" fmla="*/ 153087 h 282429"/>
              <a:gd name="connsiteX28" fmla="*/ 17252 w 300450"/>
              <a:gd name="connsiteY28" fmla="*/ 190242 h 28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0450" h="282429">
                <a:moveTo>
                  <a:pt x="116563" y="282429"/>
                </a:moveTo>
                <a:cubicBezTo>
                  <a:pt x="115026" y="282429"/>
                  <a:pt x="113490" y="281870"/>
                  <a:pt x="112233" y="280893"/>
                </a:cubicBezTo>
                <a:lnTo>
                  <a:pt x="2865" y="197225"/>
                </a:lnTo>
                <a:cubicBezTo>
                  <a:pt x="1328" y="196108"/>
                  <a:pt x="350" y="194432"/>
                  <a:pt x="71" y="192476"/>
                </a:cubicBezTo>
                <a:cubicBezTo>
                  <a:pt x="-208" y="190521"/>
                  <a:pt x="350" y="188705"/>
                  <a:pt x="1468" y="187169"/>
                </a:cubicBezTo>
                <a:lnTo>
                  <a:pt x="38622" y="138561"/>
                </a:lnTo>
                <a:cubicBezTo>
                  <a:pt x="39740" y="137024"/>
                  <a:pt x="41416" y="136046"/>
                  <a:pt x="43371" y="135767"/>
                </a:cubicBezTo>
                <a:cubicBezTo>
                  <a:pt x="43511" y="135767"/>
                  <a:pt x="43651" y="135767"/>
                  <a:pt x="43790" y="135767"/>
                </a:cubicBezTo>
                <a:cubicBezTo>
                  <a:pt x="46025" y="135767"/>
                  <a:pt x="47562" y="136326"/>
                  <a:pt x="48679" y="137164"/>
                </a:cubicBezTo>
                <a:lnTo>
                  <a:pt x="103712" y="179347"/>
                </a:lnTo>
                <a:lnTo>
                  <a:pt x="238921" y="2794"/>
                </a:lnTo>
                <a:cubicBezTo>
                  <a:pt x="240318" y="978"/>
                  <a:pt x="242413" y="0"/>
                  <a:pt x="244648" y="0"/>
                </a:cubicBezTo>
                <a:cubicBezTo>
                  <a:pt x="246184" y="0"/>
                  <a:pt x="247721" y="559"/>
                  <a:pt x="248978" y="1536"/>
                </a:cubicBezTo>
                <a:lnTo>
                  <a:pt x="297586" y="38691"/>
                </a:lnTo>
                <a:cubicBezTo>
                  <a:pt x="299122" y="39808"/>
                  <a:pt x="300100" y="41624"/>
                  <a:pt x="300379" y="43440"/>
                </a:cubicBezTo>
                <a:cubicBezTo>
                  <a:pt x="300658" y="45256"/>
                  <a:pt x="300100" y="47211"/>
                  <a:pt x="298982" y="48748"/>
                </a:cubicBezTo>
                <a:lnTo>
                  <a:pt x="122290" y="279636"/>
                </a:lnTo>
                <a:cubicBezTo>
                  <a:pt x="121172" y="281172"/>
                  <a:pt x="119496" y="282150"/>
                  <a:pt x="117541" y="282429"/>
                </a:cubicBezTo>
                <a:lnTo>
                  <a:pt x="116563" y="282429"/>
                </a:lnTo>
                <a:close/>
                <a:moveTo>
                  <a:pt x="17252" y="190242"/>
                </a:moveTo>
                <a:lnTo>
                  <a:pt x="115166" y="265249"/>
                </a:lnTo>
                <a:lnTo>
                  <a:pt x="283199" y="45814"/>
                </a:lnTo>
                <a:lnTo>
                  <a:pt x="246044" y="17320"/>
                </a:lnTo>
                <a:lnTo>
                  <a:pt x="110836" y="193873"/>
                </a:lnTo>
                <a:cubicBezTo>
                  <a:pt x="109718" y="195410"/>
                  <a:pt x="108042" y="196387"/>
                  <a:pt x="106087" y="196667"/>
                </a:cubicBezTo>
                <a:cubicBezTo>
                  <a:pt x="105947" y="196667"/>
                  <a:pt x="105808" y="196667"/>
                  <a:pt x="105668" y="196667"/>
                </a:cubicBezTo>
                <a:cubicBezTo>
                  <a:pt x="103433" y="196667"/>
                  <a:pt x="101897" y="196108"/>
                  <a:pt x="100779" y="195270"/>
                </a:cubicBezTo>
                <a:lnTo>
                  <a:pt x="45746" y="153087"/>
                </a:lnTo>
                <a:lnTo>
                  <a:pt x="17252" y="190242"/>
                </a:lnTo>
                <a:close/>
              </a:path>
            </a:pathLst>
          </a:custGeom>
          <a:solidFill>
            <a:schemeClr val="bg1"/>
          </a:solidFill>
          <a:ln w="6350" cap="flat">
            <a:solidFill>
              <a:schemeClr val="bg1"/>
            </a:solidFill>
            <a:prstDash val="solid"/>
            <a:miter/>
          </a:ln>
        </p:spPr>
        <p:txBody>
          <a:bodyPr rtlCol="0" anchor="ctr"/>
          <a:lstStyle/>
          <a:p>
            <a:endParaRPr lang="ru-RU"/>
          </a:p>
        </p:txBody>
      </p:sp>
      <p:cxnSp>
        <p:nvCxnSpPr>
          <p:cNvPr id="165" name="Прямая соединительная линия 164">
            <a:extLst>
              <a:ext uri="{FF2B5EF4-FFF2-40B4-BE49-F238E27FC236}">
                <a16:creationId xmlns:a16="http://schemas.microsoft.com/office/drawing/2014/main" id="{CE5107AF-CD31-4447-943D-DBB928A3425D}"/>
              </a:ext>
            </a:extLst>
          </p:cNvPr>
          <p:cNvCxnSpPr>
            <a:cxnSpLocks/>
          </p:cNvCxnSpPr>
          <p:nvPr/>
        </p:nvCxnSpPr>
        <p:spPr>
          <a:xfrm>
            <a:off x="1425640" y="3357000"/>
            <a:ext cx="0" cy="28278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7" name="Прямая соединительная линия 166">
            <a:extLst>
              <a:ext uri="{FF2B5EF4-FFF2-40B4-BE49-F238E27FC236}">
                <a16:creationId xmlns:a16="http://schemas.microsoft.com/office/drawing/2014/main" id="{3E86341B-5838-4011-87B4-67DEBEDCC69D}"/>
              </a:ext>
            </a:extLst>
          </p:cNvPr>
          <p:cNvCxnSpPr>
            <a:cxnSpLocks/>
          </p:cNvCxnSpPr>
          <p:nvPr/>
        </p:nvCxnSpPr>
        <p:spPr>
          <a:xfrm>
            <a:off x="3988840" y="4305600"/>
            <a:ext cx="0" cy="18792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9" name="Прямая соединительная линия 168">
            <a:extLst>
              <a:ext uri="{FF2B5EF4-FFF2-40B4-BE49-F238E27FC236}">
                <a16:creationId xmlns:a16="http://schemas.microsoft.com/office/drawing/2014/main" id="{46D51A70-68B2-4254-BB54-99C4F4B2E6EF}"/>
              </a:ext>
            </a:extLst>
          </p:cNvPr>
          <p:cNvCxnSpPr>
            <a:cxnSpLocks/>
          </p:cNvCxnSpPr>
          <p:nvPr/>
        </p:nvCxnSpPr>
        <p:spPr>
          <a:xfrm>
            <a:off x="6300040" y="6069600"/>
            <a:ext cx="0" cy="1152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Прямая соединительная линия 170">
            <a:extLst>
              <a:ext uri="{FF2B5EF4-FFF2-40B4-BE49-F238E27FC236}">
                <a16:creationId xmlns:a16="http://schemas.microsoft.com/office/drawing/2014/main" id="{25DCC78D-3C03-4A23-8B40-924E9622B7C8}"/>
              </a:ext>
            </a:extLst>
          </p:cNvPr>
          <p:cNvCxnSpPr>
            <a:cxnSpLocks/>
          </p:cNvCxnSpPr>
          <p:nvPr/>
        </p:nvCxnSpPr>
        <p:spPr>
          <a:xfrm>
            <a:off x="8170228" y="4946400"/>
            <a:ext cx="0" cy="12384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3" name="Прямая соединительная линия 172">
            <a:extLst>
              <a:ext uri="{FF2B5EF4-FFF2-40B4-BE49-F238E27FC236}">
                <a16:creationId xmlns:a16="http://schemas.microsoft.com/office/drawing/2014/main" id="{50BAFFF5-9172-4CF0-8A25-FAFC8F376E82}"/>
              </a:ext>
            </a:extLst>
          </p:cNvPr>
          <p:cNvCxnSpPr>
            <a:cxnSpLocks/>
          </p:cNvCxnSpPr>
          <p:nvPr/>
        </p:nvCxnSpPr>
        <p:spPr>
          <a:xfrm>
            <a:off x="9387028" y="3945600"/>
            <a:ext cx="0" cy="22392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9" name="Прямая соединительная линия 178">
            <a:extLst>
              <a:ext uri="{FF2B5EF4-FFF2-40B4-BE49-F238E27FC236}">
                <a16:creationId xmlns:a16="http://schemas.microsoft.com/office/drawing/2014/main" id="{2B59DE8D-C9CA-4EF9-B0A5-64A6AF675D6A}"/>
              </a:ext>
            </a:extLst>
          </p:cNvPr>
          <p:cNvCxnSpPr>
            <a:cxnSpLocks/>
          </p:cNvCxnSpPr>
          <p:nvPr/>
        </p:nvCxnSpPr>
        <p:spPr>
          <a:xfrm>
            <a:off x="11467828" y="3369600"/>
            <a:ext cx="0" cy="2815200"/>
          </a:xfrm>
          <a:prstGeom prst="line">
            <a:avLst/>
          </a:prstGeom>
          <a:ln cap="rnd">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873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Полилиния: фигура 33">
            <a:extLst>
              <a:ext uri="{FF2B5EF4-FFF2-40B4-BE49-F238E27FC236}">
                <a16:creationId xmlns:a16="http://schemas.microsoft.com/office/drawing/2014/main" id="{F4314EDF-687A-42D5-8761-570BA3A69CF5}"/>
              </a:ext>
            </a:extLst>
          </p:cNvPr>
          <p:cNvSpPr/>
          <p:nvPr/>
        </p:nvSpPr>
        <p:spPr>
          <a:xfrm>
            <a:off x="-72571" y="1582057"/>
            <a:ext cx="12380685" cy="4861403"/>
          </a:xfrm>
          <a:custGeom>
            <a:avLst/>
            <a:gdLst>
              <a:gd name="connsiteX0" fmla="*/ 0 w 12380685"/>
              <a:gd name="connsiteY0" fmla="*/ 0 h 4861403"/>
              <a:gd name="connsiteX1" fmla="*/ 1538514 w 12380685"/>
              <a:gd name="connsiteY1" fmla="*/ 478972 h 4861403"/>
              <a:gd name="connsiteX2" fmla="*/ 2423885 w 12380685"/>
              <a:gd name="connsiteY2" fmla="*/ 1625600 h 4861403"/>
              <a:gd name="connsiteX3" fmla="*/ 1611085 w 12380685"/>
              <a:gd name="connsiteY3" fmla="*/ 3193143 h 4861403"/>
              <a:gd name="connsiteX4" fmla="*/ 1944914 w 12380685"/>
              <a:gd name="connsiteY4" fmla="*/ 4586514 h 4861403"/>
              <a:gd name="connsiteX5" fmla="*/ 3585028 w 12380685"/>
              <a:gd name="connsiteY5" fmla="*/ 4818743 h 4861403"/>
              <a:gd name="connsiteX6" fmla="*/ 5080000 w 12380685"/>
              <a:gd name="connsiteY6" fmla="*/ 4020457 h 4861403"/>
              <a:gd name="connsiteX7" fmla="*/ 6299200 w 12380685"/>
              <a:gd name="connsiteY7" fmla="*/ 2815772 h 4861403"/>
              <a:gd name="connsiteX8" fmla="*/ 6792685 w 12380685"/>
              <a:gd name="connsiteY8" fmla="*/ 1451429 h 4861403"/>
              <a:gd name="connsiteX9" fmla="*/ 7199085 w 12380685"/>
              <a:gd name="connsiteY9" fmla="*/ 275772 h 4861403"/>
              <a:gd name="connsiteX10" fmla="*/ 8534400 w 12380685"/>
              <a:gd name="connsiteY10" fmla="*/ 217714 h 4861403"/>
              <a:gd name="connsiteX11" fmla="*/ 9782628 w 12380685"/>
              <a:gd name="connsiteY11" fmla="*/ 1291772 h 4861403"/>
              <a:gd name="connsiteX12" fmla="*/ 10116457 w 12380685"/>
              <a:gd name="connsiteY12" fmla="*/ 2917372 h 4861403"/>
              <a:gd name="connsiteX13" fmla="*/ 10697028 w 12380685"/>
              <a:gd name="connsiteY13" fmla="*/ 3643086 h 4861403"/>
              <a:gd name="connsiteX14" fmla="*/ 12380685 w 12380685"/>
              <a:gd name="connsiteY14" fmla="*/ 3701143 h 486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0685" h="4861403">
                <a:moveTo>
                  <a:pt x="0" y="0"/>
                </a:moveTo>
                <a:cubicBezTo>
                  <a:pt x="567266" y="104019"/>
                  <a:pt x="1134533" y="208039"/>
                  <a:pt x="1538514" y="478972"/>
                </a:cubicBezTo>
                <a:cubicBezTo>
                  <a:pt x="1942495" y="749905"/>
                  <a:pt x="2411790" y="1173238"/>
                  <a:pt x="2423885" y="1625600"/>
                </a:cubicBezTo>
                <a:cubicBezTo>
                  <a:pt x="2435980" y="2077962"/>
                  <a:pt x="1690914" y="2699657"/>
                  <a:pt x="1611085" y="3193143"/>
                </a:cubicBezTo>
                <a:cubicBezTo>
                  <a:pt x="1531257" y="3686629"/>
                  <a:pt x="1615923" y="4315581"/>
                  <a:pt x="1944914" y="4586514"/>
                </a:cubicBezTo>
                <a:cubicBezTo>
                  <a:pt x="2273905" y="4857447"/>
                  <a:pt x="3062514" y="4913086"/>
                  <a:pt x="3585028" y="4818743"/>
                </a:cubicBezTo>
                <a:cubicBezTo>
                  <a:pt x="4107542" y="4724400"/>
                  <a:pt x="4627638" y="4354286"/>
                  <a:pt x="5080000" y="4020457"/>
                </a:cubicBezTo>
                <a:cubicBezTo>
                  <a:pt x="5532362" y="3686629"/>
                  <a:pt x="6013753" y="3243943"/>
                  <a:pt x="6299200" y="2815772"/>
                </a:cubicBezTo>
                <a:cubicBezTo>
                  <a:pt x="6584648" y="2387601"/>
                  <a:pt x="6642704" y="1874762"/>
                  <a:pt x="6792685" y="1451429"/>
                </a:cubicBezTo>
                <a:cubicBezTo>
                  <a:pt x="6942666" y="1028096"/>
                  <a:pt x="6908799" y="481391"/>
                  <a:pt x="7199085" y="275772"/>
                </a:cubicBezTo>
                <a:cubicBezTo>
                  <a:pt x="7489371" y="70153"/>
                  <a:pt x="8103810" y="48381"/>
                  <a:pt x="8534400" y="217714"/>
                </a:cubicBezTo>
                <a:cubicBezTo>
                  <a:pt x="8964990" y="387047"/>
                  <a:pt x="9518952" y="841829"/>
                  <a:pt x="9782628" y="1291772"/>
                </a:cubicBezTo>
                <a:cubicBezTo>
                  <a:pt x="10046304" y="1741715"/>
                  <a:pt x="9964057" y="2525486"/>
                  <a:pt x="10116457" y="2917372"/>
                </a:cubicBezTo>
                <a:cubicBezTo>
                  <a:pt x="10268857" y="3309258"/>
                  <a:pt x="10319657" y="3512457"/>
                  <a:pt x="10697028" y="3643086"/>
                </a:cubicBezTo>
                <a:cubicBezTo>
                  <a:pt x="11074399" y="3773715"/>
                  <a:pt x="11727542" y="3737429"/>
                  <a:pt x="12380685" y="3701143"/>
                </a:cubicBezTo>
              </a:path>
            </a:pathLst>
          </a:custGeom>
          <a:noFill/>
          <a:ln w="254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a:extLst>
              <a:ext uri="{FF2B5EF4-FFF2-40B4-BE49-F238E27FC236}">
                <a16:creationId xmlns:a16="http://schemas.microsoft.com/office/drawing/2014/main" id="{38897737-3A08-4692-9240-C949317FE60B}"/>
              </a:ext>
            </a:extLst>
          </p:cNvPr>
          <p:cNvSpPr>
            <a:spLocks noGrp="1"/>
          </p:cNvSpPr>
          <p:nvPr>
            <p:ph type="title"/>
          </p:nvPr>
        </p:nvSpPr>
        <p:spPr>
          <a:xfrm>
            <a:off x="491864" y="315020"/>
            <a:ext cx="11166196" cy="695449"/>
          </a:xfrm>
        </p:spPr>
        <p:txBody>
          <a:bodyPr vert="horz" lIns="0" tIns="45720" rIns="91440" bIns="45720" rtlCol="0" anchor="t">
            <a:normAutofit/>
          </a:bodyPr>
          <a:lstStyle/>
          <a:p>
            <a:r>
              <a:rPr lang="ru-RU" sz="2800" b="0"/>
              <a:t>Возможное минное поле: как избежать ошибок </a:t>
            </a:r>
          </a:p>
        </p:txBody>
      </p:sp>
      <p:pic>
        <p:nvPicPr>
          <p:cNvPr id="40" name="Рисунок 39">
            <a:extLst>
              <a:ext uri="{FF2B5EF4-FFF2-40B4-BE49-F238E27FC236}">
                <a16:creationId xmlns:a16="http://schemas.microsoft.com/office/drawing/2014/main" id="{39299D88-2733-42DE-B5F6-8C6CEDF836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73476" y="4846369"/>
            <a:ext cx="2104047" cy="1718305"/>
          </a:xfrm>
          <a:prstGeom prst="rect">
            <a:avLst/>
          </a:prstGeom>
        </p:spPr>
      </p:pic>
      <p:grpSp>
        <p:nvGrpSpPr>
          <p:cNvPr id="116" name="Группа 115">
            <a:extLst>
              <a:ext uri="{FF2B5EF4-FFF2-40B4-BE49-F238E27FC236}">
                <a16:creationId xmlns:a16="http://schemas.microsoft.com/office/drawing/2014/main" id="{C45601A9-C40E-4150-A8A7-DB7DDF73A4FF}"/>
              </a:ext>
            </a:extLst>
          </p:cNvPr>
          <p:cNvGrpSpPr/>
          <p:nvPr/>
        </p:nvGrpSpPr>
        <p:grpSpPr>
          <a:xfrm>
            <a:off x="956626" y="4137238"/>
            <a:ext cx="3000413" cy="1415417"/>
            <a:chOff x="956626" y="4137238"/>
            <a:chExt cx="3000413" cy="1415417"/>
          </a:xfrm>
        </p:grpSpPr>
        <p:sp>
          <p:nvSpPr>
            <p:cNvPr id="5" name="TextBox 4">
              <a:extLst>
                <a:ext uri="{FF2B5EF4-FFF2-40B4-BE49-F238E27FC236}">
                  <a16:creationId xmlns:a16="http://schemas.microsoft.com/office/drawing/2014/main" id="{E2C82E03-C5BA-4CAD-A479-AC2A6CB3F64E}"/>
                </a:ext>
              </a:extLst>
            </p:cNvPr>
            <p:cNvSpPr txBox="1"/>
            <p:nvPr/>
          </p:nvSpPr>
          <p:spPr>
            <a:xfrm>
              <a:off x="2193539" y="4584921"/>
              <a:ext cx="1763500" cy="584775"/>
            </a:xfrm>
            <a:prstGeom prst="rect">
              <a:avLst/>
            </a:prstGeom>
            <a:noFill/>
          </p:spPr>
          <p:txBody>
            <a:bodyPr wrap="square">
              <a:spAutoFit/>
            </a:bodyPr>
            <a:lstStyle/>
            <a:p>
              <a:pPr algn="l"/>
              <a:r>
                <a:rPr lang="ru-RU" sz="1600" i="0">
                  <a:solidFill>
                    <a:srgbClr val="222222"/>
                  </a:solidFill>
                  <a:effectLst/>
                  <a:latin typeface="+mj-lt"/>
                </a:rPr>
                <a:t>Не заданы бизнес-цели</a:t>
              </a:r>
            </a:p>
          </p:txBody>
        </p:sp>
        <p:grpSp>
          <p:nvGrpSpPr>
            <p:cNvPr id="19" name="Группа 18">
              <a:extLst>
                <a:ext uri="{FF2B5EF4-FFF2-40B4-BE49-F238E27FC236}">
                  <a16:creationId xmlns:a16="http://schemas.microsoft.com/office/drawing/2014/main" id="{D9E2FD1F-BE0F-4227-B199-0648AE0EB58D}"/>
                </a:ext>
              </a:extLst>
            </p:cNvPr>
            <p:cNvGrpSpPr/>
            <p:nvPr/>
          </p:nvGrpSpPr>
          <p:grpSpPr>
            <a:xfrm>
              <a:off x="956626" y="4215895"/>
              <a:ext cx="1268208" cy="1336760"/>
              <a:chOff x="437375" y="1216076"/>
              <a:chExt cx="1372000" cy="1446162"/>
            </a:xfrm>
          </p:grpSpPr>
          <p:pic>
            <p:nvPicPr>
              <p:cNvPr id="20" name="Рисунок 19">
                <a:extLst>
                  <a:ext uri="{FF2B5EF4-FFF2-40B4-BE49-F238E27FC236}">
                    <a16:creationId xmlns:a16="http://schemas.microsoft.com/office/drawing/2014/main" id="{547FF513-4E34-4D0C-B4AE-C566275375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21" name="TextBox 20">
                <a:extLst>
                  <a:ext uri="{FF2B5EF4-FFF2-40B4-BE49-F238E27FC236}">
                    <a16:creationId xmlns:a16="http://schemas.microsoft.com/office/drawing/2014/main" id="{98A25DA3-4B1C-41CB-94A1-3CE10F6D729E}"/>
                  </a:ext>
                </a:extLst>
              </p:cNvPr>
              <p:cNvSpPr txBox="1"/>
              <p:nvPr/>
            </p:nvSpPr>
            <p:spPr>
              <a:xfrm>
                <a:off x="946313" y="1708323"/>
                <a:ext cx="354122" cy="432855"/>
              </a:xfrm>
              <a:prstGeom prst="rect">
                <a:avLst/>
              </a:prstGeom>
              <a:noFill/>
            </p:spPr>
            <p:txBody>
              <a:bodyPr wrap="none" rtlCol="0">
                <a:spAutoFit/>
              </a:bodyPr>
              <a:lstStyle/>
              <a:p>
                <a:pPr algn="ctr"/>
                <a:r>
                  <a:rPr lang="ru-RU" sz="2000">
                    <a:solidFill>
                      <a:schemeClr val="bg1"/>
                    </a:solidFill>
                    <a:latin typeface="+mj-lt"/>
                  </a:rPr>
                  <a:t>3</a:t>
                </a:r>
              </a:p>
            </p:txBody>
          </p:sp>
        </p:grpSp>
        <p:grpSp>
          <p:nvGrpSpPr>
            <p:cNvPr id="41" name="Группа 40">
              <a:extLst>
                <a:ext uri="{FF2B5EF4-FFF2-40B4-BE49-F238E27FC236}">
                  <a16:creationId xmlns:a16="http://schemas.microsoft.com/office/drawing/2014/main" id="{DBA9644A-51BA-4307-AD5A-4880E20E006A}"/>
                </a:ext>
              </a:extLst>
            </p:cNvPr>
            <p:cNvGrpSpPr/>
            <p:nvPr/>
          </p:nvGrpSpPr>
          <p:grpSpPr>
            <a:xfrm>
              <a:off x="2297837" y="4137238"/>
              <a:ext cx="450851" cy="463551"/>
              <a:chOff x="2341568" y="2841629"/>
              <a:chExt cx="450851" cy="463551"/>
            </a:xfrm>
            <a:solidFill>
              <a:schemeClr val="accent6"/>
            </a:solidFill>
          </p:grpSpPr>
          <p:sp>
            <p:nvSpPr>
              <p:cNvPr id="42" name="Freeform 27">
                <a:extLst>
                  <a:ext uri="{FF2B5EF4-FFF2-40B4-BE49-F238E27FC236}">
                    <a16:creationId xmlns:a16="http://schemas.microsoft.com/office/drawing/2014/main" id="{BAE9FD71-D762-442E-A27A-CCCC3768BD35}"/>
                  </a:ext>
                </a:extLst>
              </p:cNvPr>
              <p:cNvSpPr>
                <a:spLocks/>
              </p:cNvSpPr>
              <p:nvPr/>
            </p:nvSpPr>
            <p:spPr bwMode="auto">
              <a:xfrm>
                <a:off x="2470156" y="3006730"/>
                <a:ext cx="79375" cy="125413"/>
              </a:xfrm>
              <a:custGeom>
                <a:avLst/>
                <a:gdLst>
                  <a:gd name="T0" fmla="*/ 9 w 34"/>
                  <a:gd name="T1" fmla="*/ 6 h 53"/>
                  <a:gd name="T2" fmla="*/ 10 w 34"/>
                  <a:gd name="T3" fmla="*/ 6 h 53"/>
                  <a:gd name="T4" fmla="*/ 11 w 34"/>
                  <a:gd name="T5" fmla="*/ 3 h 53"/>
                  <a:gd name="T6" fmla="*/ 8 w 34"/>
                  <a:gd name="T7" fmla="*/ 1 h 53"/>
                  <a:gd name="T8" fmla="*/ 7 w 34"/>
                  <a:gd name="T9" fmla="*/ 1 h 53"/>
                  <a:gd name="T10" fmla="*/ 1 w 34"/>
                  <a:gd name="T11" fmla="*/ 14 h 53"/>
                  <a:gd name="T12" fmla="*/ 5 w 34"/>
                  <a:gd name="T13" fmla="*/ 33 h 53"/>
                  <a:gd name="T14" fmla="*/ 27 w 34"/>
                  <a:gd name="T15" fmla="*/ 53 h 53"/>
                  <a:gd name="T16" fmla="*/ 30 w 34"/>
                  <a:gd name="T17" fmla="*/ 52 h 53"/>
                  <a:gd name="T18" fmla="*/ 32 w 34"/>
                  <a:gd name="T19" fmla="*/ 50 h 53"/>
                  <a:gd name="T20" fmla="*/ 33 w 34"/>
                  <a:gd name="T21" fmla="*/ 47 h 53"/>
                  <a:gd name="T22" fmla="*/ 29 w 34"/>
                  <a:gd name="T23" fmla="*/ 46 h 53"/>
                  <a:gd name="T24" fmla="*/ 28 w 34"/>
                  <a:gd name="T25" fmla="*/ 47 h 53"/>
                  <a:gd name="T26" fmla="*/ 10 w 34"/>
                  <a:gd name="T27" fmla="*/ 30 h 53"/>
                  <a:gd name="T28" fmla="*/ 6 w 34"/>
                  <a:gd name="T29" fmla="*/ 14 h 53"/>
                  <a:gd name="T30" fmla="*/ 9 w 34"/>
                  <a:gd name="T31"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53">
                    <a:moveTo>
                      <a:pt x="9" y="6"/>
                    </a:moveTo>
                    <a:cubicBezTo>
                      <a:pt x="9" y="6"/>
                      <a:pt x="9" y="6"/>
                      <a:pt x="10" y="6"/>
                    </a:cubicBezTo>
                    <a:cubicBezTo>
                      <a:pt x="11" y="6"/>
                      <a:pt x="12" y="4"/>
                      <a:pt x="11" y="3"/>
                    </a:cubicBezTo>
                    <a:cubicBezTo>
                      <a:pt x="11" y="1"/>
                      <a:pt x="9" y="0"/>
                      <a:pt x="8" y="1"/>
                    </a:cubicBezTo>
                    <a:cubicBezTo>
                      <a:pt x="8" y="1"/>
                      <a:pt x="7" y="1"/>
                      <a:pt x="7" y="1"/>
                    </a:cubicBezTo>
                    <a:cubicBezTo>
                      <a:pt x="3" y="3"/>
                      <a:pt x="1" y="8"/>
                      <a:pt x="1" y="14"/>
                    </a:cubicBezTo>
                    <a:cubicBezTo>
                      <a:pt x="0" y="20"/>
                      <a:pt x="2" y="26"/>
                      <a:pt x="5" y="33"/>
                    </a:cubicBezTo>
                    <a:cubicBezTo>
                      <a:pt x="11" y="45"/>
                      <a:pt x="19" y="53"/>
                      <a:pt x="27" y="53"/>
                    </a:cubicBezTo>
                    <a:cubicBezTo>
                      <a:pt x="28" y="53"/>
                      <a:pt x="29" y="52"/>
                      <a:pt x="30" y="52"/>
                    </a:cubicBezTo>
                    <a:cubicBezTo>
                      <a:pt x="31" y="51"/>
                      <a:pt x="32" y="51"/>
                      <a:pt x="32" y="50"/>
                    </a:cubicBezTo>
                    <a:cubicBezTo>
                      <a:pt x="34" y="49"/>
                      <a:pt x="34" y="48"/>
                      <a:pt x="33" y="47"/>
                    </a:cubicBezTo>
                    <a:cubicBezTo>
                      <a:pt x="32" y="45"/>
                      <a:pt x="30" y="45"/>
                      <a:pt x="29" y="46"/>
                    </a:cubicBezTo>
                    <a:cubicBezTo>
                      <a:pt x="28" y="46"/>
                      <a:pt x="28" y="47"/>
                      <a:pt x="28" y="47"/>
                    </a:cubicBezTo>
                    <a:cubicBezTo>
                      <a:pt x="24" y="49"/>
                      <a:pt x="16" y="42"/>
                      <a:pt x="10" y="30"/>
                    </a:cubicBezTo>
                    <a:cubicBezTo>
                      <a:pt x="8" y="25"/>
                      <a:pt x="6" y="19"/>
                      <a:pt x="6" y="14"/>
                    </a:cubicBezTo>
                    <a:cubicBezTo>
                      <a:pt x="6" y="10"/>
                      <a:pt x="7" y="7"/>
                      <a:pt x="9"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3" name="Freeform 28">
                <a:extLst>
                  <a:ext uri="{FF2B5EF4-FFF2-40B4-BE49-F238E27FC236}">
                    <a16:creationId xmlns:a16="http://schemas.microsoft.com/office/drawing/2014/main" id="{5E26DF07-419A-4F69-8A38-F07DE341BAF8}"/>
                  </a:ext>
                </a:extLst>
              </p:cNvPr>
              <p:cNvSpPr>
                <a:spLocks noEditPoints="1"/>
              </p:cNvSpPr>
              <p:nvPr/>
            </p:nvSpPr>
            <p:spPr bwMode="auto">
              <a:xfrm>
                <a:off x="2341568" y="2843217"/>
                <a:ext cx="450851" cy="461963"/>
              </a:xfrm>
              <a:custGeom>
                <a:avLst/>
                <a:gdLst>
                  <a:gd name="T0" fmla="*/ 185 w 193"/>
                  <a:gd name="T1" fmla="*/ 106 h 197"/>
                  <a:gd name="T2" fmla="*/ 192 w 193"/>
                  <a:gd name="T3" fmla="*/ 95 h 197"/>
                  <a:gd name="T4" fmla="*/ 192 w 193"/>
                  <a:gd name="T5" fmla="*/ 92 h 197"/>
                  <a:gd name="T6" fmla="*/ 190 w 193"/>
                  <a:gd name="T7" fmla="*/ 91 h 197"/>
                  <a:gd name="T8" fmla="*/ 169 w 193"/>
                  <a:gd name="T9" fmla="*/ 91 h 197"/>
                  <a:gd name="T10" fmla="*/ 167 w 193"/>
                  <a:gd name="T11" fmla="*/ 92 h 197"/>
                  <a:gd name="T12" fmla="*/ 157 w 193"/>
                  <a:gd name="T13" fmla="*/ 103 h 197"/>
                  <a:gd name="T14" fmla="*/ 83 w 193"/>
                  <a:gd name="T15" fmla="*/ 103 h 197"/>
                  <a:gd name="T16" fmla="*/ 80 w 193"/>
                  <a:gd name="T17" fmla="*/ 106 h 197"/>
                  <a:gd name="T18" fmla="*/ 83 w 193"/>
                  <a:gd name="T19" fmla="*/ 109 h 197"/>
                  <a:gd name="T20" fmla="*/ 106 w 193"/>
                  <a:gd name="T21" fmla="*/ 109 h 197"/>
                  <a:gd name="T22" fmla="*/ 96 w 193"/>
                  <a:gd name="T23" fmla="*/ 152 h 197"/>
                  <a:gd name="T24" fmla="*/ 70 w 193"/>
                  <a:gd name="T25" fmla="*/ 146 h 197"/>
                  <a:gd name="T26" fmla="*/ 44 w 193"/>
                  <a:gd name="T27" fmla="*/ 110 h 197"/>
                  <a:gd name="T28" fmla="*/ 46 w 193"/>
                  <a:gd name="T29" fmla="*/ 43 h 197"/>
                  <a:gd name="T30" fmla="*/ 75 w 193"/>
                  <a:gd name="T31" fmla="*/ 53 h 197"/>
                  <a:gd name="T32" fmla="*/ 79 w 193"/>
                  <a:gd name="T33" fmla="*/ 53 h 197"/>
                  <a:gd name="T34" fmla="*/ 79 w 193"/>
                  <a:gd name="T35" fmla="*/ 49 h 197"/>
                  <a:gd name="T36" fmla="*/ 43 w 193"/>
                  <a:gd name="T37" fmla="*/ 38 h 197"/>
                  <a:gd name="T38" fmla="*/ 39 w 193"/>
                  <a:gd name="T39" fmla="*/ 113 h 197"/>
                  <a:gd name="T40" fmla="*/ 67 w 193"/>
                  <a:gd name="T41" fmla="*/ 150 h 197"/>
                  <a:gd name="T42" fmla="*/ 90 w 193"/>
                  <a:gd name="T43" fmla="*/ 159 h 197"/>
                  <a:gd name="T44" fmla="*/ 99 w 193"/>
                  <a:gd name="T45" fmla="*/ 157 h 197"/>
                  <a:gd name="T46" fmla="*/ 112 w 193"/>
                  <a:gd name="T47" fmla="*/ 109 h 197"/>
                  <a:gd name="T48" fmla="*/ 126 w 193"/>
                  <a:gd name="T49" fmla="*/ 109 h 197"/>
                  <a:gd name="T50" fmla="*/ 108 w 193"/>
                  <a:gd name="T51" fmla="*/ 185 h 197"/>
                  <a:gd name="T52" fmla="*/ 21 w 193"/>
                  <a:gd name="T53" fmla="*/ 121 h 197"/>
                  <a:gd name="T54" fmla="*/ 7 w 193"/>
                  <a:gd name="T55" fmla="*/ 53 h 197"/>
                  <a:gd name="T56" fmla="*/ 28 w 193"/>
                  <a:gd name="T57" fmla="*/ 13 h 197"/>
                  <a:gd name="T58" fmla="*/ 86 w 193"/>
                  <a:gd name="T59" fmla="*/ 34 h 197"/>
                  <a:gd name="T60" fmla="*/ 90 w 193"/>
                  <a:gd name="T61" fmla="*/ 34 h 197"/>
                  <a:gd name="T62" fmla="*/ 90 w 193"/>
                  <a:gd name="T63" fmla="*/ 30 h 197"/>
                  <a:gd name="T64" fmla="*/ 26 w 193"/>
                  <a:gd name="T65" fmla="*/ 8 h 197"/>
                  <a:gd name="T66" fmla="*/ 1 w 193"/>
                  <a:gd name="T67" fmla="*/ 53 h 197"/>
                  <a:gd name="T68" fmla="*/ 16 w 193"/>
                  <a:gd name="T69" fmla="*/ 123 h 197"/>
                  <a:gd name="T70" fmla="*/ 96 w 193"/>
                  <a:gd name="T71" fmla="*/ 193 h 197"/>
                  <a:gd name="T72" fmla="*/ 111 w 193"/>
                  <a:gd name="T73" fmla="*/ 190 h 197"/>
                  <a:gd name="T74" fmla="*/ 132 w 193"/>
                  <a:gd name="T75" fmla="*/ 109 h 197"/>
                  <a:gd name="T76" fmla="*/ 157 w 193"/>
                  <a:gd name="T77" fmla="*/ 109 h 197"/>
                  <a:gd name="T78" fmla="*/ 167 w 193"/>
                  <a:gd name="T79" fmla="*/ 120 h 197"/>
                  <a:gd name="T80" fmla="*/ 169 w 193"/>
                  <a:gd name="T81" fmla="*/ 121 h 197"/>
                  <a:gd name="T82" fmla="*/ 190 w 193"/>
                  <a:gd name="T83" fmla="*/ 121 h 197"/>
                  <a:gd name="T84" fmla="*/ 192 w 193"/>
                  <a:gd name="T85" fmla="*/ 120 h 197"/>
                  <a:gd name="T86" fmla="*/ 192 w 193"/>
                  <a:gd name="T87" fmla="*/ 117 h 197"/>
                  <a:gd name="T88" fmla="*/ 185 w 193"/>
                  <a:gd name="T89" fmla="*/ 106 h 197"/>
                  <a:gd name="T90" fmla="*/ 170 w 193"/>
                  <a:gd name="T91" fmla="*/ 116 h 197"/>
                  <a:gd name="T92" fmla="*/ 162 w 193"/>
                  <a:gd name="T93" fmla="*/ 106 h 197"/>
                  <a:gd name="T94" fmla="*/ 170 w 193"/>
                  <a:gd name="T95" fmla="*/ 96 h 197"/>
                  <a:gd name="T96" fmla="*/ 185 w 193"/>
                  <a:gd name="T97" fmla="*/ 96 h 197"/>
                  <a:gd name="T98" fmla="*/ 179 w 193"/>
                  <a:gd name="T99" fmla="*/ 104 h 197"/>
                  <a:gd name="T100" fmla="*/ 179 w 193"/>
                  <a:gd name="T101" fmla="*/ 108 h 197"/>
                  <a:gd name="T102" fmla="*/ 185 w 193"/>
                  <a:gd name="T103" fmla="*/ 116 h 197"/>
                  <a:gd name="T104" fmla="*/ 170 w 193"/>
                  <a:gd name="T105" fmla="*/ 11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 h="197">
                    <a:moveTo>
                      <a:pt x="185" y="106"/>
                    </a:moveTo>
                    <a:cubicBezTo>
                      <a:pt x="192" y="95"/>
                      <a:pt x="192" y="95"/>
                      <a:pt x="192" y="95"/>
                    </a:cubicBezTo>
                    <a:cubicBezTo>
                      <a:pt x="193" y="94"/>
                      <a:pt x="193" y="93"/>
                      <a:pt x="192" y="92"/>
                    </a:cubicBezTo>
                    <a:cubicBezTo>
                      <a:pt x="192" y="91"/>
                      <a:pt x="191" y="91"/>
                      <a:pt x="190" y="91"/>
                    </a:cubicBezTo>
                    <a:cubicBezTo>
                      <a:pt x="169" y="91"/>
                      <a:pt x="169" y="91"/>
                      <a:pt x="169" y="91"/>
                    </a:cubicBezTo>
                    <a:cubicBezTo>
                      <a:pt x="168" y="91"/>
                      <a:pt x="167" y="91"/>
                      <a:pt x="167" y="92"/>
                    </a:cubicBezTo>
                    <a:cubicBezTo>
                      <a:pt x="157" y="103"/>
                      <a:pt x="157" y="103"/>
                      <a:pt x="157" y="103"/>
                    </a:cubicBezTo>
                    <a:cubicBezTo>
                      <a:pt x="83" y="103"/>
                      <a:pt x="83" y="103"/>
                      <a:pt x="83" y="103"/>
                    </a:cubicBezTo>
                    <a:cubicBezTo>
                      <a:pt x="81" y="103"/>
                      <a:pt x="80" y="104"/>
                      <a:pt x="80" y="106"/>
                    </a:cubicBezTo>
                    <a:cubicBezTo>
                      <a:pt x="80" y="108"/>
                      <a:pt x="81" y="109"/>
                      <a:pt x="83" y="109"/>
                    </a:cubicBezTo>
                    <a:cubicBezTo>
                      <a:pt x="106" y="109"/>
                      <a:pt x="106" y="109"/>
                      <a:pt x="106" y="109"/>
                    </a:cubicBezTo>
                    <a:cubicBezTo>
                      <a:pt x="111" y="130"/>
                      <a:pt x="107" y="147"/>
                      <a:pt x="96" y="152"/>
                    </a:cubicBezTo>
                    <a:cubicBezTo>
                      <a:pt x="89" y="155"/>
                      <a:pt x="80" y="153"/>
                      <a:pt x="70" y="146"/>
                    </a:cubicBezTo>
                    <a:cubicBezTo>
                      <a:pt x="60" y="138"/>
                      <a:pt x="51" y="125"/>
                      <a:pt x="44" y="110"/>
                    </a:cubicBezTo>
                    <a:cubicBezTo>
                      <a:pt x="30" y="81"/>
                      <a:pt x="31" y="50"/>
                      <a:pt x="46" y="43"/>
                    </a:cubicBezTo>
                    <a:cubicBezTo>
                      <a:pt x="53" y="39"/>
                      <a:pt x="64" y="43"/>
                      <a:pt x="75" y="53"/>
                    </a:cubicBezTo>
                    <a:cubicBezTo>
                      <a:pt x="77" y="54"/>
                      <a:pt x="78" y="54"/>
                      <a:pt x="79" y="53"/>
                    </a:cubicBezTo>
                    <a:cubicBezTo>
                      <a:pt x="80" y="51"/>
                      <a:pt x="80" y="50"/>
                      <a:pt x="79" y="49"/>
                    </a:cubicBezTo>
                    <a:cubicBezTo>
                      <a:pt x="66" y="37"/>
                      <a:pt x="53" y="33"/>
                      <a:pt x="43" y="38"/>
                    </a:cubicBezTo>
                    <a:cubicBezTo>
                      <a:pt x="25" y="46"/>
                      <a:pt x="23" y="79"/>
                      <a:pt x="39" y="113"/>
                    </a:cubicBezTo>
                    <a:cubicBezTo>
                      <a:pt x="46" y="128"/>
                      <a:pt x="56" y="142"/>
                      <a:pt x="67" y="150"/>
                    </a:cubicBezTo>
                    <a:cubicBezTo>
                      <a:pt x="75" y="156"/>
                      <a:pt x="83" y="159"/>
                      <a:pt x="90" y="159"/>
                    </a:cubicBezTo>
                    <a:cubicBezTo>
                      <a:pt x="93" y="159"/>
                      <a:pt x="96" y="159"/>
                      <a:pt x="99" y="157"/>
                    </a:cubicBezTo>
                    <a:cubicBezTo>
                      <a:pt x="112" y="151"/>
                      <a:pt x="117" y="132"/>
                      <a:pt x="112" y="109"/>
                    </a:cubicBezTo>
                    <a:cubicBezTo>
                      <a:pt x="126" y="109"/>
                      <a:pt x="126" y="109"/>
                      <a:pt x="126" y="109"/>
                    </a:cubicBezTo>
                    <a:cubicBezTo>
                      <a:pt x="135" y="145"/>
                      <a:pt x="128" y="176"/>
                      <a:pt x="108" y="185"/>
                    </a:cubicBezTo>
                    <a:cubicBezTo>
                      <a:pt x="82" y="197"/>
                      <a:pt x="43" y="168"/>
                      <a:pt x="21" y="121"/>
                    </a:cubicBezTo>
                    <a:cubicBezTo>
                      <a:pt x="11" y="98"/>
                      <a:pt x="6" y="74"/>
                      <a:pt x="7" y="53"/>
                    </a:cubicBezTo>
                    <a:cubicBezTo>
                      <a:pt x="9" y="33"/>
                      <a:pt x="16" y="19"/>
                      <a:pt x="28" y="13"/>
                    </a:cubicBezTo>
                    <a:cubicBezTo>
                      <a:pt x="44" y="6"/>
                      <a:pt x="66" y="14"/>
                      <a:pt x="86" y="34"/>
                    </a:cubicBezTo>
                    <a:cubicBezTo>
                      <a:pt x="87" y="35"/>
                      <a:pt x="89" y="35"/>
                      <a:pt x="90" y="34"/>
                    </a:cubicBezTo>
                    <a:cubicBezTo>
                      <a:pt x="91" y="33"/>
                      <a:pt x="91" y="32"/>
                      <a:pt x="90" y="30"/>
                    </a:cubicBezTo>
                    <a:cubicBezTo>
                      <a:pt x="68" y="8"/>
                      <a:pt x="44" y="0"/>
                      <a:pt x="26" y="8"/>
                    </a:cubicBezTo>
                    <a:cubicBezTo>
                      <a:pt x="12" y="15"/>
                      <a:pt x="3" y="31"/>
                      <a:pt x="1" y="53"/>
                    </a:cubicBezTo>
                    <a:cubicBezTo>
                      <a:pt x="0" y="74"/>
                      <a:pt x="5" y="99"/>
                      <a:pt x="16" y="123"/>
                    </a:cubicBezTo>
                    <a:cubicBezTo>
                      <a:pt x="36" y="165"/>
                      <a:pt x="69" y="193"/>
                      <a:pt x="96" y="193"/>
                    </a:cubicBezTo>
                    <a:cubicBezTo>
                      <a:pt x="101" y="193"/>
                      <a:pt x="106" y="192"/>
                      <a:pt x="111" y="190"/>
                    </a:cubicBezTo>
                    <a:cubicBezTo>
                      <a:pt x="132" y="180"/>
                      <a:pt x="140" y="147"/>
                      <a:pt x="132" y="109"/>
                    </a:cubicBezTo>
                    <a:cubicBezTo>
                      <a:pt x="157" y="109"/>
                      <a:pt x="157" y="109"/>
                      <a:pt x="157" y="109"/>
                    </a:cubicBezTo>
                    <a:cubicBezTo>
                      <a:pt x="167" y="120"/>
                      <a:pt x="167" y="120"/>
                      <a:pt x="167" y="120"/>
                    </a:cubicBezTo>
                    <a:cubicBezTo>
                      <a:pt x="167" y="121"/>
                      <a:pt x="168" y="121"/>
                      <a:pt x="169" y="121"/>
                    </a:cubicBezTo>
                    <a:cubicBezTo>
                      <a:pt x="190" y="121"/>
                      <a:pt x="190" y="121"/>
                      <a:pt x="190" y="121"/>
                    </a:cubicBezTo>
                    <a:cubicBezTo>
                      <a:pt x="191" y="121"/>
                      <a:pt x="192" y="121"/>
                      <a:pt x="192" y="120"/>
                    </a:cubicBezTo>
                    <a:cubicBezTo>
                      <a:pt x="193" y="119"/>
                      <a:pt x="193" y="118"/>
                      <a:pt x="192" y="117"/>
                    </a:cubicBezTo>
                    <a:lnTo>
                      <a:pt x="185" y="106"/>
                    </a:lnTo>
                    <a:close/>
                    <a:moveTo>
                      <a:pt x="170" y="116"/>
                    </a:moveTo>
                    <a:cubicBezTo>
                      <a:pt x="162" y="106"/>
                      <a:pt x="162" y="106"/>
                      <a:pt x="162" y="106"/>
                    </a:cubicBezTo>
                    <a:cubicBezTo>
                      <a:pt x="170" y="96"/>
                      <a:pt x="170" y="96"/>
                      <a:pt x="170" y="96"/>
                    </a:cubicBezTo>
                    <a:cubicBezTo>
                      <a:pt x="185" y="96"/>
                      <a:pt x="185" y="96"/>
                      <a:pt x="185" y="96"/>
                    </a:cubicBezTo>
                    <a:cubicBezTo>
                      <a:pt x="179" y="104"/>
                      <a:pt x="179" y="104"/>
                      <a:pt x="179" y="104"/>
                    </a:cubicBezTo>
                    <a:cubicBezTo>
                      <a:pt x="179" y="105"/>
                      <a:pt x="179" y="107"/>
                      <a:pt x="179" y="108"/>
                    </a:cubicBezTo>
                    <a:cubicBezTo>
                      <a:pt x="185" y="116"/>
                      <a:pt x="185" y="116"/>
                      <a:pt x="185" y="116"/>
                    </a:cubicBezTo>
                    <a:lnTo>
                      <a:pt x="170"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4" name="Freeform 29">
                <a:extLst>
                  <a:ext uri="{FF2B5EF4-FFF2-40B4-BE49-F238E27FC236}">
                    <a16:creationId xmlns:a16="http://schemas.microsoft.com/office/drawing/2014/main" id="{75A89660-14C6-4A0D-BD37-683B304B2C65}"/>
                  </a:ext>
                </a:extLst>
              </p:cNvPr>
              <p:cNvSpPr>
                <a:spLocks noEditPoints="1"/>
              </p:cNvSpPr>
              <p:nvPr/>
            </p:nvSpPr>
            <p:spPr bwMode="auto">
              <a:xfrm>
                <a:off x="2511431" y="2871792"/>
                <a:ext cx="266701" cy="203200"/>
              </a:xfrm>
              <a:custGeom>
                <a:avLst/>
                <a:gdLst>
                  <a:gd name="T0" fmla="*/ 1 w 114"/>
                  <a:gd name="T1" fmla="*/ 82 h 87"/>
                  <a:gd name="T2" fmla="*/ 1 w 114"/>
                  <a:gd name="T3" fmla="*/ 86 h 87"/>
                  <a:gd name="T4" fmla="*/ 3 w 114"/>
                  <a:gd name="T5" fmla="*/ 87 h 87"/>
                  <a:gd name="T6" fmla="*/ 5 w 114"/>
                  <a:gd name="T7" fmla="*/ 87 h 87"/>
                  <a:gd name="T8" fmla="*/ 25 w 114"/>
                  <a:gd name="T9" fmla="*/ 72 h 87"/>
                  <a:gd name="T10" fmla="*/ 25 w 114"/>
                  <a:gd name="T11" fmla="*/ 73 h 87"/>
                  <a:gd name="T12" fmla="*/ 28 w 114"/>
                  <a:gd name="T13" fmla="*/ 80 h 87"/>
                  <a:gd name="T14" fmla="*/ 31 w 114"/>
                  <a:gd name="T15" fmla="*/ 82 h 87"/>
                  <a:gd name="T16" fmla="*/ 32 w 114"/>
                  <a:gd name="T17" fmla="*/ 82 h 87"/>
                  <a:gd name="T18" fmla="*/ 34 w 114"/>
                  <a:gd name="T19" fmla="*/ 78 h 87"/>
                  <a:gd name="T20" fmla="*/ 30 w 114"/>
                  <a:gd name="T21" fmla="*/ 70 h 87"/>
                  <a:gd name="T22" fmla="*/ 30 w 114"/>
                  <a:gd name="T23" fmla="*/ 69 h 87"/>
                  <a:gd name="T24" fmla="*/ 40 w 114"/>
                  <a:gd name="T25" fmla="*/ 62 h 87"/>
                  <a:gd name="T26" fmla="*/ 42 w 114"/>
                  <a:gd name="T27" fmla="*/ 65 h 87"/>
                  <a:gd name="T28" fmla="*/ 47 w 114"/>
                  <a:gd name="T29" fmla="*/ 78 h 87"/>
                  <a:gd name="T30" fmla="*/ 50 w 114"/>
                  <a:gd name="T31" fmla="*/ 80 h 87"/>
                  <a:gd name="T32" fmla="*/ 51 w 114"/>
                  <a:gd name="T33" fmla="*/ 80 h 87"/>
                  <a:gd name="T34" fmla="*/ 53 w 114"/>
                  <a:gd name="T35" fmla="*/ 76 h 87"/>
                  <a:gd name="T36" fmla="*/ 47 w 114"/>
                  <a:gd name="T37" fmla="*/ 63 h 87"/>
                  <a:gd name="T38" fmla="*/ 45 w 114"/>
                  <a:gd name="T39" fmla="*/ 59 h 87"/>
                  <a:gd name="T40" fmla="*/ 79 w 114"/>
                  <a:gd name="T41" fmla="*/ 35 h 87"/>
                  <a:gd name="T42" fmla="*/ 94 w 114"/>
                  <a:gd name="T43" fmla="*/ 39 h 87"/>
                  <a:gd name="T44" fmla="*/ 94 w 114"/>
                  <a:gd name="T45" fmla="*/ 39 h 87"/>
                  <a:gd name="T46" fmla="*/ 96 w 114"/>
                  <a:gd name="T47" fmla="*/ 38 h 87"/>
                  <a:gd name="T48" fmla="*/ 113 w 114"/>
                  <a:gd name="T49" fmla="*/ 26 h 87"/>
                  <a:gd name="T50" fmla="*/ 114 w 114"/>
                  <a:gd name="T51" fmla="*/ 24 h 87"/>
                  <a:gd name="T52" fmla="*/ 113 w 114"/>
                  <a:gd name="T53" fmla="*/ 21 h 87"/>
                  <a:gd name="T54" fmla="*/ 100 w 114"/>
                  <a:gd name="T55" fmla="*/ 17 h 87"/>
                  <a:gd name="T56" fmla="*/ 100 w 114"/>
                  <a:gd name="T57" fmla="*/ 3 h 87"/>
                  <a:gd name="T58" fmla="*/ 98 w 114"/>
                  <a:gd name="T59" fmla="*/ 1 h 87"/>
                  <a:gd name="T60" fmla="*/ 95 w 114"/>
                  <a:gd name="T61" fmla="*/ 1 h 87"/>
                  <a:gd name="T62" fmla="*/ 78 w 114"/>
                  <a:gd name="T63" fmla="*/ 13 h 87"/>
                  <a:gd name="T64" fmla="*/ 77 w 114"/>
                  <a:gd name="T65" fmla="*/ 15 h 87"/>
                  <a:gd name="T66" fmla="*/ 76 w 114"/>
                  <a:gd name="T67" fmla="*/ 30 h 87"/>
                  <a:gd name="T68" fmla="*/ 1 w 114"/>
                  <a:gd name="T69" fmla="*/ 82 h 87"/>
                  <a:gd name="T70" fmla="*/ 82 w 114"/>
                  <a:gd name="T71" fmla="*/ 17 h 87"/>
                  <a:gd name="T72" fmla="*/ 94 w 114"/>
                  <a:gd name="T73" fmla="*/ 9 h 87"/>
                  <a:gd name="T74" fmla="*/ 95 w 114"/>
                  <a:gd name="T75" fmla="*/ 19 h 87"/>
                  <a:gd name="T76" fmla="*/ 96 w 114"/>
                  <a:gd name="T77" fmla="*/ 21 h 87"/>
                  <a:gd name="T78" fmla="*/ 106 w 114"/>
                  <a:gd name="T79" fmla="*/ 25 h 87"/>
                  <a:gd name="T80" fmla="*/ 94 w 114"/>
                  <a:gd name="T81" fmla="*/ 33 h 87"/>
                  <a:gd name="T82" fmla="*/ 82 w 114"/>
                  <a:gd name="T83" fmla="*/ 30 h 87"/>
                  <a:gd name="T84" fmla="*/ 82 w 114"/>
                  <a:gd name="T85" fmla="*/ 1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87">
                    <a:moveTo>
                      <a:pt x="1" y="82"/>
                    </a:moveTo>
                    <a:cubicBezTo>
                      <a:pt x="0" y="83"/>
                      <a:pt x="0" y="85"/>
                      <a:pt x="1" y="86"/>
                    </a:cubicBezTo>
                    <a:cubicBezTo>
                      <a:pt x="1" y="87"/>
                      <a:pt x="2" y="87"/>
                      <a:pt x="3" y="87"/>
                    </a:cubicBezTo>
                    <a:cubicBezTo>
                      <a:pt x="4" y="87"/>
                      <a:pt x="4" y="87"/>
                      <a:pt x="5" y="87"/>
                    </a:cubicBezTo>
                    <a:cubicBezTo>
                      <a:pt x="25" y="72"/>
                      <a:pt x="25" y="72"/>
                      <a:pt x="25" y="72"/>
                    </a:cubicBezTo>
                    <a:cubicBezTo>
                      <a:pt x="25" y="73"/>
                      <a:pt x="25" y="73"/>
                      <a:pt x="25" y="73"/>
                    </a:cubicBezTo>
                    <a:cubicBezTo>
                      <a:pt x="26" y="75"/>
                      <a:pt x="28" y="78"/>
                      <a:pt x="28" y="80"/>
                    </a:cubicBezTo>
                    <a:cubicBezTo>
                      <a:pt x="29" y="81"/>
                      <a:pt x="30" y="82"/>
                      <a:pt x="31" y="82"/>
                    </a:cubicBezTo>
                    <a:cubicBezTo>
                      <a:pt x="31" y="82"/>
                      <a:pt x="32" y="82"/>
                      <a:pt x="32" y="82"/>
                    </a:cubicBezTo>
                    <a:cubicBezTo>
                      <a:pt x="34" y="81"/>
                      <a:pt x="34" y="80"/>
                      <a:pt x="34" y="78"/>
                    </a:cubicBezTo>
                    <a:cubicBezTo>
                      <a:pt x="33" y="76"/>
                      <a:pt x="32" y="73"/>
                      <a:pt x="30" y="70"/>
                    </a:cubicBezTo>
                    <a:cubicBezTo>
                      <a:pt x="30" y="70"/>
                      <a:pt x="30" y="70"/>
                      <a:pt x="30" y="69"/>
                    </a:cubicBezTo>
                    <a:cubicBezTo>
                      <a:pt x="40" y="62"/>
                      <a:pt x="40" y="62"/>
                      <a:pt x="40" y="62"/>
                    </a:cubicBezTo>
                    <a:cubicBezTo>
                      <a:pt x="41" y="63"/>
                      <a:pt x="41" y="64"/>
                      <a:pt x="42" y="65"/>
                    </a:cubicBezTo>
                    <a:cubicBezTo>
                      <a:pt x="44" y="69"/>
                      <a:pt x="46" y="74"/>
                      <a:pt x="47" y="78"/>
                    </a:cubicBezTo>
                    <a:cubicBezTo>
                      <a:pt x="48" y="79"/>
                      <a:pt x="49" y="80"/>
                      <a:pt x="50" y="80"/>
                    </a:cubicBezTo>
                    <a:cubicBezTo>
                      <a:pt x="50" y="80"/>
                      <a:pt x="51" y="80"/>
                      <a:pt x="51" y="80"/>
                    </a:cubicBezTo>
                    <a:cubicBezTo>
                      <a:pt x="53" y="79"/>
                      <a:pt x="53" y="78"/>
                      <a:pt x="53" y="76"/>
                    </a:cubicBezTo>
                    <a:cubicBezTo>
                      <a:pt x="51" y="72"/>
                      <a:pt x="49" y="67"/>
                      <a:pt x="47" y="63"/>
                    </a:cubicBezTo>
                    <a:cubicBezTo>
                      <a:pt x="46" y="61"/>
                      <a:pt x="46" y="60"/>
                      <a:pt x="45" y="59"/>
                    </a:cubicBezTo>
                    <a:cubicBezTo>
                      <a:pt x="79" y="35"/>
                      <a:pt x="79" y="35"/>
                      <a:pt x="79" y="35"/>
                    </a:cubicBezTo>
                    <a:cubicBezTo>
                      <a:pt x="94" y="39"/>
                      <a:pt x="94" y="39"/>
                      <a:pt x="94" y="39"/>
                    </a:cubicBezTo>
                    <a:cubicBezTo>
                      <a:pt x="94" y="39"/>
                      <a:pt x="94" y="39"/>
                      <a:pt x="94" y="39"/>
                    </a:cubicBezTo>
                    <a:cubicBezTo>
                      <a:pt x="95" y="39"/>
                      <a:pt x="96" y="39"/>
                      <a:pt x="96" y="38"/>
                    </a:cubicBezTo>
                    <a:cubicBezTo>
                      <a:pt x="113" y="26"/>
                      <a:pt x="113" y="26"/>
                      <a:pt x="113" y="26"/>
                    </a:cubicBezTo>
                    <a:cubicBezTo>
                      <a:pt x="114" y="26"/>
                      <a:pt x="114" y="25"/>
                      <a:pt x="114" y="24"/>
                    </a:cubicBezTo>
                    <a:cubicBezTo>
                      <a:pt x="114" y="22"/>
                      <a:pt x="114" y="22"/>
                      <a:pt x="113" y="21"/>
                    </a:cubicBezTo>
                    <a:cubicBezTo>
                      <a:pt x="100" y="17"/>
                      <a:pt x="100" y="17"/>
                      <a:pt x="100" y="17"/>
                    </a:cubicBezTo>
                    <a:cubicBezTo>
                      <a:pt x="100" y="3"/>
                      <a:pt x="100" y="3"/>
                      <a:pt x="100" y="3"/>
                    </a:cubicBezTo>
                    <a:cubicBezTo>
                      <a:pt x="100" y="2"/>
                      <a:pt x="99" y="1"/>
                      <a:pt x="98" y="1"/>
                    </a:cubicBezTo>
                    <a:cubicBezTo>
                      <a:pt x="97" y="0"/>
                      <a:pt x="96" y="0"/>
                      <a:pt x="95" y="1"/>
                    </a:cubicBezTo>
                    <a:cubicBezTo>
                      <a:pt x="78" y="13"/>
                      <a:pt x="78" y="13"/>
                      <a:pt x="78" y="13"/>
                    </a:cubicBezTo>
                    <a:cubicBezTo>
                      <a:pt x="77" y="14"/>
                      <a:pt x="77" y="15"/>
                      <a:pt x="77" y="15"/>
                    </a:cubicBezTo>
                    <a:cubicBezTo>
                      <a:pt x="76" y="30"/>
                      <a:pt x="76" y="30"/>
                      <a:pt x="76" y="30"/>
                    </a:cubicBezTo>
                    <a:lnTo>
                      <a:pt x="1" y="82"/>
                    </a:lnTo>
                    <a:close/>
                    <a:moveTo>
                      <a:pt x="82" y="17"/>
                    </a:moveTo>
                    <a:cubicBezTo>
                      <a:pt x="94" y="9"/>
                      <a:pt x="94" y="9"/>
                      <a:pt x="94" y="9"/>
                    </a:cubicBezTo>
                    <a:cubicBezTo>
                      <a:pt x="95" y="19"/>
                      <a:pt x="95" y="19"/>
                      <a:pt x="95" y="19"/>
                    </a:cubicBezTo>
                    <a:cubicBezTo>
                      <a:pt x="95" y="20"/>
                      <a:pt x="95" y="21"/>
                      <a:pt x="96" y="21"/>
                    </a:cubicBezTo>
                    <a:cubicBezTo>
                      <a:pt x="106" y="25"/>
                      <a:pt x="106" y="25"/>
                      <a:pt x="106" y="25"/>
                    </a:cubicBezTo>
                    <a:cubicBezTo>
                      <a:pt x="94" y="33"/>
                      <a:pt x="94" y="33"/>
                      <a:pt x="94" y="33"/>
                    </a:cubicBezTo>
                    <a:cubicBezTo>
                      <a:pt x="82" y="30"/>
                      <a:pt x="82" y="30"/>
                      <a:pt x="82" y="30"/>
                    </a:cubicBezTo>
                    <a:lnTo>
                      <a:pt x="8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5" name="Freeform 30">
                <a:extLst>
                  <a:ext uri="{FF2B5EF4-FFF2-40B4-BE49-F238E27FC236}">
                    <a16:creationId xmlns:a16="http://schemas.microsoft.com/office/drawing/2014/main" id="{4E71BAB8-C99C-4DA5-89B7-491EEA366028}"/>
                  </a:ext>
                </a:extLst>
              </p:cNvPr>
              <p:cNvSpPr>
                <a:spLocks noEditPoints="1"/>
              </p:cNvSpPr>
              <p:nvPr/>
            </p:nvSpPr>
            <p:spPr bwMode="auto">
              <a:xfrm>
                <a:off x="2501906" y="2841629"/>
                <a:ext cx="163513" cy="206375"/>
              </a:xfrm>
              <a:custGeom>
                <a:avLst/>
                <a:gdLst>
                  <a:gd name="T0" fmla="*/ 35 w 70"/>
                  <a:gd name="T1" fmla="*/ 36 h 88"/>
                  <a:gd name="T2" fmla="*/ 1 w 70"/>
                  <a:gd name="T3" fmla="*/ 84 h 88"/>
                  <a:gd name="T4" fmla="*/ 1 w 70"/>
                  <a:gd name="T5" fmla="*/ 88 h 88"/>
                  <a:gd name="T6" fmla="*/ 3 w 70"/>
                  <a:gd name="T7" fmla="*/ 88 h 88"/>
                  <a:gd name="T8" fmla="*/ 5 w 70"/>
                  <a:gd name="T9" fmla="*/ 87 h 88"/>
                  <a:gd name="T10" fmla="*/ 19 w 70"/>
                  <a:gd name="T11" fmla="*/ 68 h 88"/>
                  <a:gd name="T12" fmla="*/ 21 w 70"/>
                  <a:gd name="T13" fmla="*/ 71 h 88"/>
                  <a:gd name="T14" fmla="*/ 23 w 70"/>
                  <a:gd name="T15" fmla="*/ 72 h 88"/>
                  <a:gd name="T16" fmla="*/ 25 w 70"/>
                  <a:gd name="T17" fmla="*/ 72 h 88"/>
                  <a:gd name="T18" fmla="*/ 26 w 70"/>
                  <a:gd name="T19" fmla="*/ 68 h 88"/>
                  <a:gd name="T20" fmla="*/ 22 w 70"/>
                  <a:gd name="T21" fmla="*/ 63 h 88"/>
                  <a:gd name="T22" fmla="*/ 31 w 70"/>
                  <a:gd name="T23" fmla="*/ 52 h 88"/>
                  <a:gd name="T24" fmla="*/ 36 w 70"/>
                  <a:gd name="T25" fmla="*/ 59 h 88"/>
                  <a:gd name="T26" fmla="*/ 38 w 70"/>
                  <a:gd name="T27" fmla="*/ 60 h 88"/>
                  <a:gd name="T28" fmla="*/ 39 w 70"/>
                  <a:gd name="T29" fmla="*/ 60 h 88"/>
                  <a:gd name="T30" fmla="*/ 40 w 70"/>
                  <a:gd name="T31" fmla="*/ 56 h 88"/>
                  <a:gd name="T32" fmla="*/ 34 w 70"/>
                  <a:gd name="T33" fmla="*/ 47 h 88"/>
                  <a:gd name="T34" fmla="*/ 40 w 70"/>
                  <a:gd name="T35" fmla="*/ 39 h 88"/>
                  <a:gd name="T36" fmla="*/ 55 w 70"/>
                  <a:gd name="T37" fmla="*/ 38 h 88"/>
                  <a:gd name="T38" fmla="*/ 57 w 70"/>
                  <a:gd name="T39" fmla="*/ 37 h 88"/>
                  <a:gd name="T40" fmla="*/ 69 w 70"/>
                  <a:gd name="T41" fmla="*/ 20 h 88"/>
                  <a:gd name="T42" fmla="*/ 69 w 70"/>
                  <a:gd name="T43" fmla="*/ 17 h 88"/>
                  <a:gd name="T44" fmla="*/ 67 w 70"/>
                  <a:gd name="T45" fmla="*/ 15 h 88"/>
                  <a:gd name="T46" fmla="*/ 54 w 70"/>
                  <a:gd name="T47" fmla="*/ 15 h 88"/>
                  <a:gd name="T48" fmla="*/ 49 w 70"/>
                  <a:gd name="T49" fmla="*/ 2 h 88"/>
                  <a:gd name="T50" fmla="*/ 47 w 70"/>
                  <a:gd name="T51" fmla="*/ 0 h 88"/>
                  <a:gd name="T52" fmla="*/ 44 w 70"/>
                  <a:gd name="T53" fmla="*/ 2 h 88"/>
                  <a:gd name="T54" fmla="*/ 32 w 70"/>
                  <a:gd name="T55" fmla="*/ 19 h 88"/>
                  <a:gd name="T56" fmla="*/ 31 w 70"/>
                  <a:gd name="T57" fmla="*/ 21 h 88"/>
                  <a:gd name="T58" fmla="*/ 35 w 70"/>
                  <a:gd name="T59" fmla="*/ 36 h 88"/>
                  <a:gd name="T60" fmla="*/ 46 w 70"/>
                  <a:gd name="T61" fmla="*/ 9 h 88"/>
                  <a:gd name="T62" fmla="*/ 49 w 70"/>
                  <a:gd name="T63" fmla="*/ 18 h 88"/>
                  <a:gd name="T64" fmla="*/ 52 w 70"/>
                  <a:gd name="T65" fmla="*/ 20 h 88"/>
                  <a:gd name="T66" fmla="*/ 62 w 70"/>
                  <a:gd name="T67" fmla="*/ 21 h 88"/>
                  <a:gd name="T68" fmla="*/ 53 w 70"/>
                  <a:gd name="T69" fmla="*/ 32 h 88"/>
                  <a:gd name="T70" fmla="*/ 40 w 70"/>
                  <a:gd name="T71" fmla="*/ 33 h 88"/>
                  <a:gd name="T72" fmla="*/ 37 w 70"/>
                  <a:gd name="T73" fmla="*/ 21 h 88"/>
                  <a:gd name="T74" fmla="*/ 46 w 70"/>
                  <a:gd name="T75"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88">
                    <a:moveTo>
                      <a:pt x="35" y="36"/>
                    </a:moveTo>
                    <a:cubicBezTo>
                      <a:pt x="1" y="84"/>
                      <a:pt x="1" y="84"/>
                      <a:pt x="1" y="84"/>
                    </a:cubicBezTo>
                    <a:cubicBezTo>
                      <a:pt x="0" y="85"/>
                      <a:pt x="0" y="87"/>
                      <a:pt x="1" y="88"/>
                    </a:cubicBezTo>
                    <a:cubicBezTo>
                      <a:pt x="2" y="88"/>
                      <a:pt x="2" y="88"/>
                      <a:pt x="3" y="88"/>
                    </a:cubicBezTo>
                    <a:cubicBezTo>
                      <a:pt x="4" y="88"/>
                      <a:pt x="5" y="88"/>
                      <a:pt x="5" y="87"/>
                    </a:cubicBezTo>
                    <a:cubicBezTo>
                      <a:pt x="19" y="68"/>
                      <a:pt x="19" y="68"/>
                      <a:pt x="19" y="68"/>
                    </a:cubicBezTo>
                    <a:cubicBezTo>
                      <a:pt x="20" y="69"/>
                      <a:pt x="20" y="70"/>
                      <a:pt x="21" y="71"/>
                    </a:cubicBezTo>
                    <a:cubicBezTo>
                      <a:pt x="22" y="72"/>
                      <a:pt x="22" y="72"/>
                      <a:pt x="23" y="72"/>
                    </a:cubicBezTo>
                    <a:cubicBezTo>
                      <a:pt x="24" y="72"/>
                      <a:pt x="24" y="72"/>
                      <a:pt x="25" y="72"/>
                    </a:cubicBezTo>
                    <a:cubicBezTo>
                      <a:pt x="26" y="71"/>
                      <a:pt x="27" y="69"/>
                      <a:pt x="26" y="68"/>
                    </a:cubicBezTo>
                    <a:cubicBezTo>
                      <a:pt x="25" y="66"/>
                      <a:pt x="24" y="65"/>
                      <a:pt x="22" y="63"/>
                    </a:cubicBezTo>
                    <a:cubicBezTo>
                      <a:pt x="31" y="52"/>
                      <a:pt x="31" y="52"/>
                      <a:pt x="31" y="52"/>
                    </a:cubicBezTo>
                    <a:cubicBezTo>
                      <a:pt x="32" y="54"/>
                      <a:pt x="34" y="57"/>
                      <a:pt x="36" y="59"/>
                    </a:cubicBezTo>
                    <a:cubicBezTo>
                      <a:pt x="36" y="60"/>
                      <a:pt x="37" y="60"/>
                      <a:pt x="38" y="60"/>
                    </a:cubicBezTo>
                    <a:cubicBezTo>
                      <a:pt x="38" y="60"/>
                      <a:pt x="39" y="60"/>
                      <a:pt x="39" y="60"/>
                    </a:cubicBezTo>
                    <a:cubicBezTo>
                      <a:pt x="41" y="59"/>
                      <a:pt x="41" y="57"/>
                      <a:pt x="40" y="56"/>
                    </a:cubicBezTo>
                    <a:cubicBezTo>
                      <a:pt x="38" y="53"/>
                      <a:pt x="36" y="50"/>
                      <a:pt x="34" y="47"/>
                    </a:cubicBezTo>
                    <a:cubicBezTo>
                      <a:pt x="40" y="39"/>
                      <a:pt x="40" y="39"/>
                      <a:pt x="40" y="39"/>
                    </a:cubicBezTo>
                    <a:cubicBezTo>
                      <a:pt x="55" y="38"/>
                      <a:pt x="55" y="38"/>
                      <a:pt x="55" y="38"/>
                    </a:cubicBezTo>
                    <a:cubicBezTo>
                      <a:pt x="56" y="38"/>
                      <a:pt x="56" y="37"/>
                      <a:pt x="57" y="37"/>
                    </a:cubicBezTo>
                    <a:cubicBezTo>
                      <a:pt x="69" y="20"/>
                      <a:pt x="69" y="20"/>
                      <a:pt x="69" y="20"/>
                    </a:cubicBezTo>
                    <a:cubicBezTo>
                      <a:pt x="70" y="19"/>
                      <a:pt x="70" y="18"/>
                      <a:pt x="69" y="17"/>
                    </a:cubicBezTo>
                    <a:cubicBezTo>
                      <a:pt x="69" y="16"/>
                      <a:pt x="68" y="15"/>
                      <a:pt x="67" y="15"/>
                    </a:cubicBezTo>
                    <a:cubicBezTo>
                      <a:pt x="54" y="15"/>
                      <a:pt x="54" y="15"/>
                      <a:pt x="54" y="15"/>
                    </a:cubicBezTo>
                    <a:cubicBezTo>
                      <a:pt x="49" y="2"/>
                      <a:pt x="49" y="2"/>
                      <a:pt x="49" y="2"/>
                    </a:cubicBezTo>
                    <a:cubicBezTo>
                      <a:pt x="49" y="1"/>
                      <a:pt x="48" y="1"/>
                      <a:pt x="47" y="0"/>
                    </a:cubicBezTo>
                    <a:cubicBezTo>
                      <a:pt x="46" y="0"/>
                      <a:pt x="45" y="1"/>
                      <a:pt x="44" y="2"/>
                    </a:cubicBezTo>
                    <a:cubicBezTo>
                      <a:pt x="32" y="19"/>
                      <a:pt x="32" y="19"/>
                      <a:pt x="32" y="19"/>
                    </a:cubicBezTo>
                    <a:cubicBezTo>
                      <a:pt x="31" y="19"/>
                      <a:pt x="31" y="20"/>
                      <a:pt x="31" y="21"/>
                    </a:cubicBezTo>
                    <a:lnTo>
                      <a:pt x="35" y="36"/>
                    </a:lnTo>
                    <a:close/>
                    <a:moveTo>
                      <a:pt x="46" y="9"/>
                    </a:moveTo>
                    <a:cubicBezTo>
                      <a:pt x="49" y="18"/>
                      <a:pt x="49" y="18"/>
                      <a:pt x="49" y="18"/>
                    </a:cubicBezTo>
                    <a:cubicBezTo>
                      <a:pt x="50" y="20"/>
                      <a:pt x="51" y="20"/>
                      <a:pt x="52" y="20"/>
                    </a:cubicBezTo>
                    <a:cubicBezTo>
                      <a:pt x="62" y="21"/>
                      <a:pt x="62" y="21"/>
                      <a:pt x="62" y="21"/>
                    </a:cubicBezTo>
                    <a:cubicBezTo>
                      <a:pt x="53" y="32"/>
                      <a:pt x="53" y="32"/>
                      <a:pt x="53" y="32"/>
                    </a:cubicBezTo>
                    <a:cubicBezTo>
                      <a:pt x="40" y="33"/>
                      <a:pt x="40" y="33"/>
                      <a:pt x="40" y="33"/>
                    </a:cubicBezTo>
                    <a:cubicBezTo>
                      <a:pt x="37" y="21"/>
                      <a:pt x="37" y="21"/>
                      <a:pt x="37" y="21"/>
                    </a:cubicBezTo>
                    <a:lnTo>
                      <a:pt x="4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nvGrpSpPr>
          <p:cNvPr id="121" name="Группа 120">
            <a:extLst>
              <a:ext uri="{FF2B5EF4-FFF2-40B4-BE49-F238E27FC236}">
                <a16:creationId xmlns:a16="http://schemas.microsoft.com/office/drawing/2014/main" id="{CC3A6300-1C74-4ECD-90FD-E77D81526A41}"/>
              </a:ext>
            </a:extLst>
          </p:cNvPr>
          <p:cNvGrpSpPr/>
          <p:nvPr/>
        </p:nvGrpSpPr>
        <p:grpSpPr>
          <a:xfrm>
            <a:off x="1725493" y="2392409"/>
            <a:ext cx="4002973" cy="1442464"/>
            <a:chOff x="1725493" y="2392409"/>
            <a:chExt cx="4002973" cy="1442464"/>
          </a:xfrm>
        </p:grpSpPr>
        <p:sp>
          <p:nvSpPr>
            <p:cNvPr id="6" name="TextBox 5">
              <a:extLst>
                <a:ext uri="{FF2B5EF4-FFF2-40B4-BE49-F238E27FC236}">
                  <a16:creationId xmlns:a16="http://schemas.microsoft.com/office/drawing/2014/main" id="{D9BF9C28-498F-49A6-9570-A818C5AB60A1}"/>
                </a:ext>
              </a:extLst>
            </p:cNvPr>
            <p:cNvSpPr txBox="1"/>
            <p:nvPr/>
          </p:nvSpPr>
          <p:spPr>
            <a:xfrm>
              <a:off x="2963889" y="2837330"/>
              <a:ext cx="2764577" cy="584775"/>
            </a:xfrm>
            <a:prstGeom prst="rect">
              <a:avLst/>
            </a:prstGeom>
            <a:noFill/>
          </p:spPr>
          <p:txBody>
            <a:bodyPr wrap="square">
              <a:spAutoFit/>
            </a:bodyPr>
            <a:lstStyle/>
            <a:p>
              <a:pPr algn="l" rtl="0"/>
              <a:r>
                <a:rPr lang="ru-RU" sz="1600" i="0">
                  <a:solidFill>
                    <a:srgbClr val="222222"/>
                  </a:solidFill>
                  <a:effectLst/>
                  <a:latin typeface="+mj-lt"/>
                </a:rPr>
                <a:t>Нет команды или она собрана неправильно</a:t>
              </a:r>
            </a:p>
          </p:txBody>
        </p:sp>
        <p:grpSp>
          <p:nvGrpSpPr>
            <p:cNvPr id="115" name="Группа 114">
              <a:extLst>
                <a:ext uri="{FF2B5EF4-FFF2-40B4-BE49-F238E27FC236}">
                  <a16:creationId xmlns:a16="http://schemas.microsoft.com/office/drawing/2014/main" id="{700CBE6D-BC8F-463F-AFDB-81312F088DD3}"/>
                </a:ext>
              </a:extLst>
            </p:cNvPr>
            <p:cNvGrpSpPr/>
            <p:nvPr/>
          </p:nvGrpSpPr>
          <p:grpSpPr>
            <a:xfrm>
              <a:off x="1725493" y="2392409"/>
              <a:ext cx="1804070" cy="1442464"/>
              <a:chOff x="1725493" y="2392409"/>
              <a:chExt cx="1804070" cy="1442464"/>
            </a:xfrm>
          </p:grpSpPr>
          <p:grpSp>
            <p:nvGrpSpPr>
              <p:cNvPr id="16" name="Группа 15">
                <a:extLst>
                  <a:ext uri="{FF2B5EF4-FFF2-40B4-BE49-F238E27FC236}">
                    <a16:creationId xmlns:a16="http://schemas.microsoft.com/office/drawing/2014/main" id="{13F7D006-6F45-461C-97B0-1E4036AD4532}"/>
                  </a:ext>
                </a:extLst>
              </p:cNvPr>
              <p:cNvGrpSpPr/>
              <p:nvPr/>
            </p:nvGrpSpPr>
            <p:grpSpPr>
              <a:xfrm>
                <a:off x="1725493" y="2498113"/>
                <a:ext cx="1268208" cy="1336760"/>
                <a:chOff x="437375" y="1216076"/>
                <a:chExt cx="1372000" cy="1446162"/>
              </a:xfrm>
            </p:grpSpPr>
            <p:pic>
              <p:nvPicPr>
                <p:cNvPr id="17" name="Рисунок 16">
                  <a:extLst>
                    <a:ext uri="{FF2B5EF4-FFF2-40B4-BE49-F238E27FC236}">
                      <a16:creationId xmlns:a16="http://schemas.microsoft.com/office/drawing/2014/main" id="{981F1770-B0F1-4F1C-9062-BD3424D457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18" name="TextBox 17">
                  <a:extLst>
                    <a:ext uri="{FF2B5EF4-FFF2-40B4-BE49-F238E27FC236}">
                      <a16:creationId xmlns:a16="http://schemas.microsoft.com/office/drawing/2014/main" id="{4E1A4301-2C78-467A-AB42-4F11D6352F09}"/>
                    </a:ext>
                  </a:extLst>
                </p:cNvPr>
                <p:cNvSpPr txBox="1"/>
                <p:nvPr/>
              </p:nvSpPr>
              <p:spPr>
                <a:xfrm>
                  <a:off x="946313" y="1708323"/>
                  <a:ext cx="354122" cy="432855"/>
                </a:xfrm>
                <a:prstGeom prst="rect">
                  <a:avLst/>
                </a:prstGeom>
                <a:noFill/>
              </p:spPr>
              <p:txBody>
                <a:bodyPr wrap="none" rtlCol="0">
                  <a:spAutoFit/>
                </a:bodyPr>
                <a:lstStyle/>
                <a:p>
                  <a:pPr algn="ctr"/>
                  <a:r>
                    <a:rPr lang="ru-RU" sz="2000">
                      <a:solidFill>
                        <a:schemeClr val="bg1"/>
                      </a:solidFill>
                      <a:latin typeface="+mj-lt"/>
                    </a:rPr>
                    <a:t>2</a:t>
                  </a:r>
                </a:p>
              </p:txBody>
            </p:sp>
          </p:grpSp>
          <p:grpSp>
            <p:nvGrpSpPr>
              <p:cNvPr id="46" name="Группа 45">
                <a:extLst>
                  <a:ext uri="{FF2B5EF4-FFF2-40B4-BE49-F238E27FC236}">
                    <a16:creationId xmlns:a16="http://schemas.microsoft.com/office/drawing/2014/main" id="{8BC58110-F5A2-41EE-9C17-224AF6CE4F65}"/>
                  </a:ext>
                </a:extLst>
              </p:cNvPr>
              <p:cNvGrpSpPr/>
              <p:nvPr/>
            </p:nvGrpSpPr>
            <p:grpSpPr>
              <a:xfrm>
                <a:off x="3056488" y="2392409"/>
                <a:ext cx="473075" cy="444500"/>
                <a:chOff x="4125913" y="1927226"/>
                <a:chExt cx="473075" cy="444500"/>
              </a:xfrm>
              <a:solidFill>
                <a:schemeClr val="accent6"/>
              </a:solidFill>
            </p:grpSpPr>
            <p:sp>
              <p:nvSpPr>
                <p:cNvPr id="47" name="Freeform 91">
                  <a:extLst>
                    <a:ext uri="{FF2B5EF4-FFF2-40B4-BE49-F238E27FC236}">
                      <a16:creationId xmlns:a16="http://schemas.microsoft.com/office/drawing/2014/main" id="{17D02E87-59F3-4D0D-BE2A-C1BABBE2F595}"/>
                    </a:ext>
                  </a:extLst>
                </p:cNvPr>
                <p:cNvSpPr>
                  <a:spLocks/>
                </p:cNvSpPr>
                <p:nvPr/>
              </p:nvSpPr>
              <p:spPr bwMode="auto">
                <a:xfrm>
                  <a:off x="4125913" y="1927226"/>
                  <a:ext cx="331788" cy="303213"/>
                </a:xfrm>
                <a:custGeom>
                  <a:avLst/>
                  <a:gdLst>
                    <a:gd name="T0" fmla="*/ 43 w 145"/>
                    <a:gd name="T1" fmla="*/ 119 h 132"/>
                    <a:gd name="T2" fmla="*/ 20 w 145"/>
                    <a:gd name="T3" fmla="*/ 114 h 132"/>
                    <a:gd name="T4" fmla="*/ 27 w 145"/>
                    <a:gd name="T5" fmla="*/ 100 h 132"/>
                    <a:gd name="T6" fmla="*/ 19 w 145"/>
                    <a:gd name="T7" fmla="*/ 84 h 132"/>
                    <a:gd name="T8" fmla="*/ 6 w 145"/>
                    <a:gd name="T9" fmla="*/ 64 h 132"/>
                    <a:gd name="T10" fmla="*/ 21 w 145"/>
                    <a:gd name="T11" fmla="*/ 59 h 132"/>
                    <a:gd name="T12" fmla="*/ 27 w 145"/>
                    <a:gd name="T13" fmla="*/ 43 h 132"/>
                    <a:gd name="T14" fmla="*/ 31 w 145"/>
                    <a:gd name="T15" fmla="*/ 19 h 132"/>
                    <a:gd name="T16" fmla="*/ 46 w 145"/>
                    <a:gd name="T17" fmla="*/ 26 h 132"/>
                    <a:gd name="T18" fmla="*/ 61 w 145"/>
                    <a:gd name="T19" fmla="*/ 19 h 132"/>
                    <a:gd name="T20" fmla="*/ 81 w 145"/>
                    <a:gd name="T21" fmla="*/ 6 h 132"/>
                    <a:gd name="T22" fmla="*/ 86 w 145"/>
                    <a:gd name="T23" fmla="*/ 21 h 132"/>
                    <a:gd name="T24" fmla="*/ 103 w 145"/>
                    <a:gd name="T25" fmla="*/ 26 h 132"/>
                    <a:gd name="T26" fmla="*/ 126 w 145"/>
                    <a:gd name="T27" fmla="*/ 31 h 132"/>
                    <a:gd name="T28" fmla="*/ 119 w 145"/>
                    <a:gd name="T29" fmla="*/ 45 h 132"/>
                    <a:gd name="T30" fmla="*/ 127 w 145"/>
                    <a:gd name="T31" fmla="*/ 61 h 132"/>
                    <a:gd name="T32" fmla="*/ 140 w 145"/>
                    <a:gd name="T33" fmla="*/ 81 h 132"/>
                    <a:gd name="T34" fmla="*/ 131 w 145"/>
                    <a:gd name="T35" fmla="*/ 86 h 132"/>
                    <a:gd name="T36" fmla="*/ 143 w 145"/>
                    <a:gd name="T37" fmla="*/ 86 h 132"/>
                    <a:gd name="T38" fmla="*/ 145 w 145"/>
                    <a:gd name="T39" fmla="*/ 62 h 132"/>
                    <a:gd name="T40" fmla="*/ 130 w 145"/>
                    <a:gd name="T41" fmla="*/ 56 h 132"/>
                    <a:gd name="T42" fmla="*/ 132 w 145"/>
                    <a:gd name="T43" fmla="*/ 32 h 132"/>
                    <a:gd name="T44" fmla="*/ 117 w 145"/>
                    <a:gd name="T45" fmla="*/ 14 h 132"/>
                    <a:gd name="T46" fmla="*/ 101 w 145"/>
                    <a:gd name="T47" fmla="*/ 21 h 132"/>
                    <a:gd name="T48" fmla="*/ 86 w 145"/>
                    <a:gd name="T49" fmla="*/ 2 h 132"/>
                    <a:gd name="T50" fmla="*/ 62 w 145"/>
                    <a:gd name="T51" fmla="*/ 0 h 132"/>
                    <a:gd name="T52" fmla="*/ 56 w 145"/>
                    <a:gd name="T53" fmla="*/ 16 h 132"/>
                    <a:gd name="T54" fmla="*/ 32 w 145"/>
                    <a:gd name="T55" fmla="*/ 13 h 132"/>
                    <a:gd name="T56" fmla="*/ 14 w 145"/>
                    <a:gd name="T57" fmla="*/ 29 h 132"/>
                    <a:gd name="T58" fmla="*/ 21 w 145"/>
                    <a:gd name="T59" fmla="*/ 44 h 132"/>
                    <a:gd name="T60" fmla="*/ 2 w 145"/>
                    <a:gd name="T61" fmla="*/ 59 h 132"/>
                    <a:gd name="T62" fmla="*/ 0 w 145"/>
                    <a:gd name="T63" fmla="*/ 83 h 132"/>
                    <a:gd name="T64" fmla="*/ 16 w 145"/>
                    <a:gd name="T65" fmla="*/ 89 h 132"/>
                    <a:gd name="T66" fmla="*/ 14 w 145"/>
                    <a:gd name="T67" fmla="*/ 113 h 132"/>
                    <a:gd name="T68" fmla="*/ 29 w 145"/>
                    <a:gd name="T69" fmla="*/ 132 h 132"/>
                    <a:gd name="T70" fmla="*/ 32 w 145"/>
                    <a:gd name="T71" fmla="*/ 132 h 132"/>
                    <a:gd name="T72" fmla="*/ 47 w 145"/>
                    <a:gd name="T73"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132">
                      <a:moveTo>
                        <a:pt x="47" y="120"/>
                      </a:moveTo>
                      <a:cubicBezTo>
                        <a:pt x="46" y="119"/>
                        <a:pt x="44" y="118"/>
                        <a:pt x="43" y="119"/>
                      </a:cubicBezTo>
                      <a:cubicBezTo>
                        <a:pt x="31" y="126"/>
                        <a:pt x="31" y="126"/>
                        <a:pt x="31" y="126"/>
                      </a:cubicBezTo>
                      <a:cubicBezTo>
                        <a:pt x="20" y="114"/>
                        <a:pt x="20" y="114"/>
                        <a:pt x="20" y="114"/>
                      </a:cubicBezTo>
                      <a:cubicBezTo>
                        <a:pt x="27" y="103"/>
                        <a:pt x="27" y="103"/>
                        <a:pt x="27" y="103"/>
                      </a:cubicBezTo>
                      <a:cubicBezTo>
                        <a:pt x="27" y="102"/>
                        <a:pt x="27" y="101"/>
                        <a:pt x="27" y="100"/>
                      </a:cubicBezTo>
                      <a:cubicBezTo>
                        <a:pt x="24" y="96"/>
                        <a:pt x="22" y="91"/>
                        <a:pt x="21" y="86"/>
                      </a:cubicBezTo>
                      <a:cubicBezTo>
                        <a:pt x="21" y="85"/>
                        <a:pt x="20" y="84"/>
                        <a:pt x="19" y="84"/>
                      </a:cubicBezTo>
                      <a:cubicBezTo>
                        <a:pt x="6" y="81"/>
                        <a:pt x="6" y="81"/>
                        <a:pt x="6" y="81"/>
                      </a:cubicBezTo>
                      <a:cubicBezTo>
                        <a:pt x="6" y="64"/>
                        <a:pt x="6" y="64"/>
                        <a:pt x="6" y="64"/>
                      </a:cubicBezTo>
                      <a:cubicBezTo>
                        <a:pt x="19" y="61"/>
                        <a:pt x="19" y="61"/>
                        <a:pt x="19" y="61"/>
                      </a:cubicBezTo>
                      <a:cubicBezTo>
                        <a:pt x="20" y="61"/>
                        <a:pt x="21" y="60"/>
                        <a:pt x="21" y="59"/>
                      </a:cubicBezTo>
                      <a:cubicBezTo>
                        <a:pt x="22" y="54"/>
                        <a:pt x="24" y="50"/>
                        <a:pt x="27" y="45"/>
                      </a:cubicBezTo>
                      <a:cubicBezTo>
                        <a:pt x="27" y="45"/>
                        <a:pt x="27" y="43"/>
                        <a:pt x="27" y="43"/>
                      </a:cubicBezTo>
                      <a:cubicBezTo>
                        <a:pt x="20" y="31"/>
                        <a:pt x="20" y="31"/>
                        <a:pt x="20" y="31"/>
                      </a:cubicBezTo>
                      <a:cubicBezTo>
                        <a:pt x="31" y="19"/>
                        <a:pt x="31" y="19"/>
                        <a:pt x="31" y="19"/>
                      </a:cubicBezTo>
                      <a:cubicBezTo>
                        <a:pt x="43" y="26"/>
                        <a:pt x="43" y="26"/>
                        <a:pt x="43" y="26"/>
                      </a:cubicBezTo>
                      <a:cubicBezTo>
                        <a:pt x="44" y="27"/>
                        <a:pt x="45" y="27"/>
                        <a:pt x="46" y="26"/>
                      </a:cubicBezTo>
                      <a:cubicBezTo>
                        <a:pt x="50" y="24"/>
                        <a:pt x="55" y="22"/>
                        <a:pt x="59" y="21"/>
                      </a:cubicBezTo>
                      <a:cubicBezTo>
                        <a:pt x="60" y="20"/>
                        <a:pt x="61" y="20"/>
                        <a:pt x="61" y="19"/>
                      </a:cubicBezTo>
                      <a:cubicBezTo>
                        <a:pt x="64" y="6"/>
                        <a:pt x="64" y="6"/>
                        <a:pt x="64" y="6"/>
                      </a:cubicBezTo>
                      <a:cubicBezTo>
                        <a:pt x="81" y="6"/>
                        <a:pt x="81" y="6"/>
                        <a:pt x="81" y="6"/>
                      </a:cubicBezTo>
                      <a:cubicBezTo>
                        <a:pt x="84" y="19"/>
                        <a:pt x="84" y="19"/>
                        <a:pt x="84" y="19"/>
                      </a:cubicBezTo>
                      <a:cubicBezTo>
                        <a:pt x="84" y="20"/>
                        <a:pt x="85" y="20"/>
                        <a:pt x="86" y="21"/>
                      </a:cubicBezTo>
                      <a:cubicBezTo>
                        <a:pt x="91" y="22"/>
                        <a:pt x="96" y="24"/>
                        <a:pt x="100" y="26"/>
                      </a:cubicBezTo>
                      <a:cubicBezTo>
                        <a:pt x="101" y="27"/>
                        <a:pt x="102" y="27"/>
                        <a:pt x="103" y="26"/>
                      </a:cubicBezTo>
                      <a:cubicBezTo>
                        <a:pt x="114" y="19"/>
                        <a:pt x="114" y="19"/>
                        <a:pt x="114" y="19"/>
                      </a:cubicBezTo>
                      <a:cubicBezTo>
                        <a:pt x="126" y="31"/>
                        <a:pt x="126" y="31"/>
                        <a:pt x="126" y="31"/>
                      </a:cubicBezTo>
                      <a:cubicBezTo>
                        <a:pt x="119" y="43"/>
                        <a:pt x="119" y="43"/>
                        <a:pt x="119" y="43"/>
                      </a:cubicBezTo>
                      <a:cubicBezTo>
                        <a:pt x="119" y="43"/>
                        <a:pt x="119" y="45"/>
                        <a:pt x="119" y="45"/>
                      </a:cubicBezTo>
                      <a:cubicBezTo>
                        <a:pt x="122" y="50"/>
                        <a:pt x="124" y="54"/>
                        <a:pt x="125" y="59"/>
                      </a:cubicBezTo>
                      <a:cubicBezTo>
                        <a:pt x="125" y="60"/>
                        <a:pt x="126" y="61"/>
                        <a:pt x="127" y="61"/>
                      </a:cubicBezTo>
                      <a:cubicBezTo>
                        <a:pt x="140" y="64"/>
                        <a:pt x="140" y="64"/>
                        <a:pt x="140" y="64"/>
                      </a:cubicBezTo>
                      <a:cubicBezTo>
                        <a:pt x="140" y="81"/>
                        <a:pt x="140" y="81"/>
                        <a:pt x="140" y="81"/>
                      </a:cubicBezTo>
                      <a:cubicBezTo>
                        <a:pt x="133" y="83"/>
                        <a:pt x="133" y="83"/>
                        <a:pt x="133" y="83"/>
                      </a:cubicBezTo>
                      <a:cubicBezTo>
                        <a:pt x="132" y="83"/>
                        <a:pt x="131" y="84"/>
                        <a:pt x="131" y="86"/>
                      </a:cubicBezTo>
                      <a:cubicBezTo>
                        <a:pt x="132" y="87"/>
                        <a:pt x="133" y="88"/>
                        <a:pt x="135" y="88"/>
                      </a:cubicBezTo>
                      <a:cubicBezTo>
                        <a:pt x="143" y="86"/>
                        <a:pt x="143" y="86"/>
                        <a:pt x="143" y="86"/>
                      </a:cubicBezTo>
                      <a:cubicBezTo>
                        <a:pt x="144" y="86"/>
                        <a:pt x="145" y="85"/>
                        <a:pt x="145" y="83"/>
                      </a:cubicBezTo>
                      <a:cubicBezTo>
                        <a:pt x="145" y="62"/>
                        <a:pt x="145" y="62"/>
                        <a:pt x="145" y="62"/>
                      </a:cubicBezTo>
                      <a:cubicBezTo>
                        <a:pt x="145" y="61"/>
                        <a:pt x="144" y="60"/>
                        <a:pt x="143" y="59"/>
                      </a:cubicBezTo>
                      <a:cubicBezTo>
                        <a:pt x="130" y="56"/>
                        <a:pt x="130" y="56"/>
                        <a:pt x="130" y="56"/>
                      </a:cubicBezTo>
                      <a:cubicBezTo>
                        <a:pt x="129" y="52"/>
                        <a:pt x="127" y="48"/>
                        <a:pt x="125" y="44"/>
                      </a:cubicBezTo>
                      <a:cubicBezTo>
                        <a:pt x="132" y="32"/>
                        <a:pt x="132" y="32"/>
                        <a:pt x="132" y="32"/>
                      </a:cubicBezTo>
                      <a:cubicBezTo>
                        <a:pt x="133" y="31"/>
                        <a:pt x="133" y="30"/>
                        <a:pt x="132" y="29"/>
                      </a:cubicBezTo>
                      <a:cubicBezTo>
                        <a:pt x="117" y="14"/>
                        <a:pt x="117" y="14"/>
                        <a:pt x="117" y="14"/>
                      </a:cubicBezTo>
                      <a:cubicBezTo>
                        <a:pt x="116" y="13"/>
                        <a:pt x="114" y="13"/>
                        <a:pt x="113" y="13"/>
                      </a:cubicBezTo>
                      <a:cubicBezTo>
                        <a:pt x="101" y="21"/>
                        <a:pt x="101" y="21"/>
                        <a:pt x="101" y="21"/>
                      </a:cubicBezTo>
                      <a:cubicBezTo>
                        <a:pt x="98" y="19"/>
                        <a:pt x="94" y="17"/>
                        <a:pt x="89" y="16"/>
                      </a:cubicBezTo>
                      <a:cubicBezTo>
                        <a:pt x="86" y="2"/>
                        <a:pt x="86" y="2"/>
                        <a:pt x="86" y="2"/>
                      </a:cubicBezTo>
                      <a:cubicBezTo>
                        <a:pt x="86" y="1"/>
                        <a:pt x="85" y="0"/>
                        <a:pt x="83" y="0"/>
                      </a:cubicBezTo>
                      <a:cubicBezTo>
                        <a:pt x="62" y="0"/>
                        <a:pt x="62" y="0"/>
                        <a:pt x="62" y="0"/>
                      </a:cubicBezTo>
                      <a:cubicBezTo>
                        <a:pt x="61" y="0"/>
                        <a:pt x="60" y="1"/>
                        <a:pt x="59" y="2"/>
                      </a:cubicBezTo>
                      <a:cubicBezTo>
                        <a:pt x="56" y="16"/>
                        <a:pt x="56" y="16"/>
                        <a:pt x="56" y="16"/>
                      </a:cubicBezTo>
                      <a:cubicBezTo>
                        <a:pt x="52" y="17"/>
                        <a:pt x="48" y="19"/>
                        <a:pt x="44" y="21"/>
                      </a:cubicBezTo>
                      <a:cubicBezTo>
                        <a:pt x="32" y="13"/>
                        <a:pt x="32" y="13"/>
                        <a:pt x="32" y="13"/>
                      </a:cubicBezTo>
                      <a:cubicBezTo>
                        <a:pt x="31" y="13"/>
                        <a:pt x="30" y="13"/>
                        <a:pt x="29" y="14"/>
                      </a:cubicBezTo>
                      <a:cubicBezTo>
                        <a:pt x="14" y="29"/>
                        <a:pt x="14" y="29"/>
                        <a:pt x="14" y="29"/>
                      </a:cubicBezTo>
                      <a:cubicBezTo>
                        <a:pt x="13" y="30"/>
                        <a:pt x="13" y="31"/>
                        <a:pt x="14" y="32"/>
                      </a:cubicBezTo>
                      <a:cubicBezTo>
                        <a:pt x="21" y="44"/>
                        <a:pt x="21" y="44"/>
                        <a:pt x="21" y="44"/>
                      </a:cubicBezTo>
                      <a:cubicBezTo>
                        <a:pt x="19" y="48"/>
                        <a:pt x="17" y="52"/>
                        <a:pt x="16" y="56"/>
                      </a:cubicBezTo>
                      <a:cubicBezTo>
                        <a:pt x="2" y="59"/>
                        <a:pt x="2" y="59"/>
                        <a:pt x="2" y="59"/>
                      </a:cubicBezTo>
                      <a:cubicBezTo>
                        <a:pt x="1" y="60"/>
                        <a:pt x="0" y="61"/>
                        <a:pt x="0" y="62"/>
                      </a:cubicBezTo>
                      <a:cubicBezTo>
                        <a:pt x="0" y="83"/>
                        <a:pt x="0" y="83"/>
                        <a:pt x="0" y="83"/>
                      </a:cubicBezTo>
                      <a:cubicBezTo>
                        <a:pt x="0" y="85"/>
                        <a:pt x="1" y="86"/>
                        <a:pt x="2" y="86"/>
                      </a:cubicBezTo>
                      <a:cubicBezTo>
                        <a:pt x="16" y="89"/>
                        <a:pt x="16" y="89"/>
                        <a:pt x="16" y="89"/>
                      </a:cubicBezTo>
                      <a:cubicBezTo>
                        <a:pt x="17" y="93"/>
                        <a:pt x="19" y="97"/>
                        <a:pt x="21" y="101"/>
                      </a:cubicBezTo>
                      <a:cubicBezTo>
                        <a:pt x="14" y="113"/>
                        <a:pt x="14" y="113"/>
                        <a:pt x="14" y="113"/>
                      </a:cubicBezTo>
                      <a:cubicBezTo>
                        <a:pt x="13" y="114"/>
                        <a:pt x="13" y="116"/>
                        <a:pt x="14" y="117"/>
                      </a:cubicBezTo>
                      <a:cubicBezTo>
                        <a:pt x="29" y="132"/>
                        <a:pt x="29" y="132"/>
                        <a:pt x="29" y="132"/>
                      </a:cubicBezTo>
                      <a:cubicBezTo>
                        <a:pt x="30" y="132"/>
                        <a:pt x="30" y="132"/>
                        <a:pt x="31" y="132"/>
                      </a:cubicBezTo>
                      <a:cubicBezTo>
                        <a:pt x="32" y="132"/>
                        <a:pt x="32" y="132"/>
                        <a:pt x="32" y="132"/>
                      </a:cubicBezTo>
                      <a:cubicBezTo>
                        <a:pt x="46" y="124"/>
                        <a:pt x="46" y="124"/>
                        <a:pt x="46" y="124"/>
                      </a:cubicBezTo>
                      <a:cubicBezTo>
                        <a:pt x="47" y="123"/>
                        <a:pt x="47" y="121"/>
                        <a:pt x="47"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8" name="Freeform 92">
                  <a:extLst>
                    <a:ext uri="{FF2B5EF4-FFF2-40B4-BE49-F238E27FC236}">
                      <a16:creationId xmlns:a16="http://schemas.microsoft.com/office/drawing/2014/main" id="{0667AAFF-A0AF-4ECF-A589-08F71AEA1C3F}"/>
                    </a:ext>
                  </a:extLst>
                </p:cNvPr>
                <p:cNvSpPr>
                  <a:spLocks noEditPoints="1"/>
                </p:cNvSpPr>
                <p:nvPr/>
              </p:nvSpPr>
              <p:spPr bwMode="auto">
                <a:xfrm>
                  <a:off x="4246563" y="2047876"/>
                  <a:ext cx="92075" cy="93663"/>
                </a:xfrm>
                <a:custGeom>
                  <a:avLst/>
                  <a:gdLst>
                    <a:gd name="T0" fmla="*/ 0 w 40"/>
                    <a:gd name="T1" fmla="*/ 21 h 41"/>
                    <a:gd name="T2" fmla="*/ 20 w 40"/>
                    <a:gd name="T3" fmla="*/ 41 h 41"/>
                    <a:gd name="T4" fmla="*/ 40 w 40"/>
                    <a:gd name="T5" fmla="*/ 21 h 41"/>
                    <a:gd name="T6" fmla="*/ 20 w 40"/>
                    <a:gd name="T7" fmla="*/ 0 h 41"/>
                    <a:gd name="T8" fmla="*/ 0 w 40"/>
                    <a:gd name="T9" fmla="*/ 21 h 41"/>
                    <a:gd name="T10" fmla="*/ 34 w 40"/>
                    <a:gd name="T11" fmla="*/ 21 h 41"/>
                    <a:gd name="T12" fmla="*/ 20 w 40"/>
                    <a:gd name="T13" fmla="*/ 35 h 41"/>
                    <a:gd name="T14" fmla="*/ 5 w 40"/>
                    <a:gd name="T15" fmla="*/ 21 h 41"/>
                    <a:gd name="T16" fmla="*/ 20 w 40"/>
                    <a:gd name="T17" fmla="*/ 6 h 41"/>
                    <a:gd name="T18" fmla="*/ 34 w 40"/>
                    <a:gd name="T19"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1">
                      <a:moveTo>
                        <a:pt x="0" y="21"/>
                      </a:moveTo>
                      <a:cubicBezTo>
                        <a:pt x="0" y="32"/>
                        <a:pt x="9" y="41"/>
                        <a:pt x="20" y="41"/>
                      </a:cubicBezTo>
                      <a:cubicBezTo>
                        <a:pt x="31" y="41"/>
                        <a:pt x="40" y="32"/>
                        <a:pt x="40" y="21"/>
                      </a:cubicBezTo>
                      <a:cubicBezTo>
                        <a:pt x="40" y="10"/>
                        <a:pt x="31" y="0"/>
                        <a:pt x="20" y="0"/>
                      </a:cubicBezTo>
                      <a:cubicBezTo>
                        <a:pt x="9" y="0"/>
                        <a:pt x="0" y="10"/>
                        <a:pt x="0" y="21"/>
                      </a:cubicBezTo>
                      <a:close/>
                      <a:moveTo>
                        <a:pt x="34" y="21"/>
                      </a:moveTo>
                      <a:cubicBezTo>
                        <a:pt x="34" y="29"/>
                        <a:pt x="28" y="35"/>
                        <a:pt x="20" y="35"/>
                      </a:cubicBezTo>
                      <a:cubicBezTo>
                        <a:pt x="12" y="35"/>
                        <a:pt x="5" y="29"/>
                        <a:pt x="5" y="21"/>
                      </a:cubicBezTo>
                      <a:cubicBezTo>
                        <a:pt x="5" y="13"/>
                        <a:pt x="12" y="6"/>
                        <a:pt x="20" y="6"/>
                      </a:cubicBezTo>
                      <a:cubicBezTo>
                        <a:pt x="28" y="6"/>
                        <a:pt x="34" y="13"/>
                        <a:pt x="3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49" name="Freeform 93">
                  <a:extLst>
                    <a:ext uri="{FF2B5EF4-FFF2-40B4-BE49-F238E27FC236}">
                      <a16:creationId xmlns:a16="http://schemas.microsoft.com/office/drawing/2014/main" id="{65B69E73-DC0D-4EC9-9612-FAFD6F87E55E}"/>
                    </a:ext>
                  </a:extLst>
                </p:cNvPr>
                <p:cNvSpPr>
                  <a:spLocks noEditPoints="1"/>
                </p:cNvSpPr>
                <p:nvPr/>
              </p:nvSpPr>
              <p:spPr bwMode="auto">
                <a:xfrm>
                  <a:off x="4465638" y="2109788"/>
                  <a:ext cx="133350" cy="161925"/>
                </a:xfrm>
                <a:custGeom>
                  <a:avLst/>
                  <a:gdLst>
                    <a:gd name="T0" fmla="*/ 37 w 58"/>
                    <a:gd name="T1" fmla="*/ 45 h 71"/>
                    <a:gd name="T2" fmla="*/ 45 w 58"/>
                    <a:gd name="T3" fmla="*/ 27 h 71"/>
                    <a:gd name="T4" fmla="*/ 45 w 58"/>
                    <a:gd name="T5" fmla="*/ 21 h 71"/>
                    <a:gd name="T6" fmla="*/ 25 w 58"/>
                    <a:gd name="T7" fmla="*/ 0 h 71"/>
                    <a:gd name="T8" fmla="*/ 5 w 58"/>
                    <a:gd name="T9" fmla="*/ 21 h 71"/>
                    <a:gd name="T10" fmla="*/ 5 w 58"/>
                    <a:gd name="T11" fmla="*/ 27 h 71"/>
                    <a:gd name="T12" fmla="*/ 13 w 58"/>
                    <a:gd name="T13" fmla="*/ 45 h 71"/>
                    <a:gd name="T14" fmla="*/ 2 w 58"/>
                    <a:gd name="T15" fmla="*/ 49 h 71"/>
                    <a:gd name="T16" fmla="*/ 1 w 58"/>
                    <a:gd name="T17" fmla="*/ 53 h 71"/>
                    <a:gd name="T18" fmla="*/ 5 w 58"/>
                    <a:gd name="T19" fmla="*/ 54 h 71"/>
                    <a:gd name="T20" fmla="*/ 25 w 58"/>
                    <a:gd name="T21" fmla="*/ 49 h 71"/>
                    <a:gd name="T22" fmla="*/ 53 w 58"/>
                    <a:gd name="T23" fmla="*/ 63 h 71"/>
                    <a:gd name="T24" fmla="*/ 53 w 58"/>
                    <a:gd name="T25" fmla="*/ 68 h 71"/>
                    <a:gd name="T26" fmla="*/ 56 w 58"/>
                    <a:gd name="T27" fmla="*/ 71 h 71"/>
                    <a:gd name="T28" fmla="*/ 58 w 58"/>
                    <a:gd name="T29" fmla="*/ 68 h 71"/>
                    <a:gd name="T30" fmla="*/ 58 w 58"/>
                    <a:gd name="T31" fmla="*/ 63 h 71"/>
                    <a:gd name="T32" fmla="*/ 37 w 58"/>
                    <a:gd name="T33" fmla="*/ 45 h 71"/>
                    <a:gd name="T34" fmla="*/ 10 w 58"/>
                    <a:gd name="T35" fmla="*/ 27 h 71"/>
                    <a:gd name="T36" fmla="*/ 10 w 58"/>
                    <a:gd name="T37" fmla="*/ 21 h 71"/>
                    <a:gd name="T38" fmla="*/ 25 w 58"/>
                    <a:gd name="T39" fmla="*/ 5 h 71"/>
                    <a:gd name="T40" fmla="*/ 40 w 58"/>
                    <a:gd name="T41" fmla="*/ 21 h 71"/>
                    <a:gd name="T42" fmla="*/ 40 w 58"/>
                    <a:gd name="T43" fmla="*/ 27 h 71"/>
                    <a:gd name="T44" fmla="*/ 25 w 58"/>
                    <a:gd name="T45" fmla="*/ 43 h 71"/>
                    <a:gd name="T46" fmla="*/ 10 w 58"/>
                    <a:gd name="T47"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71">
                      <a:moveTo>
                        <a:pt x="37" y="45"/>
                      </a:moveTo>
                      <a:cubicBezTo>
                        <a:pt x="42" y="41"/>
                        <a:pt x="45" y="35"/>
                        <a:pt x="45" y="27"/>
                      </a:cubicBezTo>
                      <a:cubicBezTo>
                        <a:pt x="45" y="21"/>
                        <a:pt x="45" y="21"/>
                        <a:pt x="45" y="21"/>
                      </a:cubicBezTo>
                      <a:cubicBezTo>
                        <a:pt x="45" y="9"/>
                        <a:pt x="36" y="0"/>
                        <a:pt x="25" y="0"/>
                      </a:cubicBezTo>
                      <a:cubicBezTo>
                        <a:pt x="14" y="0"/>
                        <a:pt x="5" y="9"/>
                        <a:pt x="5" y="21"/>
                      </a:cubicBezTo>
                      <a:cubicBezTo>
                        <a:pt x="5" y="27"/>
                        <a:pt x="5" y="27"/>
                        <a:pt x="5" y="27"/>
                      </a:cubicBezTo>
                      <a:cubicBezTo>
                        <a:pt x="5" y="35"/>
                        <a:pt x="8" y="41"/>
                        <a:pt x="13" y="45"/>
                      </a:cubicBezTo>
                      <a:cubicBezTo>
                        <a:pt x="9" y="46"/>
                        <a:pt x="5" y="47"/>
                        <a:pt x="2" y="49"/>
                      </a:cubicBezTo>
                      <a:cubicBezTo>
                        <a:pt x="1" y="50"/>
                        <a:pt x="0" y="52"/>
                        <a:pt x="1" y="53"/>
                      </a:cubicBezTo>
                      <a:cubicBezTo>
                        <a:pt x="2" y="54"/>
                        <a:pt x="3" y="55"/>
                        <a:pt x="5" y="54"/>
                      </a:cubicBezTo>
                      <a:cubicBezTo>
                        <a:pt x="11" y="50"/>
                        <a:pt x="19" y="49"/>
                        <a:pt x="25" y="49"/>
                      </a:cubicBezTo>
                      <a:cubicBezTo>
                        <a:pt x="35" y="49"/>
                        <a:pt x="53" y="54"/>
                        <a:pt x="53" y="63"/>
                      </a:cubicBezTo>
                      <a:cubicBezTo>
                        <a:pt x="53" y="68"/>
                        <a:pt x="53" y="68"/>
                        <a:pt x="53" y="68"/>
                      </a:cubicBezTo>
                      <a:cubicBezTo>
                        <a:pt x="53" y="69"/>
                        <a:pt x="54" y="71"/>
                        <a:pt x="56" y="71"/>
                      </a:cubicBezTo>
                      <a:cubicBezTo>
                        <a:pt x="57" y="71"/>
                        <a:pt x="58" y="69"/>
                        <a:pt x="58" y="68"/>
                      </a:cubicBezTo>
                      <a:cubicBezTo>
                        <a:pt x="58" y="63"/>
                        <a:pt x="58" y="63"/>
                        <a:pt x="58" y="63"/>
                      </a:cubicBezTo>
                      <a:cubicBezTo>
                        <a:pt x="58" y="53"/>
                        <a:pt x="47" y="47"/>
                        <a:pt x="37" y="45"/>
                      </a:cubicBezTo>
                      <a:close/>
                      <a:moveTo>
                        <a:pt x="10" y="27"/>
                      </a:moveTo>
                      <a:cubicBezTo>
                        <a:pt x="10" y="21"/>
                        <a:pt x="10" y="21"/>
                        <a:pt x="10" y="21"/>
                      </a:cubicBezTo>
                      <a:cubicBezTo>
                        <a:pt x="10" y="12"/>
                        <a:pt x="17" y="5"/>
                        <a:pt x="25" y="5"/>
                      </a:cubicBezTo>
                      <a:cubicBezTo>
                        <a:pt x="33" y="5"/>
                        <a:pt x="40" y="12"/>
                        <a:pt x="40" y="21"/>
                      </a:cubicBezTo>
                      <a:cubicBezTo>
                        <a:pt x="40" y="27"/>
                        <a:pt x="40" y="27"/>
                        <a:pt x="40" y="27"/>
                      </a:cubicBezTo>
                      <a:cubicBezTo>
                        <a:pt x="40" y="36"/>
                        <a:pt x="33" y="43"/>
                        <a:pt x="25" y="43"/>
                      </a:cubicBezTo>
                      <a:cubicBezTo>
                        <a:pt x="17" y="43"/>
                        <a:pt x="10" y="36"/>
                        <a:pt x="10"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0" name="Freeform 94">
                  <a:extLst>
                    <a:ext uri="{FF2B5EF4-FFF2-40B4-BE49-F238E27FC236}">
                      <a16:creationId xmlns:a16="http://schemas.microsoft.com/office/drawing/2014/main" id="{6B903007-0BFB-456D-AB52-6CD289C90CCA}"/>
                    </a:ext>
                  </a:extLst>
                </p:cNvPr>
                <p:cNvSpPr>
                  <a:spLocks noEditPoints="1"/>
                </p:cNvSpPr>
                <p:nvPr/>
              </p:nvSpPr>
              <p:spPr bwMode="auto">
                <a:xfrm>
                  <a:off x="4346575" y="2157413"/>
                  <a:ext cx="131763" cy="163513"/>
                </a:xfrm>
                <a:custGeom>
                  <a:avLst/>
                  <a:gdLst>
                    <a:gd name="T0" fmla="*/ 37 w 58"/>
                    <a:gd name="T1" fmla="*/ 46 h 71"/>
                    <a:gd name="T2" fmla="*/ 45 w 58"/>
                    <a:gd name="T3" fmla="*/ 28 h 71"/>
                    <a:gd name="T4" fmla="*/ 45 w 58"/>
                    <a:gd name="T5" fmla="*/ 22 h 71"/>
                    <a:gd name="T6" fmla="*/ 25 w 58"/>
                    <a:gd name="T7" fmla="*/ 0 h 71"/>
                    <a:gd name="T8" fmla="*/ 5 w 58"/>
                    <a:gd name="T9" fmla="*/ 22 h 71"/>
                    <a:gd name="T10" fmla="*/ 5 w 58"/>
                    <a:gd name="T11" fmla="*/ 28 h 71"/>
                    <a:gd name="T12" fmla="*/ 13 w 58"/>
                    <a:gd name="T13" fmla="*/ 46 h 71"/>
                    <a:gd name="T14" fmla="*/ 2 w 58"/>
                    <a:gd name="T15" fmla="*/ 50 h 71"/>
                    <a:gd name="T16" fmla="*/ 1 w 58"/>
                    <a:gd name="T17" fmla="*/ 54 h 71"/>
                    <a:gd name="T18" fmla="*/ 4 w 58"/>
                    <a:gd name="T19" fmla="*/ 55 h 71"/>
                    <a:gd name="T20" fmla="*/ 25 w 58"/>
                    <a:gd name="T21" fmla="*/ 50 h 71"/>
                    <a:gd name="T22" fmla="*/ 52 w 58"/>
                    <a:gd name="T23" fmla="*/ 64 h 71"/>
                    <a:gd name="T24" fmla="*/ 52 w 58"/>
                    <a:gd name="T25" fmla="*/ 69 h 71"/>
                    <a:gd name="T26" fmla="*/ 55 w 58"/>
                    <a:gd name="T27" fmla="*/ 71 h 71"/>
                    <a:gd name="T28" fmla="*/ 58 w 58"/>
                    <a:gd name="T29" fmla="*/ 69 h 71"/>
                    <a:gd name="T30" fmla="*/ 58 w 58"/>
                    <a:gd name="T31" fmla="*/ 64 h 71"/>
                    <a:gd name="T32" fmla="*/ 37 w 58"/>
                    <a:gd name="T33" fmla="*/ 46 h 71"/>
                    <a:gd name="T34" fmla="*/ 10 w 58"/>
                    <a:gd name="T35" fmla="*/ 28 h 71"/>
                    <a:gd name="T36" fmla="*/ 10 w 58"/>
                    <a:gd name="T37" fmla="*/ 22 h 71"/>
                    <a:gd name="T38" fmla="*/ 25 w 58"/>
                    <a:gd name="T39" fmla="*/ 6 h 71"/>
                    <a:gd name="T40" fmla="*/ 39 w 58"/>
                    <a:gd name="T41" fmla="*/ 22 h 71"/>
                    <a:gd name="T42" fmla="*/ 39 w 58"/>
                    <a:gd name="T43" fmla="*/ 28 h 71"/>
                    <a:gd name="T44" fmla="*/ 25 w 58"/>
                    <a:gd name="T45" fmla="*/ 44 h 71"/>
                    <a:gd name="T46" fmla="*/ 10 w 58"/>
                    <a:gd name="T47"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71">
                      <a:moveTo>
                        <a:pt x="37" y="46"/>
                      </a:moveTo>
                      <a:cubicBezTo>
                        <a:pt x="42" y="42"/>
                        <a:pt x="45" y="35"/>
                        <a:pt x="45" y="28"/>
                      </a:cubicBezTo>
                      <a:cubicBezTo>
                        <a:pt x="45" y="22"/>
                        <a:pt x="45" y="22"/>
                        <a:pt x="45" y="22"/>
                      </a:cubicBezTo>
                      <a:cubicBezTo>
                        <a:pt x="45" y="10"/>
                        <a:pt x="36" y="0"/>
                        <a:pt x="25" y="0"/>
                      </a:cubicBezTo>
                      <a:cubicBezTo>
                        <a:pt x="13" y="0"/>
                        <a:pt x="5" y="10"/>
                        <a:pt x="5" y="22"/>
                      </a:cubicBezTo>
                      <a:cubicBezTo>
                        <a:pt x="5" y="28"/>
                        <a:pt x="5" y="28"/>
                        <a:pt x="5" y="28"/>
                      </a:cubicBezTo>
                      <a:cubicBezTo>
                        <a:pt x="5" y="35"/>
                        <a:pt x="8" y="42"/>
                        <a:pt x="13" y="46"/>
                      </a:cubicBezTo>
                      <a:cubicBezTo>
                        <a:pt x="9" y="47"/>
                        <a:pt x="5" y="48"/>
                        <a:pt x="2" y="50"/>
                      </a:cubicBezTo>
                      <a:cubicBezTo>
                        <a:pt x="0" y="51"/>
                        <a:pt x="0" y="52"/>
                        <a:pt x="1" y="54"/>
                      </a:cubicBezTo>
                      <a:cubicBezTo>
                        <a:pt x="1" y="55"/>
                        <a:pt x="3" y="56"/>
                        <a:pt x="4" y="55"/>
                      </a:cubicBezTo>
                      <a:cubicBezTo>
                        <a:pt x="11" y="51"/>
                        <a:pt x="19" y="50"/>
                        <a:pt x="25" y="50"/>
                      </a:cubicBezTo>
                      <a:cubicBezTo>
                        <a:pt x="35" y="50"/>
                        <a:pt x="52" y="55"/>
                        <a:pt x="52" y="64"/>
                      </a:cubicBezTo>
                      <a:cubicBezTo>
                        <a:pt x="52" y="69"/>
                        <a:pt x="52" y="69"/>
                        <a:pt x="52" y="69"/>
                      </a:cubicBezTo>
                      <a:cubicBezTo>
                        <a:pt x="52" y="70"/>
                        <a:pt x="54" y="71"/>
                        <a:pt x="55" y="71"/>
                      </a:cubicBezTo>
                      <a:cubicBezTo>
                        <a:pt x="57" y="71"/>
                        <a:pt x="58" y="70"/>
                        <a:pt x="58" y="69"/>
                      </a:cubicBezTo>
                      <a:cubicBezTo>
                        <a:pt x="58" y="64"/>
                        <a:pt x="58" y="64"/>
                        <a:pt x="58" y="64"/>
                      </a:cubicBezTo>
                      <a:cubicBezTo>
                        <a:pt x="58" y="54"/>
                        <a:pt x="47" y="48"/>
                        <a:pt x="37" y="46"/>
                      </a:cubicBezTo>
                      <a:close/>
                      <a:moveTo>
                        <a:pt x="10" y="28"/>
                      </a:moveTo>
                      <a:cubicBezTo>
                        <a:pt x="10" y="22"/>
                        <a:pt x="10" y="22"/>
                        <a:pt x="10" y="22"/>
                      </a:cubicBezTo>
                      <a:cubicBezTo>
                        <a:pt x="10" y="13"/>
                        <a:pt x="17" y="6"/>
                        <a:pt x="25" y="6"/>
                      </a:cubicBezTo>
                      <a:cubicBezTo>
                        <a:pt x="33" y="6"/>
                        <a:pt x="39" y="13"/>
                        <a:pt x="39" y="22"/>
                      </a:cubicBezTo>
                      <a:cubicBezTo>
                        <a:pt x="39" y="28"/>
                        <a:pt x="39" y="28"/>
                        <a:pt x="39" y="28"/>
                      </a:cubicBezTo>
                      <a:cubicBezTo>
                        <a:pt x="39" y="37"/>
                        <a:pt x="33" y="44"/>
                        <a:pt x="25" y="44"/>
                      </a:cubicBezTo>
                      <a:cubicBezTo>
                        <a:pt x="17" y="44"/>
                        <a:pt x="10" y="37"/>
                        <a:pt x="1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1" name="Freeform 95">
                  <a:extLst>
                    <a:ext uri="{FF2B5EF4-FFF2-40B4-BE49-F238E27FC236}">
                      <a16:creationId xmlns:a16="http://schemas.microsoft.com/office/drawing/2014/main" id="{6FC41423-F185-44DA-876B-3F8A432D072A}"/>
                    </a:ext>
                  </a:extLst>
                </p:cNvPr>
                <p:cNvSpPr>
                  <a:spLocks noEditPoints="1"/>
                </p:cNvSpPr>
                <p:nvPr/>
              </p:nvSpPr>
              <p:spPr bwMode="auto">
                <a:xfrm>
                  <a:off x="4205288" y="2208213"/>
                  <a:ext cx="153988" cy="163513"/>
                </a:xfrm>
                <a:custGeom>
                  <a:avLst/>
                  <a:gdLst>
                    <a:gd name="T0" fmla="*/ 45 w 67"/>
                    <a:gd name="T1" fmla="*/ 45 h 71"/>
                    <a:gd name="T2" fmla="*/ 54 w 67"/>
                    <a:gd name="T3" fmla="*/ 28 h 71"/>
                    <a:gd name="T4" fmla="*/ 54 w 67"/>
                    <a:gd name="T5" fmla="*/ 22 h 71"/>
                    <a:gd name="T6" fmla="*/ 33 w 67"/>
                    <a:gd name="T7" fmla="*/ 0 h 71"/>
                    <a:gd name="T8" fmla="*/ 13 w 67"/>
                    <a:gd name="T9" fmla="*/ 22 h 71"/>
                    <a:gd name="T10" fmla="*/ 13 w 67"/>
                    <a:gd name="T11" fmla="*/ 28 h 71"/>
                    <a:gd name="T12" fmla="*/ 22 w 67"/>
                    <a:gd name="T13" fmla="*/ 45 h 71"/>
                    <a:gd name="T14" fmla="*/ 0 w 67"/>
                    <a:gd name="T15" fmla="*/ 64 h 71"/>
                    <a:gd name="T16" fmla="*/ 0 w 67"/>
                    <a:gd name="T17" fmla="*/ 68 h 71"/>
                    <a:gd name="T18" fmla="*/ 3 w 67"/>
                    <a:gd name="T19" fmla="*/ 71 h 71"/>
                    <a:gd name="T20" fmla="*/ 6 w 67"/>
                    <a:gd name="T21" fmla="*/ 68 h 71"/>
                    <a:gd name="T22" fmla="*/ 6 w 67"/>
                    <a:gd name="T23" fmla="*/ 64 h 71"/>
                    <a:gd name="T24" fmla="*/ 33 w 67"/>
                    <a:gd name="T25" fmla="*/ 49 h 71"/>
                    <a:gd name="T26" fmla="*/ 61 w 67"/>
                    <a:gd name="T27" fmla="*/ 64 h 71"/>
                    <a:gd name="T28" fmla="*/ 61 w 67"/>
                    <a:gd name="T29" fmla="*/ 68 h 71"/>
                    <a:gd name="T30" fmla="*/ 64 w 67"/>
                    <a:gd name="T31" fmla="*/ 71 h 71"/>
                    <a:gd name="T32" fmla="*/ 67 w 67"/>
                    <a:gd name="T33" fmla="*/ 68 h 71"/>
                    <a:gd name="T34" fmla="*/ 67 w 67"/>
                    <a:gd name="T35" fmla="*/ 64 h 71"/>
                    <a:gd name="T36" fmla="*/ 45 w 67"/>
                    <a:gd name="T37" fmla="*/ 45 h 71"/>
                    <a:gd name="T38" fmla="*/ 19 w 67"/>
                    <a:gd name="T39" fmla="*/ 28 h 71"/>
                    <a:gd name="T40" fmla="*/ 19 w 67"/>
                    <a:gd name="T41" fmla="*/ 22 h 71"/>
                    <a:gd name="T42" fmla="*/ 33 w 67"/>
                    <a:gd name="T43" fmla="*/ 6 h 71"/>
                    <a:gd name="T44" fmla="*/ 48 w 67"/>
                    <a:gd name="T45" fmla="*/ 22 h 71"/>
                    <a:gd name="T46" fmla="*/ 48 w 67"/>
                    <a:gd name="T47" fmla="*/ 28 h 71"/>
                    <a:gd name="T48" fmla="*/ 33 w 67"/>
                    <a:gd name="T49" fmla="*/ 44 h 71"/>
                    <a:gd name="T50" fmla="*/ 19 w 67"/>
                    <a:gd name="T51"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71">
                      <a:moveTo>
                        <a:pt x="45" y="45"/>
                      </a:moveTo>
                      <a:cubicBezTo>
                        <a:pt x="50" y="42"/>
                        <a:pt x="54" y="35"/>
                        <a:pt x="54" y="28"/>
                      </a:cubicBezTo>
                      <a:cubicBezTo>
                        <a:pt x="54" y="22"/>
                        <a:pt x="54" y="22"/>
                        <a:pt x="54" y="22"/>
                      </a:cubicBezTo>
                      <a:cubicBezTo>
                        <a:pt x="54" y="10"/>
                        <a:pt x="45" y="0"/>
                        <a:pt x="33" y="0"/>
                      </a:cubicBezTo>
                      <a:cubicBezTo>
                        <a:pt x="22" y="0"/>
                        <a:pt x="13" y="10"/>
                        <a:pt x="13" y="22"/>
                      </a:cubicBezTo>
                      <a:cubicBezTo>
                        <a:pt x="13" y="28"/>
                        <a:pt x="13" y="28"/>
                        <a:pt x="13" y="28"/>
                      </a:cubicBezTo>
                      <a:cubicBezTo>
                        <a:pt x="13" y="35"/>
                        <a:pt x="16" y="42"/>
                        <a:pt x="22" y="45"/>
                      </a:cubicBezTo>
                      <a:cubicBezTo>
                        <a:pt x="11" y="48"/>
                        <a:pt x="0" y="54"/>
                        <a:pt x="0" y="64"/>
                      </a:cubicBezTo>
                      <a:cubicBezTo>
                        <a:pt x="0" y="68"/>
                        <a:pt x="0" y="68"/>
                        <a:pt x="0" y="68"/>
                      </a:cubicBezTo>
                      <a:cubicBezTo>
                        <a:pt x="0" y="70"/>
                        <a:pt x="1" y="71"/>
                        <a:pt x="3" y="71"/>
                      </a:cubicBezTo>
                      <a:cubicBezTo>
                        <a:pt x="4" y="71"/>
                        <a:pt x="6" y="70"/>
                        <a:pt x="6" y="68"/>
                      </a:cubicBezTo>
                      <a:cubicBezTo>
                        <a:pt x="6" y="64"/>
                        <a:pt x="6" y="64"/>
                        <a:pt x="6" y="64"/>
                      </a:cubicBezTo>
                      <a:cubicBezTo>
                        <a:pt x="6" y="54"/>
                        <a:pt x="24" y="49"/>
                        <a:pt x="33" y="49"/>
                      </a:cubicBezTo>
                      <a:cubicBezTo>
                        <a:pt x="43" y="49"/>
                        <a:pt x="61" y="54"/>
                        <a:pt x="61" y="64"/>
                      </a:cubicBezTo>
                      <a:cubicBezTo>
                        <a:pt x="61" y="68"/>
                        <a:pt x="61" y="68"/>
                        <a:pt x="61" y="68"/>
                      </a:cubicBezTo>
                      <a:cubicBezTo>
                        <a:pt x="61" y="70"/>
                        <a:pt x="62" y="71"/>
                        <a:pt x="64" y="71"/>
                      </a:cubicBezTo>
                      <a:cubicBezTo>
                        <a:pt x="66" y="71"/>
                        <a:pt x="67" y="70"/>
                        <a:pt x="67" y="68"/>
                      </a:cubicBezTo>
                      <a:cubicBezTo>
                        <a:pt x="67" y="64"/>
                        <a:pt x="67" y="64"/>
                        <a:pt x="67" y="64"/>
                      </a:cubicBezTo>
                      <a:cubicBezTo>
                        <a:pt x="67" y="54"/>
                        <a:pt x="56" y="48"/>
                        <a:pt x="45" y="45"/>
                      </a:cubicBezTo>
                      <a:close/>
                      <a:moveTo>
                        <a:pt x="19" y="28"/>
                      </a:moveTo>
                      <a:cubicBezTo>
                        <a:pt x="19" y="22"/>
                        <a:pt x="19" y="22"/>
                        <a:pt x="19" y="22"/>
                      </a:cubicBezTo>
                      <a:cubicBezTo>
                        <a:pt x="19" y="13"/>
                        <a:pt x="25" y="6"/>
                        <a:pt x="33" y="6"/>
                      </a:cubicBezTo>
                      <a:cubicBezTo>
                        <a:pt x="42" y="6"/>
                        <a:pt x="48" y="13"/>
                        <a:pt x="48" y="22"/>
                      </a:cubicBezTo>
                      <a:cubicBezTo>
                        <a:pt x="48" y="28"/>
                        <a:pt x="48" y="28"/>
                        <a:pt x="48" y="28"/>
                      </a:cubicBezTo>
                      <a:cubicBezTo>
                        <a:pt x="48" y="37"/>
                        <a:pt x="42" y="44"/>
                        <a:pt x="33" y="44"/>
                      </a:cubicBezTo>
                      <a:cubicBezTo>
                        <a:pt x="25" y="44"/>
                        <a:pt x="19" y="37"/>
                        <a:pt x="1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grpSp>
        <p:nvGrpSpPr>
          <p:cNvPr id="114" name="Группа 113">
            <a:extLst>
              <a:ext uri="{FF2B5EF4-FFF2-40B4-BE49-F238E27FC236}">
                <a16:creationId xmlns:a16="http://schemas.microsoft.com/office/drawing/2014/main" id="{3A9E13B0-C8EE-44D9-966D-DCA98CCD4BF6}"/>
              </a:ext>
            </a:extLst>
          </p:cNvPr>
          <p:cNvGrpSpPr/>
          <p:nvPr/>
        </p:nvGrpSpPr>
        <p:grpSpPr>
          <a:xfrm>
            <a:off x="424675" y="1137848"/>
            <a:ext cx="4683319" cy="1336760"/>
            <a:chOff x="424675" y="1137848"/>
            <a:chExt cx="4683319" cy="1336760"/>
          </a:xfrm>
        </p:grpSpPr>
        <p:sp>
          <p:nvSpPr>
            <p:cNvPr id="4" name="TextBox 3">
              <a:extLst>
                <a:ext uri="{FF2B5EF4-FFF2-40B4-BE49-F238E27FC236}">
                  <a16:creationId xmlns:a16="http://schemas.microsoft.com/office/drawing/2014/main" id="{BCB699CB-2556-42F8-A9C9-89AD266FE0A2}"/>
                </a:ext>
              </a:extLst>
            </p:cNvPr>
            <p:cNvSpPr txBox="1"/>
            <p:nvPr/>
          </p:nvSpPr>
          <p:spPr>
            <a:xfrm>
              <a:off x="1682375" y="1480611"/>
              <a:ext cx="3425619" cy="584775"/>
            </a:xfrm>
            <a:prstGeom prst="rect">
              <a:avLst/>
            </a:prstGeom>
            <a:noFill/>
          </p:spPr>
          <p:txBody>
            <a:bodyPr wrap="square">
              <a:spAutoFit/>
            </a:bodyPr>
            <a:lstStyle/>
            <a:p>
              <a:pPr algn="l" rtl="0"/>
              <a:r>
                <a:rPr lang="ru-RU" sz="1600" i="0">
                  <a:solidFill>
                    <a:srgbClr val="222222"/>
                  </a:solidFill>
                  <a:effectLst/>
                  <a:latin typeface="+mj-lt"/>
                </a:rPr>
                <a:t>Агент изменений не владеет </a:t>
              </a:r>
              <a:r>
                <a:rPr lang="ru-RU" sz="1600" i="0" err="1">
                  <a:solidFill>
                    <a:srgbClr val="222222"/>
                  </a:solidFill>
                  <a:effectLst/>
                  <a:latin typeface="+mj-lt"/>
                </a:rPr>
                <a:t>change</a:t>
              </a:r>
              <a:r>
                <a:rPr lang="ru-RU" sz="1600" i="0">
                  <a:solidFill>
                    <a:srgbClr val="222222"/>
                  </a:solidFill>
                  <a:effectLst/>
                  <a:latin typeface="+mj-lt"/>
                </a:rPr>
                <a:t>-менеджментом</a:t>
              </a:r>
            </a:p>
          </p:txBody>
        </p:sp>
        <p:grpSp>
          <p:nvGrpSpPr>
            <p:cNvPr id="13" name="Группа 12">
              <a:extLst>
                <a:ext uri="{FF2B5EF4-FFF2-40B4-BE49-F238E27FC236}">
                  <a16:creationId xmlns:a16="http://schemas.microsoft.com/office/drawing/2014/main" id="{803B080F-A19E-4706-870A-D7F7A377A7FB}"/>
                </a:ext>
              </a:extLst>
            </p:cNvPr>
            <p:cNvGrpSpPr/>
            <p:nvPr/>
          </p:nvGrpSpPr>
          <p:grpSpPr>
            <a:xfrm>
              <a:off x="424675" y="1137848"/>
              <a:ext cx="1268208" cy="1336760"/>
              <a:chOff x="437375" y="1216076"/>
              <a:chExt cx="1372000" cy="1446162"/>
            </a:xfrm>
          </p:grpSpPr>
          <p:pic>
            <p:nvPicPr>
              <p:cNvPr id="11" name="Рисунок 10">
                <a:extLst>
                  <a:ext uri="{FF2B5EF4-FFF2-40B4-BE49-F238E27FC236}">
                    <a16:creationId xmlns:a16="http://schemas.microsoft.com/office/drawing/2014/main" id="{36133FED-C0F1-4ED7-857A-24179D88D2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12" name="TextBox 11">
                <a:extLst>
                  <a:ext uri="{FF2B5EF4-FFF2-40B4-BE49-F238E27FC236}">
                    <a16:creationId xmlns:a16="http://schemas.microsoft.com/office/drawing/2014/main" id="{E5239827-6688-42EB-9822-F0AC07B35EE8}"/>
                  </a:ext>
                </a:extLst>
              </p:cNvPr>
              <p:cNvSpPr txBox="1"/>
              <p:nvPr/>
            </p:nvSpPr>
            <p:spPr>
              <a:xfrm>
                <a:off x="967991" y="1708323"/>
                <a:ext cx="310768" cy="432855"/>
              </a:xfrm>
              <a:prstGeom prst="rect">
                <a:avLst/>
              </a:prstGeom>
              <a:noFill/>
            </p:spPr>
            <p:txBody>
              <a:bodyPr wrap="none" rtlCol="0">
                <a:spAutoFit/>
              </a:bodyPr>
              <a:lstStyle/>
              <a:p>
                <a:pPr algn="ctr"/>
                <a:r>
                  <a:rPr lang="ru-RU" sz="2000">
                    <a:solidFill>
                      <a:schemeClr val="bg1"/>
                    </a:solidFill>
                    <a:latin typeface="+mj-lt"/>
                  </a:rPr>
                  <a:t>1</a:t>
                </a:r>
              </a:p>
            </p:txBody>
          </p:sp>
        </p:grpSp>
        <p:grpSp>
          <p:nvGrpSpPr>
            <p:cNvPr id="52" name="Рисунок 1">
              <a:extLst>
                <a:ext uri="{FF2B5EF4-FFF2-40B4-BE49-F238E27FC236}">
                  <a16:creationId xmlns:a16="http://schemas.microsoft.com/office/drawing/2014/main" id="{4B29B42A-FFE5-4B0D-A824-D1ECBDC4F818}"/>
                </a:ext>
              </a:extLst>
            </p:cNvPr>
            <p:cNvGrpSpPr/>
            <p:nvPr/>
          </p:nvGrpSpPr>
          <p:grpSpPr>
            <a:xfrm>
              <a:off x="1815157" y="1140152"/>
              <a:ext cx="357693" cy="357303"/>
              <a:chOff x="6685065" y="5560398"/>
              <a:chExt cx="513822" cy="513262"/>
            </a:xfrm>
            <a:solidFill>
              <a:schemeClr val="accent6"/>
            </a:solidFill>
          </p:grpSpPr>
          <p:sp>
            <p:nvSpPr>
              <p:cNvPr id="53" name="Полилиния: фигура 52">
                <a:extLst>
                  <a:ext uri="{FF2B5EF4-FFF2-40B4-BE49-F238E27FC236}">
                    <a16:creationId xmlns:a16="http://schemas.microsoft.com/office/drawing/2014/main" id="{2D4D1E40-6E08-414D-AEA7-A137EC9CE9AB}"/>
                  </a:ext>
                </a:extLst>
              </p:cNvPr>
              <p:cNvSpPr/>
              <p:nvPr/>
            </p:nvSpPr>
            <p:spPr>
              <a:xfrm>
                <a:off x="6687986" y="5560398"/>
                <a:ext cx="510901" cy="304664"/>
              </a:xfrm>
              <a:custGeom>
                <a:avLst/>
                <a:gdLst>
                  <a:gd name="connsiteX0" fmla="*/ 509261 w 510901"/>
                  <a:gd name="connsiteY0" fmla="*/ 287519 h 304664"/>
                  <a:gd name="connsiteX1" fmla="*/ 454968 w 510901"/>
                  <a:gd name="connsiteY1" fmla="*/ 97019 h 304664"/>
                  <a:gd name="connsiteX2" fmla="*/ 283518 w 510901"/>
                  <a:gd name="connsiteY2" fmla="*/ 1769 h 304664"/>
                  <a:gd name="connsiteX3" fmla="*/ 102543 w 510901"/>
                  <a:gd name="connsiteY3" fmla="*/ 50347 h 304664"/>
                  <a:gd name="connsiteX4" fmla="*/ 99686 w 510901"/>
                  <a:gd name="connsiteY4" fmla="*/ 52252 h 304664"/>
                  <a:gd name="connsiteX5" fmla="*/ 73968 w 510901"/>
                  <a:gd name="connsiteY5" fmla="*/ 19867 h 304664"/>
                  <a:gd name="connsiteX6" fmla="*/ 68253 w 510901"/>
                  <a:gd name="connsiteY6" fmla="*/ 17962 h 304664"/>
                  <a:gd name="connsiteX7" fmla="*/ 62538 w 510901"/>
                  <a:gd name="connsiteY7" fmla="*/ 21772 h 304664"/>
                  <a:gd name="connsiteX8" fmla="*/ 626 w 510901"/>
                  <a:gd name="connsiteY8" fmla="*/ 169409 h 304664"/>
                  <a:gd name="connsiteX9" fmla="*/ 1578 w 510901"/>
                  <a:gd name="connsiteY9" fmla="*/ 176077 h 304664"/>
                  <a:gd name="connsiteX10" fmla="*/ 7293 w 510901"/>
                  <a:gd name="connsiteY10" fmla="*/ 177982 h 304664"/>
                  <a:gd name="connsiteX11" fmla="*/ 165408 w 510901"/>
                  <a:gd name="connsiteY11" fmla="*/ 150359 h 304664"/>
                  <a:gd name="connsiteX12" fmla="*/ 170171 w 510901"/>
                  <a:gd name="connsiteY12" fmla="*/ 146549 h 304664"/>
                  <a:gd name="connsiteX13" fmla="*/ 169218 w 510901"/>
                  <a:gd name="connsiteY13" fmla="*/ 139882 h 304664"/>
                  <a:gd name="connsiteX14" fmla="*/ 144453 w 510901"/>
                  <a:gd name="connsiteY14" fmla="*/ 108449 h 304664"/>
                  <a:gd name="connsiteX15" fmla="*/ 147311 w 510901"/>
                  <a:gd name="connsiteY15" fmla="*/ 106544 h 304664"/>
                  <a:gd name="connsiteX16" fmla="*/ 327333 w 510901"/>
                  <a:gd name="connsiteY16" fmla="*/ 87494 h 304664"/>
                  <a:gd name="connsiteX17" fmla="*/ 332096 w 510901"/>
                  <a:gd name="connsiteY17" fmla="*/ 87494 h 304664"/>
                  <a:gd name="connsiteX18" fmla="*/ 335906 w 510901"/>
                  <a:gd name="connsiteY18" fmla="*/ 83684 h 304664"/>
                  <a:gd name="connsiteX19" fmla="*/ 335906 w 510901"/>
                  <a:gd name="connsiteY19" fmla="*/ 78922 h 304664"/>
                  <a:gd name="connsiteX20" fmla="*/ 332096 w 510901"/>
                  <a:gd name="connsiteY20" fmla="*/ 76064 h 304664"/>
                  <a:gd name="connsiteX21" fmla="*/ 131118 w 510901"/>
                  <a:gd name="connsiteY21" fmla="*/ 102734 h 304664"/>
                  <a:gd name="connsiteX22" fmla="*/ 128261 w 510901"/>
                  <a:gd name="connsiteY22" fmla="*/ 107497 h 304664"/>
                  <a:gd name="connsiteX23" fmla="*/ 129213 w 510901"/>
                  <a:gd name="connsiteY23" fmla="*/ 112259 h 304664"/>
                  <a:gd name="connsiteX24" fmla="*/ 152073 w 510901"/>
                  <a:gd name="connsiteY24" fmla="*/ 140834 h 304664"/>
                  <a:gd name="connsiteX25" fmla="*/ 16818 w 510901"/>
                  <a:gd name="connsiteY25" fmla="*/ 163694 h 304664"/>
                  <a:gd name="connsiteX26" fmla="*/ 70158 w 510901"/>
                  <a:gd name="connsiteY26" fmla="*/ 37012 h 304664"/>
                  <a:gd name="connsiteX27" fmla="*/ 93018 w 510901"/>
                  <a:gd name="connsiteY27" fmla="*/ 65587 h 304664"/>
                  <a:gd name="connsiteX28" fmla="*/ 101591 w 510901"/>
                  <a:gd name="connsiteY28" fmla="*/ 66539 h 304664"/>
                  <a:gd name="connsiteX29" fmla="*/ 444491 w 510901"/>
                  <a:gd name="connsiteY29" fmla="*/ 105592 h 304664"/>
                  <a:gd name="connsiteX30" fmla="*/ 496878 w 510901"/>
                  <a:gd name="connsiteY30" fmla="*/ 278947 h 304664"/>
                  <a:gd name="connsiteX31" fmla="*/ 496878 w 510901"/>
                  <a:gd name="connsiteY31" fmla="*/ 281804 h 304664"/>
                  <a:gd name="connsiteX32" fmla="*/ 495926 w 510901"/>
                  <a:gd name="connsiteY32" fmla="*/ 281804 h 304664"/>
                  <a:gd name="connsiteX33" fmla="*/ 449253 w 510901"/>
                  <a:gd name="connsiteY33" fmla="*/ 290377 h 304664"/>
                  <a:gd name="connsiteX34" fmla="*/ 450206 w 510901"/>
                  <a:gd name="connsiteY34" fmla="*/ 285614 h 304664"/>
                  <a:gd name="connsiteX35" fmla="*/ 409248 w 510901"/>
                  <a:gd name="connsiteY35" fmla="*/ 135119 h 304664"/>
                  <a:gd name="connsiteX36" fmla="*/ 404486 w 510901"/>
                  <a:gd name="connsiteY36" fmla="*/ 132262 h 304664"/>
                  <a:gd name="connsiteX37" fmla="*/ 400676 w 510901"/>
                  <a:gd name="connsiteY37" fmla="*/ 133214 h 304664"/>
                  <a:gd name="connsiteX38" fmla="*/ 398771 w 510901"/>
                  <a:gd name="connsiteY38" fmla="*/ 137977 h 304664"/>
                  <a:gd name="connsiteX39" fmla="*/ 399723 w 510901"/>
                  <a:gd name="connsiteY39" fmla="*/ 142739 h 304664"/>
                  <a:gd name="connsiteX40" fmla="*/ 435918 w 510901"/>
                  <a:gd name="connsiteY40" fmla="*/ 297044 h 304664"/>
                  <a:gd name="connsiteX41" fmla="*/ 437823 w 510901"/>
                  <a:gd name="connsiteY41" fmla="*/ 302759 h 304664"/>
                  <a:gd name="connsiteX42" fmla="*/ 442586 w 510901"/>
                  <a:gd name="connsiteY42" fmla="*/ 304664 h 304664"/>
                  <a:gd name="connsiteX43" fmla="*/ 506403 w 510901"/>
                  <a:gd name="connsiteY43" fmla="*/ 293234 h 304664"/>
                  <a:gd name="connsiteX44" fmla="*/ 509261 w 510901"/>
                  <a:gd name="connsiteY44" fmla="*/ 287519 h 30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10901" h="304664">
                    <a:moveTo>
                      <a:pt x="509261" y="287519"/>
                    </a:moveTo>
                    <a:cubicBezTo>
                      <a:pt x="516881" y="218939"/>
                      <a:pt x="497831" y="151312"/>
                      <a:pt x="454968" y="97019"/>
                    </a:cubicBezTo>
                    <a:cubicBezTo>
                      <a:pt x="412106" y="42727"/>
                      <a:pt x="351146" y="9389"/>
                      <a:pt x="283518" y="1769"/>
                    </a:cubicBezTo>
                    <a:cubicBezTo>
                      <a:pt x="218748" y="-5851"/>
                      <a:pt x="154931" y="11294"/>
                      <a:pt x="102543" y="50347"/>
                    </a:cubicBezTo>
                    <a:lnTo>
                      <a:pt x="99686" y="52252"/>
                    </a:lnTo>
                    <a:lnTo>
                      <a:pt x="73968" y="19867"/>
                    </a:lnTo>
                    <a:cubicBezTo>
                      <a:pt x="72063" y="17962"/>
                      <a:pt x="70158" y="17009"/>
                      <a:pt x="68253" y="17962"/>
                    </a:cubicBezTo>
                    <a:cubicBezTo>
                      <a:pt x="65396" y="17962"/>
                      <a:pt x="63491" y="19867"/>
                      <a:pt x="62538" y="21772"/>
                    </a:cubicBezTo>
                    <a:lnTo>
                      <a:pt x="626" y="169409"/>
                    </a:lnTo>
                    <a:cubicBezTo>
                      <a:pt x="-327" y="171314"/>
                      <a:pt x="-327" y="174172"/>
                      <a:pt x="1578" y="176077"/>
                    </a:cubicBezTo>
                    <a:cubicBezTo>
                      <a:pt x="3483" y="177982"/>
                      <a:pt x="5388" y="178934"/>
                      <a:pt x="7293" y="177982"/>
                    </a:cubicBezTo>
                    <a:lnTo>
                      <a:pt x="165408" y="150359"/>
                    </a:lnTo>
                    <a:cubicBezTo>
                      <a:pt x="167313" y="150359"/>
                      <a:pt x="169218" y="148454"/>
                      <a:pt x="170171" y="146549"/>
                    </a:cubicBezTo>
                    <a:cubicBezTo>
                      <a:pt x="171123" y="144644"/>
                      <a:pt x="170171" y="141787"/>
                      <a:pt x="169218" y="139882"/>
                    </a:cubicBezTo>
                    <a:lnTo>
                      <a:pt x="144453" y="108449"/>
                    </a:lnTo>
                    <a:lnTo>
                      <a:pt x="147311" y="106544"/>
                    </a:lnTo>
                    <a:cubicBezTo>
                      <a:pt x="200651" y="69397"/>
                      <a:pt x="267326" y="61777"/>
                      <a:pt x="327333" y="87494"/>
                    </a:cubicBezTo>
                    <a:cubicBezTo>
                      <a:pt x="329238" y="88447"/>
                      <a:pt x="330191" y="88447"/>
                      <a:pt x="332096" y="87494"/>
                    </a:cubicBezTo>
                    <a:cubicBezTo>
                      <a:pt x="334001" y="86542"/>
                      <a:pt x="334953" y="85589"/>
                      <a:pt x="335906" y="83684"/>
                    </a:cubicBezTo>
                    <a:cubicBezTo>
                      <a:pt x="336858" y="81779"/>
                      <a:pt x="336858" y="80827"/>
                      <a:pt x="335906" y="78922"/>
                    </a:cubicBezTo>
                    <a:cubicBezTo>
                      <a:pt x="334953" y="77969"/>
                      <a:pt x="334001" y="76064"/>
                      <a:pt x="332096" y="76064"/>
                    </a:cubicBezTo>
                    <a:cubicBezTo>
                      <a:pt x="265421" y="47489"/>
                      <a:pt x="188268" y="57014"/>
                      <a:pt x="131118" y="102734"/>
                    </a:cubicBezTo>
                    <a:cubicBezTo>
                      <a:pt x="130166" y="103687"/>
                      <a:pt x="129213" y="105592"/>
                      <a:pt x="128261" y="107497"/>
                    </a:cubicBezTo>
                    <a:cubicBezTo>
                      <a:pt x="128261" y="109402"/>
                      <a:pt x="128261" y="111307"/>
                      <a:pt x="129213" y="112259"/>
                    </a:cubicBezTo>
                    <a:lnTo>
                      <a:pt x="152073" y="140834"/>
                    </a:lnTo>
                    <a:lnTo>
                      <a:pt x="16818" y="163694"/>
                    </a:lnTo>
                    <a:lnTo>
                      <a:pt x="70158" y="37012"/>
                    </a:lnTo>
                    <a:lnTo>
                      <a:pt x="93018" y="65587"/>
                    </a:lnTo>
                    <a:cubicBezTo>
                      <a:pt x="94923" y="68444"/>
                      <a:pt x="99686" y="68444"/>
                      <a:pt x="101591" y="66539"/>
                    </a:cubicBezTo>
                    <a:cubicBezTo>
                      <a:pt x="207318" y="-17281"/>
                      <a:pt x="360671" y="-136"/>
                      <a:pt x="444491" y="105592"/>
                    </a:cubicBezTo>
                    <a:cubicBezTo>
                      <a:pt x="483543" y="155122"/>
                      <a:pt x="502593" y="216082"/>
                      <a:pt x="496878" y="278947"/>
                    </a:cubicBezTo>
                    <a:lnTo>
                      <a:pt x="496878" y="281804"/>
                    </a:lnTo>
                    <a:lnTo>
                      <a:pt x="495926" y="281804"/>
                    </a:lnTo>
                    <a:lnTo>
                      <a:pt x="449253" y="290377"/>
                    </a:lnTo>
                    <a:lnTo>
                      <a:pt x="450206" y="285614"/>
                    </a:lnTo>
                    <a:cubicBezTo>
                      <a:pt x="457826" y="231322"/>
                      <a:pt x="443538" y="177982"/>
                      <a:pt x="409248" y="135119"/>
                    </a:cubicBezTo>
                    <a:cubicBezTo>
                      <a:pt x="408296" y="133214"/>
                      <a:pt x="406391" y="132262"/>
                      <a:pt x="404486" y="132262"/>
                    </a:cubicBezTo>
                    <a:cubicBezTo>
                      <a:pt x="402581" y="132262"/>
                      <a:pt x="401628" y="132262"/>
                      <a:pt x="400676" y="133214"/>
                    </a:cubicBezTo>
                    <a:cubicBezTo>
                      <a:pt x="399723" y="134167"/>
                      <a:pt x="398771" y="136072"/>
                      <a:pt x="398771" y="137977"/>
                    </a:cubicBezTo>
                    <a:cubicBezTo>
                      <a:pt x="398771" y="139882"/>
                      <a:pt x="398771" y="141787"/>
                      <a:pt x="399723" y="142739"/>
                    </a:cubicBezTo>
                    <a:cubicBezTo>
                      <a:pt x="434013" y="186554"/>
                      <a:pt x="447348" y="242752"/>
                      <a:pt x="435918" y="297044"/>
                    </a:cubicBezTo>
                    <a:cubicBezTo>
                      <a:pt x="435918" y="298949"/>
                      <a:pt x="435918" y="300854"/>
                      <a:pt x="437823" y="302759"/>
                    </a:cubicBezTo>
                    <a:cubicBezTo>
                      <a:pt x="438776" y="303712"/>
                      <a:pt x="440681" y="304664"/>
                      <a:pt x="442586" y="304664"/>
                    </a:cubicBezTo>
                    <a:cubicBezTo>
                      <a:pt x="445443" y="304664"/>
                      <a:pt x="484496" y="297044"/>
                      <a:pt x="506403" y="293234"/>
                    </a:cubicBezTo>
                    <a:cubicBezTo>
                      <a:pt x="507356" y="292282"/>
                      <a:pt x="509261" y="290377"/>
                      <a:pt x="509261" y="287519"/>
                    </a:cubicBezTo>
                    <a:close/>
                  </a:path>
                </a:pathLst>
              </a:custGeom>
              <a:grp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4" name="Полилиния: фигура 53">
                <a:extLst>
                  <a:ext uri="{FF2B5EF4-FFF2-40B4-BE49-F238E27FC236}">
                    <a16:creationId xmlns:a16="http://schemas.microsoft.com/office/drawing/2014/main" id="{DD934A68-D5DC-4A10-BB68-305709F81E5F}"/>
                  </a:ext>
                </a:extLst>
              </p:cNvPr>
              <p:cNvSpPr/>
              <p:nvPr/>
            </p:nvSpPr>
            <p:spPr>
              <a:xfrm>
                <a:off x="6685065" y="5769813"/>
                <a:ext cx="511854" cy="303847"/>
              </a:xfrm>
              <a:custGeom>
                <a:avLst/>
                <a:gdLst>
                  <a:gd name="connsiteX0" fmla="*/ 448364 w 511854"/>
                  <a:gd name="connsiteY0" fmla="*/ 282893 h 303847"/>
                  <a:gd name="connsiteX1" fmla="*/ 511229 w 511854"/>
                  <a:gd name="connsiteY1" fmla="*/ 135255 h 303847"/>
                  <a:gd name="connsiteX2" fmla="*/ 510276 w 511854"/>
                  <a:gd name="connsiteY2" fmla="*/ 128588 h 303847"/>
                  <a:gd name="connsiteX3" fmla="*/ 504561 w 511854"/>
                  <a:gd name="connsiteY3" fmla="*/ 126682 h 303847"/>
                  <a:gd name="connsiteX4" fmla="*/ 346446 w 511854"/>
                  <a:gd name="connsiteY4" fmla="*/ 154305 h 303847"/>
                  <a:gd name="connsiteX5" fmla="*/ 341684 w 511854"/>
                  <a:gd name="connsiteY5" fmla="*/ 158115 h 303847"/>
                  <a:gd name="connsiteX6" fmla="*/ 342636 w 511854"/>
                  <a:gd name="connsiteY6" fmla="*/ 164783 h 303847"/>
                  <a:gd name="connsiteX7" fmla="*/ 367401 w 511854"/>
                  <a:gd name="connsiteY7" fmla="*/ 196215 h 303847"/>
                  <a:gd name="connsiteX8" fmla="*/ 364544 w 511854"/>
                  <a:gd name="connsiteY8" fmla="*/ 198120 h 303847"/>
                  <a:gd name="connsiteX9" fmla="*/ 268341 w 511854"/>
                  <a:gd name="connsiteY9" fmla="*/ 231458 h 303847"/>
                  <a:gd name="connsiteX10" fmla="*/ 247386 w 511854"/>
                  <a:gd name="connsiteY10" fmla="*/ 231458 h 303847"/>
                  <a:gd name="connsiteX11" fmla="*/ 113084 w 511854"/>
                  <a:gd name="connsiteY11" fmla="*/ 161925 h 303847"/>
                  <a:gd name="connsiteX12" fmla="*/ 76889 w 511854"/>
                  <a:gd name="connsiteY12" fmla="*/ 7620 h 303847"/>
                  <a:gd name="connsiteX13" fmla="*/ 74984 w 511854"/>
                  <a:gd name="connsiteY13" fmla="*/ 1905 h 303847"/>
                  <a:gd name="connsiteX14" fmla="*/ 70221 w 511854"/>
                  <a:gd name="connsiteY14" fmla="*/ 0 h 303847"/>
                  <a:gd name="connsiteX15" fmla="*/ 69269 w 511854"/>
                  <a:gd name="connsiteY15" fmla="*/ 0 h 303847"/>
                  <a:gd name="connsiteX16" fmla="*/ 7356 w 511854"/>
                  <a:gd name="connsiteY16" fmla="*/ 10478 h 303847"/>
                  <a:gd name="connsiteX17" fmla="*/ 1641 w 511854"/>
                  <a:gd name="connsiteY17" fmla="*/ 16193 h 303847"/>
                  <a:gd name="connsiteX18" fmla="*/ 55934 w 511854"/>
                  <a:gd name="connsiteY18" fmla="*/ 206693 h 303847"/>
                  <a:gd name="connsiteX19" fmla="*/ 228336 w 511854"/>
                  <a:gd name="connsiteY19" fmla="*/ 301943 h 303847"/>
                  <a:gd name="connsiteX20" fmla="*/ 257864 w 511854"/>
                  <a:gd name="connsiteY20" fmla="*/ 303848 h 303847"/>
                  <a:gd name="connsiteX21" fmla="*/ 409311 w 511854"/>
                  <a:gd name="connsiteY21" fmla="*/ 254318 h 303847"/>
                  <a:gd name="connsiteX22" fmla="*/ 412169 w 511854"/>
                  <a:gd name="connsiteY22" fmla="*/ 252413 h 303847"/>
                  <a:gd name="connsiteX23" fmla="*/ 436934 w 511854"/>
                  <a:gd name="connsiteY23" fmla="*/ 283845 h 303847"/>
                  <a:gd name="connsiteX24" fmla="*/ 442649 w 511854"/>
                  <a:gd name="connsiteY24" fmla="*/ 285750 h 303847"/>
                  <a:gd name="connsiteX25" fmla="*/ 448364 w 511854"/>
                  <a:gd name="connsiteY25" fmla="*/ 282893 h 303847"/>
                  <a:gd name="connsiteX26" fmla="*/ 440744 w 511854"/>
                  <a:gd name="connsiteY26" fmla="*/ 267653 h 303847"/>
                  <a:gd name="connsiteX27" fmla="*/ 417884 w 511854"/>
                  <a:gd name="connsiteY27" fmla="*/ 239077 h 303847"/>
                  <a:gd name="connsiteX28" fmla="*/ 409311 w 511854"/>
                  <a:gd name="connsiteY28" fmla="*/ 238125 h 303847"/>
                  <a:gd name="connsiteX29" fmla="*/ 257864 w 511854"/>
                  <a:gd name="connsiteY29" fmla="*/ 291465 h 303847"/>
                  <a:gd name="connsiteX30" fmla="*/ 66411 w 511854"/>
                  <a:gd name="connsiteY30" fmla="*/ 199073 h 303847"/>
                  <a:gd name="connsiteX31" fmla="*/ 14024 w 511854"/>
                  <a:gd name="connsiteY31" fmla="*/ 25718 h 303847"/>
                  <a:gd name="connsiteX32" fmla="*/ 14024 w 511854"/>
                  <a:gd name="connsiteY32" fmla="*/ 22860 h 303847"/>
                  <a:gd name="connsiteX33" fmla="*/ 14976 w 511854"/>
                  <a:gd name="connsiteY33" fmla="*/ 22860 h 303847"/>
                  <a:gd name="connsiteX34" fmla="*/ 61649 w 511854"/>
                  <a:gd name="connsiteY34" fmla="*/ 14288 h 303847"/>
                  <a:gd name="connsiteX35" fmla="*/ 60696 w 511854"/>
                  <a:gd name="connsiteY35" fmla="*/ 19050 h 303847"/>
                  <a:gd name="connsiteX36" fmla="*/ 101654 w 511854"/>
                  <a:gd name="connsiteY36" fmla="*/ 169545 h 303847"/>
                  <a:gd name="connsiteX37" fmla="*/ 256911 w 511854"/>
                  <a:gd name="connsiteY37" fmla="*/ 243840 h 303847"/>
                  <a:gd name="connsiteX38" fmla="*/ 379784 w 511854"/>
                  <a:gd name="connsiteY38" fmla="*/ 200977 h 303847"/>
                  <a:gd name="connsiteX39" fmla="*/ 380736 w 511854"/>
                  <a:gd name="connsiteY39" fmla="*/ 192405 h 303847"/>
                  <a:gd name="connsiteX40" fmla="*/ 357876 w 511854"/>
                  <a:gd name="connsiteY40" fmla="*/ 163830 h 303847"/>
                  <a:gd name="connsiteX41" fmla="*/ 359781 w 511854"/>
                  <a:gd name="connsiteY41" fmla="*/ 163830 h 303847"/>
                  <a:gd name="connsiteX42" fmla="*/ 493131 w 511854"/>
                  <a:gd name="connsiteY42" fmla="*/ 140018 h 303847"/>
                  <a:gd name="connsiteX43" fmla="*/ 440744 w 511854"/>
                  <a:gd name="connsiteY43" fmla="*/ 267653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1854" h="303847">
                    <a:moveTo>
                      <a:pt x="448364" y="282893"/>
                    </a:moveTo>
                    <a:lnTo>
                      <a:pt x="511229" y="135255"/>
                    </a:lnTo>
                    <a:cubicBezTo>
                      <a:pt x="512181" y="133350"/>
                      <a:pt x="512181" y="130493"/>
                      <a:pt x="510276" y="128588"/>
                    </a:cubicBezTo>
                    <a:cubicBezTo>
                      <a:pt x="508371" y="126682"/>
                      <a:pt x="506466" y="125730"/>
                      <a:pt x="504561" y="126682"/>
                    </a:cubicBezTo>
                    <a:lnTo>
                      <a:pt x="346446" y="154305"/>
                    </a:lnTo>
                    <a:cubicBezTo>
                      <a:pt x="344541" y="154305"/>
                      <a:pt x="342636" y="156210"/>
                      <a:pt x="341684" y="158115"/>
                    </a:cubicBezTo>
                    <a:cubicBezTo>
                      <a:pt x="340731" y="160020"/>
                      <a:pt x="341684" y="162877"/>
                      <a:pt x="342636" y="164783"/>
                    </a:cubicBezTo>
                    <a:lnTo>
                      <a:pt x="367401" y="196215"/>
                    </a:lnTo>
                    <a:lnTo>
                      <a:pt x="364544" y="198120"/>
                    </a:lnTo>
                    <a:cubicBezTo>
                      <a:pt x="335969" y="218123"/>
                      <a:pt x="302631" y="229552"/>
                      <a:pt x="268341" y="231458"/>
                    </a:cubicBezTo>
                    <a:cubicBezTo>
                      <a:pt x="267389" y="231458"/>
                      <a:pt x="253101" y="231458"/>
                      <a:pt x="247386" y="231458"/>
                    </a:cubicBezTo>
                    <a:cubicBezTo>
                      <a:pt x="195951" y="229552"/>
                      <a:pt x="147374" y="204788"/>
                      <a:pt x="113084" y="161925"/>
                    </a:cubicBezTo>
                    <a:cubicBezTo>
                      <a:pt x="78794" y="118110"/>
                      <a:pt x="65459" y="61913"/>
                      <a:pt x="76889" y="7620"/>
                    </a:cubicBezTo>
                    <a:cubicBezTo>
                      <a:pt x="76889" y="5715"/>
                      <a:pt x="76889" y="3810"/>
                      <a:pt x="74984" y="1905"/>
                    </a:cubicBezTo>
                    <a:cubicBezTo>
                      <a:pt x="74031" y="953"/>
                      <a:pt x="72126" y="0"/>
                      <a:pt x="70221" y="0"/>
                    </a:cubicBezTo>
                    <a:cubicBezTo>
                      <a:pt x="70221" y="0"/>
                      <a:pt x="69269" y="0"/>
                      <a:pt x="69269" y="0"/>
                    </a:cubicBezTo>
                    <a:lnTo>
                      <a:pt x="7356" y="10478"/>
                    </a:lnTo>
                    <a:cubicBezTo>
                      <a:pt x="4499" y="11430"/>
                      <a:pt x="2594" y="13335"/>
                      <a:pt x="1641" y="16193"/>
                    </a:cubicBezTo>
                    <a:cubicBezTo>
                      <a:pt x="-5979" y="84773"/>
                      <a:pt x="13071" y="152400"/>
                      <a:pt x="55934" y="206693"/>
                    </a:cubicBezTo>
                    <a:cubicBezTo>
                      <a:pt x="98796" y="260033"/>
                      <a:pt x="159756" y="294323"/>
                      <a:pt x="228336" y="301943"/>
                    </a:cubicBezTo>
                    <a:cubicBezTo>
                      <a:pt x="237861" y="302895"/>
                      <a:pt x="248339" y="303848"/>
                      <a:pt x="257864" y="303848"/>
                    </a:cubicBezTo>
                    <a:cubicBezTo>
                      <a:pt x="313109" y="303848"/>
                      <a:pt x="365496" y="286703"/>
                      <a:pt x="409311" y="254318"/>
                    </a:cubicBezTo>
                    <a:lnTo>
                      <a:pt x="412169" y="252413"/>
                    </a:lnTo>
                    <a:lnTo>
                      <a:pt x="436934" y="283845"/>
                    </a:lnTo>
                    <a:cubicBezTo>
                      <a:pt x="437886" y="285750"/>
                      <a:pt x="440744" y="286703"/>
                      <a:pt x="442649" y="285750"/>
                    </a:cubicBezTo>
                    <a:cubicBezTo>
                      <a:pt x="445506" y="286703"/>
                      <a:pt x="447411" y="284798"/>
                      <a:pt x="448364" y="282893"/>
                    </a:cubicBezTo>
                    <a:close/>
                    <a:moveTo>
                      <a:pt x="440744" y="267653"/>
                    </a:moveTo>
                    <a:lnTo>
                      <a:pt x="417884" y="239077"/>
                    </a:lnTo>
                    <a:cubicBezTo>
                      <a:pt x="415979" y="236220"/>
                      <a:pt x="411216" y="236220"/>
                      <a:pt x="409311" y="238125"/>
                    </a:cubicBezTo>
                    <a:cubicBezTo>
                      <a:pt x="365496" y="272415"/>
                      <a:pt x="313109" y="291465"/>
                      <a:pt x="257864" y="291465"/>
                    </a:cubicBezTo>
                    <a:cubicBezTo>
                      <a:pt x="182616" y="291465"/>
                      <a:pt x="113084" y="258127"/>
                      <a:pt x="66411" y="199073"/>
                    </a:cubicBezTo>
                    <a:cubicBezTo>
                      <a:pt x="27359" y="149543"/>
                      <a:pt x="8309" y="88582"/>
                      <a:pt x="14024" y="25718"/>
                    </a:cubicBezTo>
                    <a:lnTo>
                      <a:pt x="14024" y="22860"/>
                    </a:lnTo>
                    <a:lnTo>
                      <a:pt x="14976" y="22860"/>
                    </a:lnTo>
                    <a:lnTo>
                      <a:pt x="61649" y="14288"/>
                    </a:lnTo>
                    <a:lnTo>
                      <a:pt x="60696" y="19050"/>
                    </a:lnTo>
                    <a:cubicBezTo>
                      <a:pt x="53076" y="73343"/>
                      <a:pt x="67364" y="126682"/>
                      <a:pt x="101654" y="169545"/>
                    </a:cubicBezTo>
                    <a:cubicBezTo>
                      <a:pt x="139754" y="217170"/>
                      <a:pt x="195951" y="243840"/>
                      <a:pt x="256911" y="243840"/>
                    </a:cubicBezTo>
                    <a:cubicBezTo>
                      <a:pt x="301679" y="243840"/>
                      <a:pt x="344541" y="228600"/>
                      <a:pt x="379784" y="200977"/>
                    </a:cubicBezTo>
                    <a:cubicBezTo>
                      <a:pt x="382641" y="199073"/>
                      <a:pt x="382641" y="194310"/>
                      <a:pt x="380736" y="192405"/>
                    </a:cubicBezTo>
                    <a:lnTo>
                      <a:pt x="357876" y="163830"/>
                    </a:lnTo>
                    <a:lnTo>
                      <a:pt x="359781" y="163830"/>
                    </a:lnTo>
                    <a:lnTo>
                      <a:pt x="493131" y="140018"/>
                    </a:lnTo>
                    <a:lnTo>
                      <a:pt x="440744" y="267653"/>
                    </a:lnTo>
                    <a:close/>
                  </a:path>
                </a:pathLst>
              </a:custGeom>
              <a:grp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55" name="Полилиния: фигура 54">
                <a:extLst>
                  <a:ext uri="{FF2B5EF4-FFF2-40B4-BE49-F238E27FC236}">
                    <a16:creationId xmlns:a16="http://schemas.microsoft.com/office/drawing/2014/main" id="{B80A5525-6E03-49A1-A7DD-426A8AC85AF9}"/>
                  </a:ext>
                </a:extLst>
              </p:cNvPr>
              <p:cNvSpPr/>
              <p:nvPr/>
            </p:nvSpPr>
            <p:spPr>
              <a:xfrm>
                <a:off x="7051514" y="5658370"/>
                <a:ext cx="13335" cy="13573"/>
              </a:xfrm>
              <a:custGeom>
                <a:avLst/>
                <a:gdLst>
                  <a:gd name="connsiteX0" fmla="*/ 0 w 13335"/>
                  <a:gd name="connsiteY0" fmla="*/ 6667 h 13573"/>
                  <a:gd name="connsiteX1" fmla="*/ 1905 w 13335"/>
                  <a:gd name="connsiteY1" fmla="*/ 11430 h 13573"/>
                  <a:gd name="connsiteX2" fmla="*/ 11430 w 13335"/>
                  <a:gd name="connsiteY2" fmla="*/ 11430 h 13573"/>
                  <a:gd name="connsiteX3" fmla="*/ 13335 w 13335"/>
                  <a:gd name="connsiteY3" fmla="*/ 6667 h 13573"/>
                  <a:gd name="connsiteX4" fmla="*/ 11430 w 13335"/>
                  <a:gd name="connsiteY4" fmla="*/ 1905 h 13573"/>
                  <a:gd name="connsiteX5" fmla="*/ 11430 w 13335"/>
                  <a:gd name="connsiteY5" fmla="*/ 1905 h 13573"/>
                  <a:gd name="connsiteX6" fmla="*/ 6668 w 13335"/>
                  <a:gd name="connsiteY6" fmla="*/ 0 h 13573"/>
                  <a:gd name="connsiteX7" fmla="*/ 1905 w 13335"/>
                  <a:gd name="connsiteY7" fmla="*/ 1905 h 13573"/>
                  <a:gd name="connsiteX8" fmla="*/ 0 w 13335"/>
                  <a:gd name="connsiteY8" fmla="*/ 6667 h 1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 h="13573">
                    <a:moveTo>
                      <a:pt x="0" y="6667"/>
                    </a:moveTo>
                    <a:cubicBezTo>
                      <a:pt x="0" y="8572"/>
                      <a:pt x="952" y="9525"/>
                      <a:pt x="1905" y="11430"/>
                    </a:cubicBezTo>
                    <a:cubicBezTo>
                      <a:pt x="4763" y="14288"/>
                      <a:pt x="8573" y="14288"/>
                      <a:pt x="11430" y="11430"/>
                    </a:cubicBezTo>
                    <a:cubicBezTo>
                      <a:pt x="12382" y="10477"/>
                      <a:pt x="13335" y="8572"/>
                      <a:pt x="13335" y="6667"/>
                    </a:cubicBezTo>
                    <a:cubicBezTo>
                      <a:pt x="13335" y="4763"/>
                      <a:pt x="12382" y="2858"/>
                      <a:pt x="11430" y="1905"/>
                    </a:cubicBezTo>
                    <a:lnTo>
                      <a:pt x="11430" y="1905"/>
                    </a:lnTo>
                    <a:cubicBezTo>
                      <a:pt x="10477" y="952"/>
                      <a:pt x="8573" y="0"/>
                      <a:pt x="6668" y="0"/>
                    </a:cubicBezTo>
                    <a:cubicBezTo>
                      <a:pt x="4763" y="0"/>
                      <a:pt x="2857" y="952"/>
                      <a:pt x="1905" y="1905"/>
                    </a:cubicBezTo>
                    <a:cubicBezTo>
                      <a:pt x="952" y="3810"/>
                      <a:pt x="0" y="5715"/>
                      <a:pt x="0" y="6667"/>
                    </a:cubicBezTo>
                    <a:close/>
                  </a:path>
                </a:pathLst>
              </a:custGeom>
              <a:grp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nvGrpSpPr>
          <p:cNvPr id="117" name="Группа 116">
            <a:extLst>
              <a:ext uri="{FF2B5EF4-FFF2-40B4-BE49-F238E27FC236}">
                <a16:creationId xmlns:a16="http://schemas.microsoft.com/office/drawing/2014/main" id="{539192DD-A536-4009-89A2-EF87132CAB3A}"/>
              </a:ext>
            </a:extLst>
          </p:cNvPr>
          <p:cNvGrpSpPr/>
          <p:nvPr/>
        </p:nvGrpSpPr>
        <p:grpSpPr>
          <a:xfrm>
            <a:off x="3886636" y="5260102"/>
            <a:ext cx="3598477" cy="1336760"/>
            <a:chOff x="3886636" y="5260102"/>
            <a:chExt cx="3598477" cy="1336760"/>
          </a:xfrm>
        </p:grpSpPr>
        <p:sp>
          <p:nvSpPr>
            <p:cNvPr id="7" name="TextBox 6">
              <a:extLst>
                <a:ext uri="{FF2B5EF4-FFF2-40B4-BE49-F238E27FC236}">
                  <a16:creationId xmlns:a16="http://schemas.microsoft.com/office/drawing/2014/main" id="{C202E5DB-6684-4328-A7F0-78EED8881380}"/>
                </a:ext>
              </a:extLst>
            </p:cNvPr>
            <p:cNvSpPr txBox="1"/>
            <p:nvPr/>
          </p:nvSpPr>
          <p:spPr>
            <a:xfrm>
              <a:off x="5154842" y="5956887"/>
              <a:ext cx="2330271" cy="584775"/>
            </a:xfrm>
            <a:prstGeom prst="rect">
              <a:avLst/>
            </a:prstGeom>
            <a:noFill/>
          </p:spPr>
          <p:txBody>
            <a:bodyPr wrap="square">
              <a:spAutoFit/>
            </a:bodyPr>
            <a:lstStyle/>
            <a:p>
              <a:pPr algn="l" rtl="0"/>
              <a:r>
                <a:rPr lang="ru-RU" sz="1600" i="0">
                  <a:solidFill>
                    <a:srgbClr val="222222"/>
                  </a:solidFill>
                  <a:effectLst/>
                  <a:latin typeface="+mj-lt"/>
                </a:rPr>
                <a:t>Неверные ожидания от изменений</a:t>
              </a:r>
            </a:p>
          </p:txBody>
        </p:sp>
        <p:grpSp>
          <p:nvGrpSpPr>
            <p:cNvPr id="22" name="Группа 21">
              <a:extLst>
                <a:ext uri="{FF2B5EF4-FFF2-40B4-BE49-F238E27FC236}">
                  <a16:creationId xmlns:a16="http://schemas.microsoft.com/office/drawing/2014/main" id="{B5D4A725-54D0-46A2-8A9A-7FB83581903B}"/>
                </a:ext>
              </a:extLst>
            </p:cNvPr>
            <p:cNvGrpSpPr/>
            <p:nvPr/>
          </p:nvGrpSpPr>
          <p:grpSpPr>
            <a:xfrm>
              <a:off x="3886636" y="5260102"/>
              <a:ext cx="1268208" cy="1336760"/>
              <a:chOff x="437375" y="1216076"/>
              <a:chExt cx="1372000" cy="1446162"/>
            </a:xfrm>
          </p:grpSpPr>
          <p:pic>
            <p:nvPicPr>
              <p:cNvPr id="23" name="Рисунок 22">
                <a:extLst>
                  <a:ext uri="{FF2B5EF4-FFF2-40B4-BE49-F238E27FC236}">
                    <a16:creationId xmlns:a16="http://schemas.microsoft.com/office/drawing/2014/main" id="{C401587C-32E0-4F92-BFC6-A874FCB776B7}"/>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437375" y="1216076"/>
                <a:ext cx="1372000" cy="1446162"/>
              </a:xfrm>
              <a:prstGeom prst="rect">
                <a:avLst/>
              </a:prstGeom>
            </p:spPr>
          </p:pic>
          <p:sp>
            <p:nvSpPr>
              <p:cNvPr id="24" name="TextBox 23">
                <a:extLst>
                  <a:ext uri="{FF2B5EF4-FFF2-40B4-BE49-F238E27FC236}">
                    <a16:creationId xmlns:a16="http://schemas.microsoft.com/office/drawing/2014/main" id="{27B08D5A-4DF2-4977-B7F1-6F9755DF9218}"/>
                  </a:ext>
                </a:extLst>
              </p:cNvPr>
              <p:cNvSpPr txBox="1"/>
              <p:nvPr/>
            </p:nvSpPr>
            <p:spPr>
              <a:xfrm>
                <a:off x="943711" y="1708323"/>
                <a:ext cx="359325" cy="432855"/>
              </a:xfrm>
              <a:prstGeom prst="rect">
                <a:avLst/>
              </a:prstGeom>
              <a:noFill/>
            </p:spPr>
            <p:txBody>
              <a:bodyPr wrap="none" rtlCol="0">
                <a:spAutoFit/>
              </a:bodyPr>
              <a:lstStyle/>
              <a:p>
                <a:pPr algn="ctr"/>
                <a:r>
                  <a:rPr lang="ru-RU" sz="2000">
                    <a:solidFill>
                      <a:schemeClr val="bg1"/>
                    </a:solidFill>
                    <a:latin typeface="+mj-lt"/>
                  </a:rPr>
                  <a:t>4</a:t>
                </a:r>
              </a:p>
            </p:txBody>
          </p:sp>
        </p:grpSp>
        <p:grpSp>
          <p:nvGrpSpPr>
            <p:cNvPr id="56" name="Рисунок 595">
              <a:extLst>
                <a:ext uri="{FF2B5EF4-FFF2-40B4-BE49-F238E27FC236}">
                  <a16:creationId xmlns:a16="http://schemas.microsoft.com/office/drawing/2014/main" id="{DA3AD22F-CFC5-44F9-BCE8-597F702B21B3}"/>
                </a:ext>
              </a:extLst>
            </p:cNvPr>
            <p:cNvGrpSpPr/>
            <p:nvPr/>
          </p:nvGrpSpPr>
          <p:grpSpPr>
            <a:xfrm>
              <a:off x="5256643" y="5527517"/>
              <a:ext cx="329465" cy="397384"/>
              <a:chOff x="11210157" y="2864341"/>
              <a:chExt cx="336024" cy="405295"/>
            </a:xfrm>
            <a:solidFill>
              <a:schemeClr val="accent6"/>
            </a:solidFill>
          </p:grpSpPr>
          <p:grpSp>
            <p:nvGrpSpPr>
              <p:cNvPr id="57" name="Рисунок 595">
                <a:extLst>
                  <a:ext uri="{FF2B5EF4-FFF2-40B4-BE49-F238E27FC236}">
                    <a16:creationId xmlns:a16="http://schemas.microsoft.com/office/drawing/2014/main" id="{DA3AD22F-CFC5-44F9-BCE8-597F702B21B3}"/>
                  </a:ext>
                </a:extLst>
              </p:cNvPr>
              <p:cNvGrpSpPr/>
              <p:nvPr/>
            </p:nvGrpSpPr>
            <p:grpSpPr>
              <a:xfrm>
                <a:off x="11210157" y="2864341"/>
                <a:ext cx="316571" cy="405295"/>
                <a:chOff x="11210157" y="2864341"/>
                <a:chExt cx="316571" cy="405295"/>
              </a:xfrm>
              <a:grpFill/>
            </p:grpSpPr>
            <p:sp>
              <p:nvSpPr>
                <p:cNvPr id="68" name="Полилиния: фигура 67">
                  <a:extLst>
                    <a:ext uri="{FF2B5EF4-FFF2-40B4-BE49-F238E27FC236}">
                      <a16:creationId xmlns:a16="http://schemas.microsoft.com/office/drawing/2014/main" id="{7EDEF0BE-E2B2-4AFD-A3EF-8054C7A3FF86}"/>
                    </a:ext>
                  </a:extLst>
                </p:cNvPr>
                <p:cNvSpPr/>
                <p:nvPr/>
              </p:nvSpPr>
              <p:spPr>
                <a:xfrm>
                  <a:off x="11446954" y="2864341"/>
                  <a:ext cx="79723" cy="79723"/>
                </a:xfrm>
                <a:custGeom>
                  <a:avLst/>
                  <a:gdLst>
                    <a:gd name="connsiteX0" fmla="*/ 73119 w 79723"/>
                    <a:gd name="connsiteY0" fmla="*/ 79724 h 79723"/>
                    <a:gd name="connsiteX1" fmla="*/ 6562 w 79723"/>
                    <a:gd name="connsiteY1" fmla="*/ 79724 h 79723"/>
                    <a:gd name="connsiteX2" fmla="*/ 0 w 79723"/>
                    <a:gd name="connsiteY2" fmla="*/ 73162 h 79723"/>
                    <a:gd name="connsiteX3" fmla="*/ 0 w 79723"/>
                    <a:gd name="connsiteY3" fmla="*/ 6604 h 79723"/>
                    <a:gd name="connsiteX4" fmla="*/ 4030 w 79723"/>
                    <a:gd name="connsiteY4" fmla="*/ 510 h 79723"/>
                    <a:gd name="connsiteX5" fmla="*/ 11249 w 79723"/>
                    <a:gd name="connsiteY5" fmla="*/ 1916 h 79723"/>
                    <a:gd name="connsiteX6" fmla="*/ 77807 w 79723"/>
                    <a:gd name="connsiteY6" fmla="*/ 68475 h 79723"/>
                    <a:gd name="connsiteX7" fmla="*/ 79213 w 79723"/>
                    <a:gd name="connsiteY7" fmla="*/ 75693 h 79723"/>
                    <a:gd name="connsiteX8" fmla="*/ 73119 w 79723"/>
                    <a:gd name="connsiteY8" fmla="*/ 79724 h 79723"/>
                    <a:gd name="connsiteX9" fmla="*/ 13123 w 79723"/>
                    <a:gd name="connsiteY9" fmla="*/ 66600 h 79723"/>
                    <a:gd name="connsiteX10" fmla="*/ 57183 w 79723"/>
                    <a:gd name="connsiteY10" fmla="*/ 66600 h 79723"/>
                    <a:gd name="connsiteX11" fmla="*/ 13123 w 79723"/>
                    <a:gd name="connsiteY11" fmla="*/ 22540 h 79723"/>
                    <a:gd name="connsiteX12" fmla="*/ 13123 w 79723"/>
                    <a:gd name="connsiteY12" fmla="*/ 66600 h 7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23" h="79723">
                      <a:moveTo>
                        <a:pt x="73119" y="79724"/>
                      </a:moveTo>
                      <a:lnTo>
                        <a:pt x="6562" y="79724"/>
                      </a:lnTo>
                      <a:cubicBezTo>
                        <a:pt x="2905" y="79724"/>
                        <a:pt x="0" y="76818"/>
                        <a:pt x="0" y="73162"/>
                      </a:cubicBezTo>
                      <a:lnTo>
                        <a:pt x="0" y="6604"/>
                      </a:lnTo>
                      <a:cubicBezTo>
                        <a:pt x="0" y="3979"/>
                        <a:pt x="1593" y="1542"/>
                        <a:pt x="4030" y="510"/>
                      </a:cubicBezTo>
                      <a:cubicBezTo>
                        <a:pt x="6468" y="-521"/>
                        <a:pt x="9281" y="42"/>
                        <a:pt x="11249" y="1916"/>
                      </a:cubicBezTo>
                      <a:lnTo>
                        <a:pt x="77807" y="68475"/>
                      </a:lnTo>
                      <a:cubicBezTo>
                        <a:pt x="79682" y="70350"/>
                        <a:pt x="80244" y="73162"/>
                        <a:pt x="79213" y="75693"/>
                      </a:cubicBezTo>
                      <a:cubicBezTo>
                        <a:pt x="78182" y="78130"/>
                        <a:pt x="75745" y="79724"/>
                        <a:pt x="73119" y="79724"/>
                      </a:cubicBezTo>
                      <a:close/>
                      <a:moveTo>
                        <a:pt x="13123" y="66600"/>
                      </a:moveTo>
                      <a:lnTo>
                        <a:pt x="57183" y="66600"/>
                      </a:lnTo>
                      <a:lnTo>
                        <a:pt x="13123" y="22540"/>
                      </a:lnTo>
                      <a:lnTo>
                        <a:pt x="13123" y="66600"/>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69" name="Полилиния: фигура 68">
                  <a:extLst>
                    <a:ext uri="{FF2B5EF4-FFF2-40B4-BE49-F238E27FC236}">
                      <a16:creationId xmlns:a16="http://schemas.microsoft.com/office/drawing/2014/main" id="{724DED36-5B12-48E9-BDDA-179F5D24BB69}"/>
                    </a:ext>
                  </a:extLst>
                </p:cNvPr>
                <p:cNvSpPr/>
                <p:nvPr/>
              </p:nvSpPr>
              <p:spPr>
                <a:xfrm>
                  <a:off x="11210157" y="2864382"/>
                  <a:ext cx="316571" cy="405254"/>
                </a:xfrm>
                <a:custGeom>
                  <a:avLst/>
                  <a:gdLst>
                    <a:gd name="connsiteX0" fmla="*/ 309916 w 316571"/>
                    <a:gd name="connsiteY0" fmla="*/ 405254 h 405254"/>
                    <a:gd name="connsiteX1" fmla="*/ 6562 w 316571"/>
                    <a:gd name="connsiteY1" fmla="*/ 405254 h 405254"/>
                    <a:gd name="connsiteX2" fmla="*/ 0 w 316571"/>
                    <a:gd name="connsiteY2" fmla="*/ 398692 h 405254"/>
                    <a:gd name="connsiteX3" fmla="*/ 0 w 316571"/>
                    <a:gd name="connsiteY3" fmla="*/ 6562 h 405254"/>
                    <a:gd name="connsiteX4" fmla="*/ 6562 w 316571"/>
                    <a:gd name="connsiteY4" fmla="*/ 0 h 405254"/>
                    <a:gd name="connsiteX5" fmla="*/ 243359 w 316571"/>
                    <a:gd name="connsiteY5" fmla="*/ 0 h 405254"/>
                    <a:gd name="connsiteX6" fmla="*/ 248046 w 316571"/>
                    <a:gd name="connsiteY6" fmla="*/ 1969 h 405254"/>
                    <a:gd name="connsiteX7" fmla="*/ 314604 w 316571"/>
                    <a:gd name="connsiteY7" fmla="*/ 68527 h 405254"/>
                    <a:gd name="connsiteX8" fmla="*/ 316572 w 316571"/>
                    <a:gd name="connsiteY8" fmla="*/ 73214 h 405254"/>
                    <a:gd name="connsiteX9" fmla="*/ 316572 w 316571"/>
                    <a:gd name="connsiteY9" fmla="*/ 344133 h 405254"/>
                    <a:gd name="connsiteX10" fmla="*/ 310010 w 316571"/>
                    <a:gd name="connsiteY10" fmla="*/ 350696 h 405254"/>
                    <a:gd name="connsiteX11" fmla="*/ 303449 w 316571"/>
                    <a:gd name="connsiteY11" fmla="*/ 344133 h 405254"/>
                    <a:gd name="connsiteX12" fmla="*/ 303449 w 316571"/>
                    <a:gd name="connsiteY12" fmla="*/ 75932 h 405254"/>
                    <a:gd name="connsiteX13" fmla="*/ 240733 w 316571"/>
                    <a:gd name="connsiteY13" fmla="*/ 13218 h 405254"/>
                    <a:gd name="connsiteX14" fmla="*/ 13217 w 316571"/>
                    <a:gd name="connsiteY14" fmla="*/ 13218 h 405254"/>
                    <a:gd name="connsiteX15" fmla="*/ 13217 w 316571"/>
                    <a:gd name="connsiteY15" fmla="*/ 392224 h 405254"/>
                    <a:gd name="connsiteX16" fmla="*/ 303449 w 316571"/>
                    <a:gd name="connsiteY16" fmla="*/ 392224 h 405254"/>
                    <a:gd name="connsiteX17" fmla="*/ 303449 w 316571"/>
                    <a:gd name="connsiteY17" fmla="*/ 387162 h 405254"/>
                    <a:gd name="connsiteX18" fmla="*/ 310010 w 316571"/>
                    <a:gd name="connsiteY18" fmla="*/ 380600 h 405254"/>
                    <a:gd name="connsiteX19" fmla="*/ 316572 w 316571"/>
                    <a:gd name="connsiteY19" fmla="*/ 387162 h 405254"/>
                    <a:gd name="connsiteX20" fmla="*/ 316572 w 316571"/>
                    <a:gd name="connsiteY20" fmla="*/ 398786 h 405254"/>
                    <a:gd name="connsiteX21" fmla="*/ 309916 w 316571"/>
                    <a:gd name="connsiteY21" fmla="*/ 405254 h 40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6571" h="405254">
                      <a:moveTo>
                        <a:pt x="309916" y="405254"/>
                      </a:moveTo>
                      <a:lnTo>
                        <a:pt x="6562" y="405254"/>
                      </a:lnTo>
                      <a:cubicBezTo>
                        <a:pt x="2905" y="405254"/>
                        <a:pt x="0" y="402348"/>
                        <a:pt x="0" y="398692"/>
                      </a:cubicBezTo>
                      <a:lnTo>
                        <a:pt x="0" y="6562"/>
                      </a:lnTo>
                      <a:cubicBezTo>
                        <a:pt x="0" y="2906"/>
                        <a:pt x="2905" y="0"/>
                        <a:pt x="6562" y="0"/>
                      </a:cubicBezTo>
                      <a:lnTo>
                        <a:pt x="243359" y="0"/>
                      </a:lnTo>
                      <a:cubicBezTo>
                        <a:pt x="245139" y="0"/>
                        <a:pt x="246733" y="656"/>
                        <a:pt x="248046" y="1969"/>
                      </a:cubicBezTo>
                      <a:lnTo>
                        <a:pt x="314604" y="68527"/>
                      </a:lnTo>
                      <a:cubicBezTo>
                        <a:pt x="315822" y="69745"/>
                        <a:pt x="316572" y="71433"/>
                        <a:pt x="316572" y="73214"/>
                      </a:cubicBezTo>
                      <a:lnTo>
                        <a:pt x="316572" y="344133"/>
                      </a:lnTo>
                      <a:cubicBezTo>
                        <a:pt x="316572" y="347789"/>
                        <a:pt x="313666" y="350696"/>
                        <a:pt x="310010" y="350696"/>
                      </a:cubicBezTo>
                      <a:cubicBezTo>
                        <a:pt x="306354" y="350696"/>
                        <a:pt x="303449" y="347789"/>
                        <a:pt x="303449" y="344133"/>
                      </a:cubicBezTo>
                      <a:lnTo>
                        <a:pt x="303449" y="75932"/>
                      </a:lnTo>
                      <a:lnTo>
                        <a:pt x="240733" y="13218"/>
                      </a:lnTo>
                      <a:lnTo>
                        <a:pt x="13217" y="13218"/>
                      </a:lnTo>
                      <a:lnTo>
                        <a:pt x="13217" y="392224"/>
                      </a:lnTo>
                      <a:lnTo>
                        <a:pt x="303449" y="392224"/>
                      </a:lnTo>
                      <a:lnTo>
                        <a:pt x="303449" y="387162"/>
                      </a:lnTo>
                      <a:cubicBezTo>
                        <a:pt x="303449" y="383506"/>
                        <a:pt x="306354" y="380600"/>
                        <a:pt x="310010" y="380600"/>
                      </a:cubicBezTo>
                      <a:cubicBezTo>
                        <a:pt x="313666" y="380600"/>
                        <a:pt x="316572" y="383506"/>
                        <a:pt x="316572" y="387162"/>
                      </a:cubicBezTo>
                      <a:lnTo>
                        <a:pt x="316572" y="398786"/>
                      </a:lnTo>
                      <a:cubicBezTo>
                        <a:pt x="316479" y="402348"/>
                        <a:pt x="313479" y="405254"/>
                        <a:pt x="309916" y="405254"/>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nvGrpSpPr>
              <p:cNvPr id="58" name="Рисунок 595">
                <a:extLst>
                  <a:ext uri="{FF2B5EF4-FFF2-40B4-BE49-F238E27FC236}">
                    <a16:creationId xmlns:a16="http://schemas.microsoft.com/office/drawing/2014/main" id="{DA3AD22F-CFC5-44F9-BCE8-597F702B21B3}"/>
                  </a:ext>
                </a:extLst>
              </p:cNvPr>
              <p:cNvGrpSpPr/>
              <p:nvPr/>
            </p:nvGrpSpPr>
            <p:grpSpPr>
              <a:xfrm>
                <a:off x="11255810" y="2967594"/>
                <a:ext cx="290371" cy="290418"/>
                <a:chOff x="11255810" y="2967594"/>
                <a:chExt cx="290371" cy="290418"/>
              </a:xfrm>
              <a:grpFill/>
            </p:grpSpPr>
            <p:grpSp>
              <p:nvGrpSpPr>
                <p:cNvPr id="59" name="Рисунок 595">
                  <a:extLst>
                    <a:ext uri="{FF2B5EF4-FFF2-40B4-BE49-F238E27FC236}">
                      <a16:creationId xmlns:a16="http://schemas.microsoft.com/office/drawing/2014/main" id="{DA3AD22F-CFC5-44F9-BCE8-597F702B21B3}"/>
                    </a:ext>
                  </a:extLst>
                </p:cNvPr>
                <p:cNvGrpSpPr/>
                <p:nvPr/>
              </p:nvGrpSpPr>
              <p:grpSpPr>
                <a:xfrm>
                  <a:off x="11255810" y="2967594"/>
                  <a:ext cx="290371" cy="290418"/>
                  <a:chOff x="11255810" y="2967594"/>
                  <a:chExt cx="290371" cy="290418"/>
                </a:xfrm>
                <a:grpFill/>
              </p:grpSpPr>
              <p:sp>
                <p:nvSpPr>
                  <p:cNvPr id="66" name="Полилиния: фигура 65">
                    <a:extLst>
                      <a:ext uri="{FF2B5EF4-FFF2-40B4-BE49-F238E27FC236}">
                        <a16:creationId xmlns:a16="http://schemas.microsoft.com/office/drawing/2014/main" id="{AD47477A-10E0-42C1-BEE8-07C856FC7B75}"/>
                      </a:ext>
                    </a:extLst>
                  </p:cNvPr>
                  <p:cNvSpPr/>
                  <p:nvPr/>
                </p:nvSpPr>
                <p:spPr>
                  <a:xfrm>
                    <a:off x="11255810" y="2967594"/>
                    <a:ext cx="227796" cy="227797"/>
                  </a:xfrm>
                  <a:custGeom>
                    <a:avLst/>
                    <a:gdLst>
                      <a:gd name="connsiteX0" fmla="*/ 113898 w 227796"/>
                      <a:gd name="connsiteY0" fmla="*/ 227797 h 227797"/>
                      <a:gd name="connsiteX1" fmla="*/ 0 w 227796"/>
                      <a:gd name="connsiteY1" fmla="*/ 113899 h 227797"/>
                      <a:gd name="connsiteX2" fmla="*/ 113898 w 227796"/>
                      <a:gd name="connsiteY2" fmla="*/ 0 h 227797"/>
                      <a:gd name="connsiteX3" fmla="*/ 227797 w 227796"/>
                      <a:gd name="connsiteY3" fmla="*/ 113899 h 227797"/>
                      <a:gd name="connsiteX4" fmla="*/ 113898 w 227796"/>
                      <a:gd name="connsiteY4" fmla="*/ 227797 h 227797"/>
                      <a:gd name="connsiteX5" fmla="*/ 113898 w 227796"/>
                      <a:gd name="connsiteY5" fmla="*/ 13124 h 227797"/>
                      <a:gd name="connsiteX6" fmla="*/ 13123 w 227796"/>
                      <a:gd name="connsiteY6" fmla="*/ 113899 h 227797"/>
                      <a:gd name="connsiteX7" fmla="*/ 113898 w 227796"/>
                      <a:gd name="connsiteY7" fmla="*/ 214673 h 227797"/>
                      <a:gd name="connsiteX8" fmla="*/ 214672 w 227796"/>
                      <a:gd name="connsiteY8" fmla="*/ 113899 h 227797"/>
                      <a:gd name="connsiteX9" fmla="*/ 113898 w 227796"/>
                      <a:gd name="connsiteY9" fmla="*/ 13124 h 22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7796" h="227797">
                        <a:moveTo>
                          <a:pt x="113898" y="227797"/>
                        </a:moveTo>
                        <a:cubicBezTo>
                          <a:pt x="51090" y="227797"/>
                          <a:pt x="0" y="176707"/>
                          <a:pt x="0" y="113899"/>
                        </a:cubicBezTo>
                        <a:cubicBezTo>
                          <a:pt x="0" y="51090"/>
                          <a:pt x="51090" y="0"/>
                          <a:pt x="113898" y="0"/>
                        </a:cubicBezTo>
                        <a:cubicBezTo>
                          <a:pt x="176707" y="0"/>
                          <a:pt x="227797" y="51090"/>
                          <a:pt x="227797" y="113899"/>
                        </a:cubicBezTo>
                        <a:cubicBezTo>
                          <a:pt x="227797" y="176707"/>
                          <a:pt x="176707" y="227797"/>
                          <a:pt x="113898" y="227797"/>
                        </a:cubicBezTo>
                        <a:close/>
                        <a:moveTo>
                          <a:pt x="113898" y="13124"/>
                        </a:moveTo>
                        <a:cubicBezTo>
                          <a:pt x="58308" y="13124"/>
                          <a:pt x="13123" y="58309"/>
                          <a:pt x="13123" y="113899"/>
                        </a:cubicBezTo>
                        <a:cubicBezTo>
                          <a:pt x="13123" y="169489"/>
                          <a:pt x="58308" y="214673"/>
                          <a:pt x="113898" y="214673"/>
                        </a:cubicBezTo>
                        <a:cubicBezTo>
                          <a:pt x="169488" y="214673"/>
                          <a:pt x="214672" y="169489"/>
                          <a:pt x="214672" y="113899"/>
                        </a:cubicBezTo>
                        <a:cubicBezTo>
                          <a:pt x="214672" y="58309"/>
                          <a:pt x="169488" y="13124"/>
                          <a:pt x="113898" y="13124"/>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67" name="Полилиния: фигура 66">
                    <a:extLst>
                      <a:ext uri="{FF2B5EF4-FFF2-40B4-BE49-F238E27FC236}">
                        <a16:creationId xmlns:a16="http://schemas.microsoft.com/office/drawing/2014/main" id="{44F05A74-1C6B-4854-A708-79319111F18F}"/>
                      </a:ext>
                    </a:extLst>
                  </p:cNvPr>
                  <p:cNvSpPr/>
                  <p:nvPr/>
                </p:nvSpPr>
                <p:spPr>
                  <a:xfrm>
                    <a:off x="11426775" y="3142028"/>
                    <a:ext cx="119406" cy="115984"/>
                  </a:xfrm>
                  <a:custGeom>
                    <a:avLst/>
                    <a:gdLst>
                      <a:gd name="connsiteX0" fmla="*/ 96673 w 119406"/>
                      <a:gd name="connsiteY0" fmla="*/ 115985 h 115984"/>
                      <a:gd name="connsiteX1" fmla="*/ 80643 w 119406"/>
                      <a:gd name="connsiteY1" fmla="*/ 109329 h 115984"/>
                      <a:gd name="connsiteX2" fmla="*/ 1898 w 119406"/>
                      <a:gd name="connsiteY2" fmla="*/ 30584 h 115984"/>
                      <a:gd name="connsiteX3" fmla="*/ 1898 w 119406"/>
                      <a:gd name="connsiteY3" fmla="*/ 21303 h 115984"/>
                      <a:gd name="connsiteX4" fmla="*/ 11179 w 119406"/>
                      <a:gd name="connsiteY4" fmla="*/ 21303 h 115984"/>
                      <a:gd name="connsiteX5" fmla="*/ 89924 w 119406"/>
                      <a:gd name="connsiteY5" fmla="*/ 100048 h 115984"/>
                      <a:gd name="connsiteX6" fmla="*/ 103330 w 119406"/>
                      <a:gd name="connsiteY6" fmla="*/ 100048 h 115984"/>
                      <a:gd name="connsiteX7" fmla="*/ 103516 w 119406"/>
                      <a:gd name="connsiteY7" fmla="*/ 86549 h 115984"/>
                      <a:gd name="connsiteX8" fmla="*/ 28147 w 119406"/>
                      <a:gd name="connsiteY8" fmla="*/ 11179 h 115984"/>
                      <a:gd name="connsiteX9" fmla="*/ 28147 w 119406"/>
                      <a:gd name="connsiteY9" fmla="*/ 1898 h 115984"/>
                      <a:gd name="connsiteX10" fmla="*/ 37428 w 119406"/>
                      <a:gd name="connsiteY10" fmla="*/ 1898 h 115984"/>
                      <a:gd name="connsiteX11" fmla="*/ 112797 w 119406"/>
                      <a:gd name="connsiteY11" fmla="*/ 77268 h 115984"/>
                      <a:gd name="connsiteX12" fmla="*/ 112797 w 119406"/>
                      <a:gd name="connsiteY12" fmla="*/ 109329 h 115984"/>
                      <a:gd name="connsiteX13" fmla="*/ 96673 w 119406"/>
                      <a:gd name="connsiteY13" fmla="*/ 115985 h 1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406" h="115984">
                        <a:moveTo>
                          <a:pt x="96673" y="115985"/>
                        </a:moveTo>
                        <a:cubicBezTo>
                          <a:pt x="90580" y="115985"/>
                          <a:pt x="84955" y="113641"/>
                          <a:pt x="80643" y="109329"/>
                        </a:cubicBezTo>
                        <a:lnTo>
                          <a:pt x="1898" y="30584"/>
                        </a:lnTo>
                        <a:cubicBezTo>
                          <a:pt x="-633" y="28053"/>
                          <a:pt x="-633" y="23834"/>
                          <a:pt x="1898" y="21303"/>
                        </a:cubicBezTo>
                        <a:cubicBezTo>
                          <a:pt x="4430" y="18772"/>
                          <a:pt x="8648" y="18772"/>
                          <a:pt x="11179" y="21303"/>
                        </a:cubicBezTo>
                        <a:lnTo>
                          <a:pt x="89924" y="100048"/>
                        </a:lnTo>
                        <a:cubicBezTo>
                          <a:pt x="93486" y="103610"/>
                          <a:pt x="99768" y="103610"/>
                          <a:pt x="103330" y="100048"/>
                        </a:cubicBezTo>
                        <a:cubicBezTo>
                          <a:pt x="107173" y="96205"/>
                          <a:pt x="107173" y="90205"/>
                          <a:pt x="103516" y="86549"/>
                        </a:cubicBezTo>
                        <a:lnTo>
                          <a:pt x="28147" y="11179"/>
                        </a:lnTo>
                        <a:cubicBezTo>
                          <a:pt x="25616" y="8648"/>
                          <a:pt x="25616" y="4429"/>
                          <a:pt x="28147" y="1898"/>
                        </a:cubicBezTo>
                        <a:cubicBezTo>
                          <a:pt x="30678" y="-633"/>
                          <a:pt x="34896" y="-633"/>
                          <a:pt x="37428" y="1898"/>
                        </a:cubicBezTo>
                        <a:lnTo>
                          <a:pt x="112797" y="77268"/>
                        </a:lnTo>
                        <a:cubicBezTo>
                          <a:pt x="121609" y="86080"/>
                          <a:pt x="121609" y="100423"/>
                          <a:pt x="112797" y="109329"/>
                        </a:cubicBezTo>
                        <a:cubicBezTo>
                          <a:pt x="108485" y="113641"/>
                          <a:pt x="102767" y="115985"/>
                          <a:pt x="96673" y="115985"/>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nvGrpSpPr>
                <p:cNvPr id="60" name="Рисунок 595">
                  <a:extLst>
                    <a:ext uri="{FF2B5EF4-FFF2-40B4-BE49-F238E27FC236}">
                      <a16:creationId xmlns:a16="http://schemas.microsoft.com/office/drawing/2014/main" id="{DA3AD22F-CFC5-44F9-BCE8-597F702B21B3}"/>
                    </a:ext>
                  </a:extLst>
                </p:cNvPr>
                <p:cNvGrpSpPr/>
                <p:nvPr/>
              </p:nvGrpSpPr>
              <p:grpSpPr>
                <a:xfrm>
                  <a:off x="11294807" y="3032465"/>
                  <a:ext cx="149896" cy="89431"/>
                  <a:chOff x="11294807" y="3032465"/>
                  <a:chExt cx="149896" cy="89431"/>
                </a:xfrm>
                <a:grpFill/>
              </p:grpSpPr>
              <p:sp>
                <p:nvSpPr>
                  <p:cNvPr id="61" name="Полилиния: фигура 60">
                    <a:extLst>
                      <a:ext uri="{FF2B5EF4-FFF2-40B4-BE49-F238E27FC236}">
                        <a16:creationId xmlns:a16="http://schemas.microsoft.com/office/drawing/2014/main" id="{E38973F6-D265-41E9-999F-18792D681ED0}"/>
                      </a:ext>
                    </a:extLst>
                  </p:cNvPr>
                  <p:cNvSpPr/>
                  <p:nvPr/>
                </p:nvSpPr>
                <p:spPr>
                  <a:xfrm>
                    <a:off x="11294807" y="3108772"/>
                    <a:ext cx="149896" cy="13124"/>
                  </a:xfrm>
                  <a:custGeom>
                    <a:avLst/>
                    <a:gdLst>
                      <a:gd name="connsiteX0" fmla="*/ 143335 w 149896"/>
                      <a:gd name="connsiteY0" fmla="*/ 13124 h 13124"/>
                      <a:gd name="connsiteX1" fmla="*/ 6563 w 149896"/>
                      <a:gd name="connsiteY1" fmla="*/ 13124 h 13124"/>
                      <a:gd name="connsiteX2" fmla="*/ 0 w 149896"/>
                      <a:gd name="connsiteY2" fmla="*/ 6562 h 13124"/>
                      <a:gd name="connsiteX3" fmla="*/ 6563 w 149896"/>
                      <a:gd name="connsiteY3" fmla="*/ 0 h 13124"/>
                      <a:gd name="connsiteX4" fmla="*/ 143335 w 149896"/>
                      <a:gd name="connsiteY4" fmla="*/ 0 h 13124"/>
                      <a:gd name="connsiteX5" fmla="*/ 149896 w 149896"/>
                      <a:gd name="connsiteY5" fmla="*/ 6562 h 13124"/>
                      <a:gd name="connsiteX6" fmla="*/ 143335 w 149896"/>
                      <a:gd name="connsiteY6" fmla="*/ 13124 h 1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896" h="13124">
                        <a:moveTo>
                          <a:pt x="143335" y="13124"/>
                        </a:moveTo>
                        <a:lnTo>
                          <a:pt x="6563" y="13124"/>
                        </a:lnTo>
                        <a:cubicBezTo>
                          <a:pt x="2907" y="13124"/>
                          <a:pt x="0" y="10218"/>
                          <a:pt x="0" y="6562"/>
                        </a:cubicBezTo>
                        <a:cubicBezTo>
                          <a:pt x="0" y="2906"/>
                          <a:pt x="2907" y="0"/>
                          <a:pt x="6563" y="0"/>
                        </a:cubicBezTo>
                        <a:lnTo>
                          <a:pt x="143335" y="0"/>
                        </a:lnTo>
                        <a:cubicBezTo>
                          <a:pt x="146991" y="0"/>
                          <a:pt x="149896" y="2906"/>
                          <a:pt x="149896" y="6562"/>
                        </a:cubicBezTo>
                        <a:cubicBezTo>
                          <a:pt x="149896" y="10218"/>
                          <a:pt x="146897" y="13124"/>
                          <a:pt x="143335" y="13124"/>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nvGrpSpPr>
                  <p:cNvPr id="62" name="Рисунок 595">
                    <a:extLst>
                      <a:ext uri="{FF2B5EF4-FFF2-40B4-BE49-F238E27FC236}">
                        <a16:creationId xmlns:a16="http://schemas.microsoft.com/office/drawing/2014/main" id="{DA3AD22F-CFC5-44F9-BCE8-597F702B21B3}"/>
                      </a:ext>
                    </a:extLst>
                  </p:cNvPr>
                  <p:cNvGrpSpPr/>
                  <p:nvPr/>
                </p:nvGrpSpPr>
                <p:grpSpPr>
                  <a:xfrm>
                    <a:off x="11308494" y="3032465"/>
                    <a:ext cx="122522" cy="89431"/>
                    <a:chOff x="11308494" y="3032465"/>
                    <a:chExt cx="122522" cy="89431"/>
                  </a:xfrm>
                  <a:grpFill/>
                </p:grpSpPr>
                <p:sp>
                  <p:nvSpPr>
                    <p:cNvPr id="63" name="Полилиния: фигура 62">
                      <a:extLst>
                        <a:ext uri="{FF2B5EF4-FFF2-40B4-BE49-F238E27FC236}">
                          <a16:creationId xmlns:a16="http://schemas.microsoft.com/office/drawing/2014/main" id="{D957607E-0B28-446F-9010-DB308DF42275}"/>
                        </a:ext>
                      </a:extLst>
                    </p:cNvPr>
                    <p:cNvSpPr/>
                    <p:nvPr/>
                  </p:nvSpPr>
                  <p:spPr>
                    <a:xfrm>
                      <a:off x="11308494" y="3076149"/>
                      <a:ext cx="49589" cy="45747"/>
                    </a:xfrm>
                    <a:custGeom>
                      <a:avLst/>
                      <a:gdLst>
                        <a:gd name="connsiteX0" fmla="*/ 43028 w 49589"/>
                        <a:gd name="connsiteY0" fmla="*/ 45747 h 45747"/>
                        <a:gd name="connsiteX1" fmla="*/ 6562 w 49589"/>
                        <a:gd name="connsiteY1" fmla="*/ 45747 h 45747"/>
                        <a:gd name="connsiteX2" fmla="*/ 0 w 49589"/>
                        <a:gd name="connsiteY2" fmla="*/ 39185 h 45747"/>
                        <a:gd name="connsiteX3" fmla="*/ 0 w 49589"/>
                        <a:gd name="connsiteY3" fmla="*/ 6562 h 45747"/>
                        <a:gd name="connsiteX4" fmla="*/ 6562 w 49589"/>
                        <a:gd name="connsiteY4" fmla="*/ 0 h 45747"/>
                        <a:gd name="connsiteX5" fmla="*/ 43028 w 49589"/>
                        <a:gd name="connsiteY5" fmla="*/ 0 h 45747"/>
                        <a:gd name="connsiteX6" fmla="*/ 49590 w 49589"/>
                        <a:gd name="connsiteY6" fmla="*/ 6562 h 45747"/>
                        <a:gd name="connsiteX7" fmla="*/ 49590 w 49589"/>
                        <a:gd name="connsiteY7" fmla="*/ 39185 h 45747"/>
                        <a:gd name="connsiteX8" fmla="*/ 43028 w 49589"/>
                        <a:gd name="connsiteY8" fmla="*/ 45747 h 45747"/>
                        <a:gd name="connsiteX9" fmla="*/ 13123 w 49589"/>
                        <a:gd name="connsiteY9" fmla="*/ 32623 h 45747"/>
                        <a:gd name="connsiteX10" fmla="*/ 36466 w 49589"/>
                        <a:gd name="connsiteY10" fmla="*/ 32623 h 45747"/>
                        <a:gd name="connsiteX11" fmla="*/ 36466 w 49589"/>
                        <a:gd name="connsiteY11" fmla="*/ 13218 h 45747"/>
                        <a:gd name="connsiteX12" fmla="*/ 13123 w 49589"/>
                        <a:gd name="connsiteY12" fmla="*/ 13218 h 45747"/>
                        <a:gd name="connsiteX13" fmla="*/ 13123 w 49589"/>
                        <a:gd name="connsiteY13" fmla="*/ 32623 h 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89" h="45747">
                          <a:moveTo>
                            <a:pt x="43028" y="45747"/>
                          </a:moveTo>
                          <a:lnTo>
                            <a:pt x="6562" y="45747"/>
                          </a:lnTo>
                          <a:cubicBezTo>
                            <a:pt x="2905" y="45747"/>
                            <a:pt x="0" y="42841"/>
                            <a:pt x="0" y="39185"/>
                          </a:cubicBezTo>
                          <a:lnTo>
                            <a:pt x="0" y="6562"/>
                          </a:lnTo>
                          <a:cubicBezTo>
                            <a:pt x="0" y="2906"/>
                            <a:pt x="2905" y="0"/>
                            <a:pt x="6562" y="0"/>
                          </a:cubicBezTo>
                          <a:lnTo>
                            <a:pt x="43028" y="0"/>
                          </a:lnTo>
                          <a:cubicBezTo>
                            <a:pt x="46684" y="0"/>
                            <a:pt x="49590" y="2906"/>
                            <a:pt x="49590" y="6562"/>
                          </a:cubicBezTo>
                          <a:lnTo>
                            <a:pt x="49590" y="39185"/>
                          </a:lnTo>
                          <a:cubicBezTo>
                            <a:pt x="49590" y="42841"/>
                            <a:pt x="46590" y="45747"/>
                            <a:pt x="43028" y="45747"/>
                          </a:cubicBezTo>
                          <a:close/>
                          <a:moveTo>
                            <a:pt x="13123" y="32623"/>
                          </a:moveTo>
                          <a:lnTo>
                            <a:pt x="36466" y="32623"/>
                          </a:lnTo>
                          <a:lnTo>
                            <a:pt x="36466" y="13218"/>
                          </a:lnTo>
                          <a:lnTo>
                            <a:pt x="13123" y="13218"/>
                          </a:lnTo>
                          <a:lnTo>
                            <a:pt x="13123" y="32623"/>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64" name="Полилиния: фигура 63">
                      <a:extLst>
                        <a:ext uri="{FF2B5EF4-FFF2-40B4-BE49-F238E27FC236}">
                          <a16:creationId xmlns:a16="http://schemas.microsoft.com/office/drawing/2014/main" id="{334ECCB2-B125-47FD-9D95-A7B345473EDF}"/>
                        </a:ext>
                      </a:extLst>
                    </p:cNvPr>
                    <p:cNvSpPr/>
                    <p:nvPr/>
                  </p:nvSpPr>
                  <p:spPr>
                    <a:xfrm>
                      <a:off x="11344961" y="3054307"/>
                      <a:ext cx="49589" cy="67589"/>
                    </a:xfrm>
                    <a:custGeom>
                      <a:avLst/>
                      <a:gdLst>
                        <a:gd name="connsiteX0" fmla="*/ 43028 w 49589"/>
                        <a:gd name="connsiteY0" fmla="*/ 67589 h 67589"/>
                        <a:gd name="connsiteX1" fmla="*/ 6562 w 49589"/>
                        <a:gd name="connsiteY1" fmla="*/ 67589 h 67589"/>
                        <a:gd name="connsiteX2" fmla="*/ 0 w 49589"/>
                        <a:gd name="connsiteY2" fmla="*/ 61027 h 67589"/>
                        <a:gd name="connsiteX3" fmla="*/ 0 w 49589"/>
                        <a:gd name="connsiteY3" fmla="*/ 6562 h 67589"/>
                        <a:gd name="connsiteX4" fmla="*/ 6562 w 49589"/>
                        <a:gd name="connsiteY4" fmla="*/ 0 h 67589"/>
                        <a:gd name="connsiteX5" fmla="*/ 43028 w 49589"/>
                        <a:gd name="connsiteY5" fmla="*/ 0 h 67589"/>
                        <a:gd name="connsiteX6" fmla="*/ 49590 w 49589"/>
                        <a:gd name="connsiteY6" fmla="*/ 6562 h 67589"/>
                        <a:gd name="connsiteX7" fmla="*/ 49590 w 49589"/>
                        <a:gd name="connsiteY7" fmla="*/ 61027 h 67589"/>
                        <a:gd name="connsiteX8" fmla="*/ 43028 w 49589"/>
                        <a:gd name="connsiteY8" fmla="*/ 67589 h 67589"/>
                        <a:gd name="connsiteX9" fmla="*/ 13123 w 49589"/>
                        <a:gd name="connsiteY9" fmla="*/ 54465 h 67589"/>
                        <a:gd name="connsiteX10" fmla="*/ 36465 w 49589"/>
                        <a:gd name="connsiteY10" fmla="*/ 54465 h 67589"/>
                        <a:gd name="connsiteX11" fmla="*/ 36465 w 49589"/>
                        <a:gd name="connsiteY11" fmla="*/ 13124 h 67589"/>
                        <a:gd name="connsiteX12" fmla="*/ 13123 w 49589"/>
                        <a:gd name="connsiteY12" fmla="*/ 13124 h 67589"/>
                        <a:gd name="connsiteX13" fmla="*/ 13123 w 49589"/>
                        <a:gd name="connsiteY13" fmla="*/ 54465 h 6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89" h="67589">
                          <a:moveTo>
                            <a:pt x="43028" y="67589"/>
                          </a:moveTo>
                          <a:lnTo>
                            <a:pt x="6562" y="67589"/>
                          </a:lnTo>
                          <a:cubicBezTo>
                            <a:pt x="2905" y="67589"/>
                            <a:pt x="0" y="64683"/>
                            <a:pt x="0" y="61027"/>
                          </a:cubicBezTo>
                          <a:lnTo>
                            <a:pt x="0" y="6562"/>
                          </a:lnTo>
                          <a:cubicBezTo>
                            <a:pt x="0" y="2906"/>
                            <a:pt x="2905" y="0"/>
                            <a:pt x="6562" y="0"/>
                          </a:cubicBezTo>
                          <a:lnTo>
                            <a:pt x="43028" y="0"/>
                          </a:lnTo>
                          <a:cubicBezTo>
                            <a:pt x="46684" y="0"/>
                            <a:pt x="49590" y="2906"/>
                            <a:pt x="49590" y="6562"/>
                          </a:cubicBezTo>
                          <a:lnTo>
                            <a:pt x="49590" y="61027"/>
                          </a:lnTo>
                          <a:cubicBezTo>
                            <a:pt x="49590" y="64683"/>
                            <a:pt x="46590" y="67589"/>
                            <a:pt x="43028" y="67589"/>
                          </a:cubicBezTo>
                          <a:close/>
                          <a:moveTo>
                            <a:pt x="13123" y="54465"/>
                          </a:moveTo>
                          <a:lnTo>
                            <a:pt x="36465" y="54465"/>
                          </a:lnTo>
                          <a:lnTo>
                            <a:pt x="36465" y="13124"/>
                          </a:lnTo>
                          <a:lnTo>
                            <a:pt x="13123" y="13124"/>
                          </a:lnTo>
                          <a:lnTo>
                            <a:pt x="13123" y="54465"/>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65" name="Полилиния: фигура 64">
                      <a:extLst>
                        <a:ext uri="{FF2B5EF4-FFF2-40B4-BE49-F238E27FC236}">
                          <a16:creationId xmlns:a16="http://schemas.microsoft.com/office/drawing/2014/main" id="{A389F00A-CD77-438E-BE1C-2D95FA2C2B30}"/>
                        </a:ext>
                      </a:extLst>
                    </p:cNvPr>
                    <p:cNvSpPr/>
                    <p:nvPr/>
                  </p:nvSpPr>
                  <p:spPr>
                    <a:xfrm>
                      <a:off x="11381426" y="3032465"/>
                      <a:ext cx="49590" cy="89431"/>
                    </a:xfrm>
                    <a:custGeom>
                      <a:avLst/>
                      <a:gdLst>
                        <a:gd name="connsiteX0" fmla="*/ 43029 w 49590"/>
                        <a:gd name="connsiteY0" fmla="*/ 89432 h 89431"/>
                        <a:gd name="connsiteX1" fmla="*/ 6563 w 49590"/>
                        <a:gd name="connsiteY1" fmla="*/ 89432 h 89431"/>
                        <a:gd name="connsiteX2" fmla="*/ 0 w 49590"/>
                        <a:gd name="connsiteY2" fmla="*/ 82870 h 89431"/>
                        <a:gd name="connsiteX3" fmla="*/ 0 w 49590"/>
                        <a:gd name="connsiteY3" fmla="*/ 6562 h 89431"/>
                        <a:gd name="connsiteX4" fmla="*/ 6563 w 49590"/>
                        <a:gd name="connsiteY4" fmla="*/ 0 h 89431"/>
                        <a:gd name="connsiteX5" fmla="*/ 43029 w 49590"/>
                        <a:gd name="connsiteY5" fmla="*/ 0 h 89431"/>
                        <a:gd name="connsiteX6" fmla="*/ 49591 w 49590"/>
                        <a:gd name="connsiteY6" fmla="*/ 6562 h 89431"/>
                        <a:gd name="connsiteX7" fmla="*/ 49591 w 49590"/>
                        <a:gd name="connsiteY7" fmla="*/ 82870 h 89431"/>
                        <a:gd name="connsiteX8" fmla="*/ 43029 w 49590"/>
                        <a:gd name="connsiteY8" fmla="*/ 89432 h 89431"/>
                        <a:gd name="connsiteX9" fmla="*/ 13124 w 49590"/>
                        <a:gd name="connsiteY9" fmla="*/ 76307 h 89431"/>
                        <a:gd name="connsiteX10" fmla="*/ 36466 w 49590"/>
                        <a:gd name="connsiteY10" fmla="*/ 76307 h 89431"/>
                        <a:gd name="connsiteX11" fmla="*/ 36466 w 49590"/>
                        <a:gd name="connsiteY11" fmla="*/ 13124 h 89431"/>
                        <a:gd name="connsiteX12" fmla="*/ 13124 w 49590"/>
                        <a:gd name="connsiteY12" fmla="*/ 13124 h 89431"/>
                        <a:gd name="connsiteX13" fmla="*/ 13124 w 49590"/>
                        <a:gd name="connsiteY13" fmla="*/ 76307 h 89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90" h="89431">
                          <a:moveTo>
                            <a:pt x="43029" y="89432"/>
                          </a:moveTo>
                          <a:lnTo>
                            <a:pt x="6563" y="89432"/>
                          </a:lnTo>
                          <a:cubicBezTo>
                            <a:pt x="2907" y="89432"/>
                            <a:pt x="0" y="86526"/>
                            <a:pt x="0" y="82870"/>
                          </a:cubicBezTo>
                          <a:lnTo>
                            <a:pt x="0" y="6562"/>
                          </a:lnTo>
                          <a:cubicBezTo>
                            <a:pt x="0" y="2906"/>
                            <a:pt x="2907" y="0"/>
                            <a:pt x="6563" y="0"/>
                          </a:cubicBezTo>
                          <a:lnTo>
                            <a:pt x="43029" y="0"/>
                          </a:lnTo>
                          <a:cubicBezTo>
                            <a:pt x="46685" y="0"/>
                            <a:pt x="49591" y="2906"/>
                            <a:pt x="49591" y="6562"/>
                          </a:cubicBezTo>
                          <a:lnTo>
                            <a:pt x="49591" y="82870"/>
                          </a:lnTo>
                          <a:cubicBezTo>
                            <a:pt x="49591" y="86526"/>
                            <a:pt x="46685" y="89432"/>
                            <a:pt x="43029" y="89432"/>
                          </a:cubicBezTo>
                          <a:close/>
                          <a:moveTo>
                            <a:pt x="13124" y="76307"/>
                          </a:moveTo>
                          <a:lnTo>
                            <a:pt x="36466" y="76307"/>
                          </a:lnTo>
                          <a:lnTo>
                            <a:pt x="36466" y="13124"/>
                          </a:lnTo>
                          <a:lnTo>
                            <a:pt x="13124" y="13124"/>
                          </a:lnTo>
                          <a:lnTo>
                            <a:pt x="13124" y="76307"/>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grpSp>
      </p:grpSp>
      <p:grpSp>
        <p:nvGrpSpPr>
          <p:cNvPr id="118" name="Группа 117">
            <a:extLst>
              <a:ext uri="{FF2B5EF4-FFF2-40B4-BE49-F238E27FC236}">
                <a16:creationId xmlns:a16="http://schemas.microsoft.com/office/drawing/2014/main" id="{426A27E0-F315-4CE3-9253-00EB6DAB66F7}"/>
              </a:ext>
            </a:extLst>
          </p:cNvPr>
          <p:cNvGrpSpPr/>
          <p:nvPr/>
        </p:nvGrpSpPr>
        <p:grpSpPr>
          <a:xfrm>
            <a:off x="5402626" y="3990663"/>
            <a:ext cx="3939806" cy="1336760"/>
            <a:chOff x="5402626" y="3990663"/>
            <a:chExt cx="3939806" cy="1336760"/>
          </a:xfrm>
        </p:grpSpPr>
        <p:sp>
          <p:nvSpPr>
            <p:cNvPr id="8" name="TextBox 7">
              <a:extLst>
                <a:ext uri="{FF2B5EF4-FFF2-40B4-BE49-F238E27FC236}">
                  <a16:creationId xmlns:a16="http://schemas.microsoft.com/office/drawing/2014/main" id="{9327ECFA-3704-4B32-89E9-E6C418EB19B3}"/>
                </a:ext>
              </a:extLst>
            </p:cNvPr>
            <p:cNvSpPr txBox="1"/>
            <p:nvPr/>
          </p:nvSpPr>
          <p:spPr>
            <a:xfrm>
              <a:off x="6620818" y="4446939"/>
              <a:ext cx="2721614" cy="584775"/>
            </a:xfrm>
            <a:prstGeom prst="rect">
              <a:avLst/>
            </a:prstGeom>
            <a:noFill/>
          </p:spPr>
          <p:txBody>
            <a:bodyPr wrap="square">
              <a:spAutoFit/>
            </a:bodyPr>
            <a:lstStyle/>
            <a:p>
              <a:pPr algn="l" rtl="0"/>
              <a:r>
                <a:rPr lang="ru-RU" sz="1600" i="0">
                  <a:solidFill>
                    <a:srgbClr val="222222"/>
                  </a:solidFill>
                  <a:effectLst/>
                  <a:latin typeface="+mj-lt"/>
                </a:rPr>
                <a:t>Трансформации </a:t>
              </a:r>
              <a:br>
                <a:rPr lang="ru-RU" sz="1600" i="0">
                  <a:solidFill>
                    <a:srgbClr val="222222"/>
                  </a:solidFill>
                  <a:effectLst/>
                  <a:latin typeface="+mj-lt"/>
                </a:rPr>
              </a:br>
              <a:r>
                <a:rPr lang="ru-RU" sz="1600" i="0">
                  <a:solidFill>
                    <a:srgbClr val="222222"/>
                  </a:solidFill>
                  <a:effectLst/>
                  <a:latin typeface="+mj-lt"/>
                </a:rPr>
                <a:t>за «несколько недель»</a:t>
              </a:r>
            </a:p>
          </p:txBody>
        </p:sp>
        <p:grpSp>
          <p:nvGrpSpPr>
            <p:cNvPr id="25" name="Группа 24">
              <a:extLst>
                <a:ext uri="{FF2B5EF4-FFF2-40B4-BE49-F238E27FC236}">
                  <a16:creationId xmlns:a16="http://schemas.microsoft.com/office/drawing/2014/main" id="{72A285CD-9EE4-4D7E-9723-512C01041E5B}"/>
                </a:ext>
              </a:extLst>
            </p:cNvPr>
            <p:cNvGrpSpPr/>
            <p:nvPr/>
          </p:nvGrpSpPr>
          <p:grpSpPr>
            <a:xfrm>
              <a:off x="5402626" y="3990663"/>
              <a:ext cx="1268208" cy="1336760"/>
              <a:chOff x="437375" y="1216076"/>
              <a:chExt cx="1372000" cy="1446162"/>
            </a:xfrm>
          </p:grpSpPr>
          <p:pic>
            <p:nvPicPr>
              <p:cNvPr id="26" name="Рисунок 25">
                <a:extLst>
                  <a:ext uri="{FF2B5EF4-FFF2-40B4-BE49-F238E27FC236}">
                    <a16:creationId xmlns:a16="http://schemas.microsoft.com/office/drawing/2014/main" id="{448E3403-8A80-43C9-826E-6B58EA7B16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27" name="TextBox 26">
                <a:extLst>
                  <a:ext uri="{FF2B5EF4-FFF2-40B4-BE49-F238E27FC236}">
                    <a16:creationId xmlns:a16="http://schemas.microsoft.com/office/drawing/2014/main" id="{08205C78-0358-4704-AC9D-D8A1E6C554AD}"/>
                  </a:ext>
                </a:extLst>
              </p:cNvPr>
              <p:cNvSpPr txBox="1"/>
              <p:nvPr/>
            </p:nvSpPr>
            <p:spPr>
              <a:xfrm>
                <a:off x="946313" y="1708323"/>
                <a:ext cx="354122" cy="432855"/>
              </a:xfrm>
              <a:prstGeom prst="rect">
                <a:avLst/>
              </a:prstGeom>
              <a:noFill/>
            </p:spPr>
            <p:txBody>
              <a:bodyPr wrap="none" rtlCol="0">
                <a:spAutoFit/>
              </a:bodyPr>
              <a:lstStyle/>
              <a:p>
                <a:pPr algn="ctr"/>
                <a:r>
                  <a:rPr lang="ru-RU" sz="2000">
                    <a:solidFill>
                      <a:schemeClr val="bg1"/>
                    </a:solidFill>
                    <a:latin typeface="+mj-lt"/>
                  </a:rPr>
                  <a:t>5</a:t>
                </a:r>
              </a:p>
            </p:txBody>
          </p:sp>
        </p:grpSp>
        <p:grpSp>
          <p:nvGrpSpPr>
            <p:cNvPr id="70" name="Рисунок 595">
              <a:extLst>
                <a:ext uri="{FF2B5EF4-FFF2-40B4-BE49-F238E27FC236}">
                  <a16:creationId xmlns:a16="http://schemas.microsoft.com/office/drawing/2014/main" id="{DA3AD22F-CFC5-44F9-BCE8-597F702B21B3}"/>
                </a:ext>
              </a:extLst>
            </p:cNvPr>
            <p:cNvGrpSpPr/>
            <p:nvPr/>
          </p:nvGrpSpPr>
          <p:grpSpPr>
            <a:xfrm>
              <a:off x="6727024" y="4040719"/>
              <a:ext cx="439752" cy="377787"/>
              <a:chOff x="1490236" y="1927600"/>
              <a:chExt cx="439752" cy="377787"/>
            </a:xfrm>
            <a:solidFill>
              <a:schemeClr val="accent6"/>
            </a:solidFill>
          </p:grpSpPr>
          <p:sp>
            <p:nvSpPr>
              <p:cNvPr id="71" name="Полилиния: фигура 70">
                <a:extLst>
                  <a:ext uri="{FF2B5EF4-FFF2-40B4-BE49-F238E27FC236}">
                    <a16:creationId xmlns:a16="http://schemas.microsoft.com/office/drawing/2014/main" id="{1F79CF6E-5D83-4C05-8B3C-49245AF4591A}"/>
                  </a:ext>
                </a:extLst>
              </p:cNvPr>
              <p:cNvSpPr/>
              <p:nvPr/>
            </p:nvSpPr>
            <p:spPr>
              <a:xfrm>
                <a:off x="1490236" y="2033343"/>
                <a:ext cx="439752" cy="272044"/>
              </a:xfrm>
              <a:custGeom>
                <a:avLst/>
                <a:gdLst>
                  <a:gd name="connsiteX0" fmla="*/ 421660 w 439752"/>
                  <a:gd name="connsiteY0" fmla="*/ 272045 h 272044"/>
                  <a:gd name="connsiteX1" fmla="*/ 17999 w 439752"/>
                  <a:gd name="connsiteY1" fmla="*/ 272045 h 272044"/>
                  <a:gd name="connsiteX2" fmla="*/ 0 w 439752"/>
                  <a:gd name="connsiteY2" fmla="*/ 254046 h 272044"/>
                  <a:gd name="connsiteX3" fmla="*/ 0 w 439752"/>
                  <a:gd name="connsiteY3" fmla="*/ 6562 h 272044"/>
                  <a:gd name="connsiteX4" fmla="*/ 6562 w 439752"/>
                  <a:gd name="connsiteY4" fmla="*/ 0 h 272044"/>
                  <a:gd name="connsiteX5" fmla="*/ 433190 w 439752"/>
                  <a:gd name="connsiteY5" fmla="*/ 0 h 272044"/>
                  <a:gd name="connsiteX6" fmla="*/ 439752 w 439752"/>
                  <a:gd name="connsiteY6" fmla="*/ 6562 h 272044"/>
                  <a:gd name="connsiteX7" fmla="*/ 439752 w 439752"/>
                  <a:gd name="connsiteY7" fmla="*/ 254046 h 272044"/>
                  <a:gd name="connsiteX8" fmla="*/ 421660 w 439752"/>
                  <a:gd name="connsiteY8" fmla="*/ 272045 h 272044"/>
                  <a:gd name="connsiteX9" fmla="*/ 13124 w 439752"/>
                  <a:gd name="connsiteY9" fmla="*/ 13030 h 272044"/>
                  <a:gd name="connsiteX10" fmla="*/ 13124 w 439752"/>
                  <a:gd name="connsiteY10" fmla="*/ 253952 h 272044"/>
                  <a:gd name="connsiteX11" fmla="*/ 18093 w 439752"/>
                  <a:gd name="connsiteY11" fmla="*/ 258920 h 272044"/>
                  <a:gd name="connsiteX12" fmla="*/ 421753 w 439752"/>
                  <a:gd name="connsiteY12" fmla="*/ 258920 h 272044"/>
                  <a:gd name="connsiteX13" fmla="*/ 426722 w 439752"/>
                  <a:gd name="connsiteY13" fmla="*/ 253952 h 272044"/>
                  <a:gd name="connsiteX14" fmla="*/ 426722 w 439752"/>
                  <a:gd name="connsiteY14" fmla="*/ 13030 h 272044"/>
                  <a:gd name="connsiteX15" fmla="*/ 13124 w 439752"/>
                  <a:gd name="connsiteY15" fmla="*/ 13030 h 27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9752" h="272044">
                    <a:moveTo>
                      <a:pt x="421660" y="272045"/>
                    </a:moveTo>
                    <a:lnTo>
                      <a:pt x="17999" y="272045"/>
                    </a:lnTo>
                    <a:cubicBezTo>
                      <a:pt x="8062" y="272045"/>
                      <a:pt x="0" y="263983"/>
                      <a:pt x="0" y="254046"/>
                    </a:cubicBezTo>
                    <a:lnTo>
                      <a:pt x="0" y="6562"/>
                    </a:lnTo>
                    <a:cubicBezTo>
                      <a:pt x="0" y="2906"/>
                      <a:pt x="2906" y="0"/>
                      <a:pt x="6562" y="0"/>
                    </a:cubicBezTo>
                    <a:lnTo>
                      <a:pt x="433190" y="0"/>
                    </a:lnTo>
                    <a:cubicBezTo>
                      <a:pt x="436846" y="0"/>
                      <a:pt x="439752" y="2906"/>
                      <a:pt x="439752" y="6562"/>
                    </a:cubicBezTo>
                    <a:lnTo>
                      <a:pt x="439752" y="254046"/>
                    </a:lnTo>
                    <a:cubicBezTo>
                      <a:pt x="439752" y="263983"/>
                      <a:pt x="431596" y="272045"/>
                      <a:pt x="421660" y="272045"/>
                    </a:cubicBezTo>
                    <a:close/>
                    <a:moveTo>
                      <a:pt x="13124" y="13030"/>
                    </a:moveTo>
                    <a:lnTo>
                      <a:pt x="13124" y="253952"/>
                    </a:lnTo>
                    <a:cubicBezTo>
                      <a:pt x="13124" y="256671"/>
                      <a:pt x="15374" y="258920"/>
                      <a:pt x="18093" y="258920"/>
                    </a:cubicBezTo>
                    <a:lnTo>
                      <a:pt x="421753" y="258920"/>
                    </a:lnTo>
                    <a:cubicBezTo>
                      <a:pt x="424472" y="258920"/>
                      <a:pt x="426722" y="256671"/>
                      <a:pt x="426722" y="253952"/>
                    </a:cubicBezTo>
                    <a:lnTo>
                      <a:pt x="426722" y="13030"/>
                    </a:lnTo>
                    <a:lnTo>
                      <a:pt x="13124" y="13030"/>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2" name="Полилиния: фигура 71">
                <a:extLst>
                  <a:ext uri="{FF2B5EF4-FFF2-40B4-BE49-F238E27FC236}">
                    <a16:creationId xmlns:a16="http://schemas.microsoft.com/office/drawing/2014/main" id="{A077D145-BF1E-47B2-B0FD-A003A6BE5657}"/>
                  </a:ext>
                </a:extLst>
              </p:cNvPr>
              <p:cNvSpPr/>
              <p:nvPr/>
            </p:nvSpPr>
            <p:spPr>
              <a:xfrm>
                <a:off x="1490236" y="1967723"/>
                <a:ext cx="439660" cy="78651"/>
              </a:xfrm>
              <a:custGeom>
                <a:avLst/>
                <a:gdLst>
                  <a:gd name="connsiteX0" fmla="*/ 433190 w 439660"/>
                  <a:gd name="connsiteY0" fmla="*/ 78651 h 78651"/>
                  <a:gd name="connsiteX1" fmla="*/ 6562 w 439660"/>
                  <a:gd name="connsiteY1" fmla="*/ 78651 h 78651"/>
                  <a:gd name="connsiteX2" fmla="*/ 0 w 439660"/>
                  <a:gd name="connsiteY2" fmla="*/ 72089 h 78651"/>
                  <a:gd name="connsiteX3" fmla="*/ 0 w 439660"/>
                  <a:gd name="connsiteY3" fmla="*/ 17999 h 78651"/>
                  <a:gd name="connsiteX4" fmla="*/ 17999 w 439660"/>
                  <a:gd name="connsiteY4" fmla="*/ 0 h 78651"/>
                  <a:gd name="connsiteX5" fmla="*/ 69183 w 439660"/>
                  <a:gd name="connsiteY5" fmla="*/ 0 h 78651"/>
                  <a:gd name="connsiteX6" fmla="*/ 75745 w 439660"/>
                  <a:gd name="connsiteY6" fmla="*/ 6562 h 78651"/>
                  <a:gd name="connsiteX7" fmla="*/ 75745 w 439660"/>
                  <a:gd name="connsiteY7" fmla="*/ 17624 h 78651"/>
                  <a:gd name="connsiteX8" fmla="*/ 92244 w 439660"/>
                  <a:gd name="connsiteY8" fmla="*/ 34123 h 78651"/>
                  <a:gd name="connsiteX9" fmla="*/ 108743 w 439660"/>
                  <a:gd name="connsiteY9" fmla="*/ 17624 h 78651"/>
                  <a:gd name="connsiteX10" fmla="*/ 108743 w 439660"/>
                  <a:gd name="connsiteY10" fmla="*/ 6562 h 78651"/>
                  <a:gd name="connsiteX11" fmla="*/ 115305 w 439660"/>
                  <a:gd name="connsiteY11" fmla="*/ 0 h 78651"/>
                  <a:gd name="connsiteX12" fmla="*/ 324354 w 439660"/>
                  <a:gd name="connsiteY12" fmla="*/ 0 h 78651"/>
                  <a:gd name="connsiteX13" fmla="*/ 330916 w 439660"/>
                  <a:gd name="connsiteY13" fmla="*/ 6562 h 78651"/>
                  <a:gd name="connsiteX14" fmla="*/ 330916 w 439660"/>
                  <a:gd name="connsiteY14" fmla="*/ 17624 h 78651"/>
                  <a:gd name="connsiteX15" fmla="*/ 347415 w 439660"/>
                  <a:gd name="connsiteY15" fmla="*/ 34123 h 78651"/>
                  <a:gd name="connsiteX16" fmla="*/ 363913 w 439660"/>
                  <a:gd name="connsiteY16" fmla="*/ 17624 h 78651"/>
                  <a:gd name="connsiteX17" fmla="*/ 363913 w 439660"/>
                  <a:gd name="connsiteY17" fmla="*/ 6562 h 78651"/>
                  <a:gd name="connsiteX18" fmla="*/ 370476 w 439660"/>
                  <a:gd name="connsiteY18" fmla="*/ 0 h 78651"/>
                  <a:gd name="connsiteX19" fmla="*/ 421660 w 439660"/>
                  <a:gd name="connsiteY19" fmla="*/ 0 h 78651"/>
                  <a:gd name="connsiteX20" fmla="*/ 439658 w 439660"/>
                  <a:gd name="connsiteY20" fmla="*/ 17999 h 78651"/>
                  <a:gd name="connsiteX21" fmla="*/ 439658 w 439660"/>
                  <a:gd name="connsiteY21" fmla="*/ 72089 h 78651"/>
                  <a:gd name="connsiteX22" fmla="*/ 433190 w 439660"/>
                  <a:gd name="connsiteY22" fmla="*/ 78651 h 78651"/>
                  <a:gd name="connsiteX23" fmla="*/ 13124 w 439660"/>
                  <a:gd name="connsiteY23" fmla="*/ 65621 h 78651"/>
                  <a:gd name="connsiteX24" fmla="*/ 426628 w 439660"/>
                  <a:gd name="connsiteY24" fmla="*/ 65621 h 78651"/>
                  <a:gd name="connsiteX25" fmla="*/ 426628 w 439660"/>
                  <a:gd name="connsiteY25" fmla="*/ 17999 h 78651"/>
                  <a:gd name="connsiteX26" fmla="*/ 421660 w 439660"/>
                  <a:gd name="connsiteY26" fmla="*/ 13030 h 78651"/>
                  <a:gd name="connsiteX27" fmla="*/ 377038 w 439660"/>
                  <a:gd name="connsiteY27" fmla="*/ 13030 h 78651"/>
                  <a:gd name="connsiteX28" fmla="*/ 377038 w 439660"/>
                  <a:gd name="connsiteY28" fmla="*/ 17530 h 78651"/>
                  <a:gd name="connsiteX29" fmla="*/ 347415 w 439660"/>
                  <a:gd name="connsiteY29" fmla="*/ 47153 h 78651"/>
                  <a:gd name="connsiteX30" fmla="*/ 317791 w 439660"/>
                  <a:gd name="connsiteY30" fmla="*/ 17530 h 78651"/>
                  <a:gd name="connsiteX31" fmla="*/ 317791 w 439660"/>
                  <a:gd name="connsiteY31" fmla="*/ 13030 h 78651"/>
                  <a:gd name="connsiteX32" fmla="*/ 121867 w 439660"/>
                  <a:gd name="connsiteY32" fmla="*/ 13030 h 78651"/>
                  <a:gd name="connsiteX33" fmla="*/ 121867 w 439660"/>
                  <a:gd name="connsiteY33" fmla="*/ 17530 h 78651"/>
                  <a:gd name="connsiteX34" fmla="*/ 92244 w 439660"/>
                  <a:gd name="connsiteY34" fmla="*/ 47153 h 78651"/>
                  <a:gd name="connsiteX35" fmla="*/ 62621 w 439660"/>
                  <a:gd name="connsiteY35" fmla="*/ 17530 h 78651"/>
                  <a:gd name="connsiteX36" fmla="*/ 62621 w 439660"/>
                  <a:gd name="connsiteY36" fmla="*/ 13030 h 78651"/>
                  <a:gd name="connsiteX37" fmla="*/ 17999 w 439660"/>
                  <a:gd name="connsiteY37" fmla="*/ 13030 h 78651"/>
                  <a:gd name="connsiteX38" fmla="*/ 13030 w 439660"/>
                  <a:gd name="connsiteY38" fmla="*/ 17999 h 78651"/>
                  <a:gd name="connsiteX39" fmla="*/ 13030 w 439660"/>
                  <a:gd name="connsiteY39" fmla="*/ 65621 h 7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39660" h="78651">
                    <a:moveTo>
                      <a:pt x="433190" y="78651"/>
                    </a:moveTo>
                    <a:lnTo>
                      <a:pt x="6562" y="78651"/>
                    </a:lnTo>
                    <a:cubicBezTo>
                      <a:pt x="2906" y="78651"/>
                      <a:pt x="0" y="75745"/>
                      <a:pt x="0" y="72089"/>
                    </a:cubicBezTo>
                    <a:lnTo>
                      <a:pt x="0" y="17999"/>
                    </a:lnTo>
                    <a:cubicBezTo>
                      <a:pt x="0" y="8062"/>
                      <a:pt x="8062" y="0"/>
                      <a:pt x="17999" y="0"/>
                    </a:cubicBezTo>
                    <a:lnTo>
                      <a:pt x="69183" y="0"/>
                    </a:lnTo>
                    <a:cubicBezTo>
                      <a:pt x="72839" y="0"/>
                      <a:pt x="75745" y="2906"/>
                      <a:pt x="75745" y="6562"/>
                    </a:cubicBezTo>
                    <a:lnTo>
                      <a:pt x="75745" y="17624"/>
                    </a:lnTo>
                    <a:cubicBezTo>
                      <a:pt x="75745" y="26717"/>
                      <a:pt x="83151" y="34123"/>
                      <a:pt x="92244" y="34123"/>
                    </a:cubicBezTo>
                    <a:cubicBezTo>
                      <a:pt x="101337" y="34123"/>
                      <a:pt x="108743" y="26717"/>
                      <a:pt x="108743" y="17624"/>
                    </a:cubicBezTo>
                    <a:lnTo>
                      <a:pt x="108743" y="6562"/>
                    </a:lnTo>
                    <a:cubicBezTo>
                      <a:pt x="108743" y="2906"/>
                      <a:pt x="111649" y="0"/>
                      <a:pt x="115305" y="0"/>
                    </a:cubicBezTo>
                    <a:lnTo>
                      <a:pt x="324354" y="0"/>
                    </a:lnTo>
                    <a:cubicBezTo>
                      <a:pt x="328010" y="0"/>
                      <a:pt x="330916" y="2906"/>
                      <a:pt x="330916" y="6562"/>
                    </a:cubicBezTo>
                    <a:lnTo>
                      <a:pt x="330916" y="17624"/>
                    </a:lnTo>
                    <a:cubicBezTo>
                      <a:pt x="330916" y="26717"/>
                      <a:pt x="338321" y="34123"/>
                      <a:pt x="347415" y="34123"/>
                    </a:cubicBezTo>
                    <a:cubicBezTo>
                      <a:pt x="356508" y="34123"/>
                      <a:pt x="363913" y="26717"/>
                      <a:pt x="363913" y="17624"/>
                    </a:cubicBezTo>
                    <a:lnTo>
                      <a:pt x="363913" y="6562"/>
                    </a:lnTo>
                    <a:cubicBezTo>
                      <a:pt x="363913" y="2906"/>
                      <a:pt x="366820" y="0"/>
                      <a:pt x="370476" y="0"/>
                    </a:cubicBezTo>
                    <a:lnTo>
                      <a:pt x="421660" y="0"/>
                    </a:lnTo>
                    <a:cubicBezTo>
                      <a:pt x="431596" y="0"/>
                      <a:pt x="439658" y="8062"/>
                      <a:pt x="439658" y="17999"/>
                    </a:cubicBezTo>
                    <a:lnTo>
                      <a:pt x="439658" y="72089"/>
                    </a:lnTo>
                    <a:cubicBezTo>
                      <a:pt x="439752" y="75745"/>
                      <a:pt x="436752" y="78651"/>
                      <a:pt x="433190" y="78651"/>
                    </a:cubicBezTo>
                    <a:close/>
                    <a:moveTo>
                      <a:pt x="13124" y="65621"/>
                    </a:moveTo>
                    <a:lnTo>
                      <a:pt x="426628" y="65621"/>
                    </a:lnTo>
                    <a:lnTo>
                      <a:pt x="426628" y="17999"/>
                    </a:lnTo>
                    <a:cubicBezTo>
                      <a:pt x="426628" y="15280"/>
                      <a:pt x="424378" y="13030"/>
                      <a:pt x="421660" y="13030"/>
                    </a:cubicBezTo>
                    <a:lnTo>
                      <a:pt x="377038" y="13030"/>
                    </a:lnTo>
                    <a:lnTo>
                      <a:pt x="377038" y="17530"/>
                    </a:lnTo>
                    <a:cubicBezTo>
                      <a:pt x="377038" y="33842"/>
                      <a:pt x="363726" y="47153"/>
                      <a:pt x="347415" y="47153"/>
                    </a:cubicBezTo>
                    <a:cubicBezTo>
                      <a:pt x="331103" y="47153"/>
                      <a:pt x="317791" y="33842"/>
                      <a:pt x="317791" y="17530"/>
                    </a:cubicBezTo>
                    <a:lnTo>
                      <a:pt x="317791" y="13030"/>
                    </a:lnTo>
                    <a:lnTo>
                      <a:pt x="121867" y="13030"/>
                    </a:lnTo>
                    <a:lnTo>
                      <a:pt x="121867" y="17530"/>
                    </a:lnTo>
                    <a:cubicBezTo>
                      <a:pt x="121867" y="33842"/>
                      <a:pt x="108555" y="47153"/>
                      <a:pt x="92244" y="47153"/>
                    </a:cubicBezTo>
                    <a:cubicBezTo>
                      <a:pt x="75932" y="47153"/>
                      <a:pt x="62621" y="33842"/>
                      <a:pt x="62621" y="17530"/>
                    </a:cubicBezTo>
                    <a:lnTo>
                      <a:pt x="62621" y="13030"/>
                    </a:lnTo>
                    <a:lnTo>
                      <a:pt x="17999" y="13030"/>
                    </a:lnTo>
                    <a:cubicBezTo>
                      <a:pt x="15280" y="13030"/>
                      <a:pt x="13030" y="15280"/>
                      <a:pt x="13030" y="17999"/>
                    </a:cubicBezTo>
                    <a:lnTo>
                      <a:pt x="13030" y="65621"/>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3" name="Полилиния: фигура 72">
                <a:extLst>
                  <a:ext uri="{FF2B5EF4-FFF2-40B4-BE49-F238E27FC236}">
                    <a16:creationId xmlns:a16="http://schemas.microsoft.com/office/drawing/2014/main" id="{EBFBE47B-FF32-4CE1-8464-D30D4C40A780}"/>
                  </a:ext>
                </a:extLst>
              </p:cNvPr>
              <p:cNvSpPr/>
              <p:nvPr/>
            </p:nvSpPr>
            <p:spPr>
              <a:xfrm>
                <a:off x="1552857" y="1927600"/>
                <a:ext cx="59246" cy="87369"/>
              </a:xfrm>
              <a:custGeom>
                <a:avLst/>
                <a:gdLst>
                  <a:gd name="connsiteX0" fmla="*/ 29623 w 59246"/>
                  <a:gd name="connsiteY0" fmla="*/ 87369 h 87369"/>
                  <a:gd name="connsiteX1" fmla="*/ 0 w 59246"/>
                  <a:gd name="connsiteY1" fmla="*/ 57746 h 87369"/>
                  <a:gd name="connsiteX2" fmla="*/ 0 w 59246"/>
                  <a:gd name="connsiteY2" fmla="*/ 29623 h 87369"/>
                  <a:gd name="connsiteX3" fmla="*/ 29623 w 59246"/>
                  <a:gd name="connsiteY3" fmla="*/ 0 h 87369"/>
                  <a:gd name="connsiteX4" fmla="*/ 59246 w 59246"/>
                  <a:gd name="connsiteY4" fmla="*/ 29623 h 87369"/>
                  <a:gd name="connsiteX5" fmla="*/ 59246 w 59246"/>
                  <a:gd name="connsiteY5" fmla="*/ 57746 h 87369"/>
                  <a:gd name="connsiteX6" fmla="*/ 29623 w 59246"/>
                  <a:gd name="connsiteY6" fmla="*/ 87369 h 87369"/>
                  <a:gd name="connsiteX7" fmla="*/ 29623 w 59246"/>
                  <a:gd name="connsiteY7" fmla="*/ 13030 h 87369"/>
                  <a:gd name="connsiteX8" fmla="*/ 13124 w 59246"/>
                  <a:gd name="connsiteY8" fmla="*/ 29529 h 87369"/>
                  <a:gd name="connsiteX9" fmla="*/ 13124 w 59246"/>
                  <a:gd name="connsiteY9" fmla="*/ 57652 h 87369"/>
                  <a:gd name="connsiteX10" fmla="*/ 29623 w 59246"/>
                  <a:gd name="connsiteY10" fmla="*/ 74151 h 87369"/>
                  <a:gd name="connsiteX11" fmla="*/ 46122 w 59246"/>
                  <a:gd name="connsiteY11" fmla="*/ 57652 h 87369"/>
                  <a:gd name="connsiteX12" fmla="*/ 46122 w 59246"/>
                  <a:gd name="connsiteY12" fmla="*/ 29529 h 87369"/>
                  <a:gd name="connsiteX13" fmla="*/ 29623 w 59246"/>
                  <a:gd name="connsiteY13" fmla="*/ 13030 h 8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246" h="87369">
                    <a:moveTo>
                      <a:pt x="29623" y="87369"/>
                    </a:moveTo>
                    <a:cubicBezTo>
                      <a:pt x="13312" y="87369"/>
                      <a:pt x="0" y="74058"/>
                      <a:pt x="0" y="57746"/>
                    </a:cubicBezTo>
                    <a:lnTo>
                      <a:pt x="0" y="29623"/>
                    </a:lnTo>
                    <a:cubicBezTo>
                      <a:pt x="0" y="13312"/>
                      <a:pt x="13312" y="0"/>
                      <a:pt x="29623" y="0"/>
                    </a:cubicBezTo>
                    <a:cubicBezTo>
                      <a:pt x="45934" y="0"/>
                      <a:pt x="59246" y="13312"/>
                      <a:pt x="59246" y="29623"/>
                    </a:cubicBezTo>
                    <a:lnTo>
                      <a:pt x="59246" y="57746"/>
                    </a:lnTo>
                    <a:cubicBezTo>
                      <a:pt x="59246" y="74058"/>
                      <a:pt x="46028" y="87369"/>
                      <a:pt x="29623" y="87369"/>
                    </a:cubicBezTo>
                    <a:close/>
                    <a:moveTo>
                      <a:pt x="29623" y="13030"/>
                    </a:moveTo>
                    <a:cubicBezTo>
                      <a:pt x="20530" y="13030"/>
                      <a:pt x="13124" y="20436"/>
                      <a:pt x="13124" y="29529"/>
                    </a:cubicBezTo>
                    <a:lnTo>
                      <a:pt x="13124" y="57652"/>
                    </a:lnTo>
                    <a:cubicBezTo>
                      <a:pt x="13124" y="66746"/>
                      <a:pt x="20530" y="74151"/>
                      <a:pt x="29623" y="74151"/>
                    </a:cubicBezTo>
                    <a:cubicBezTo>
                      <a:pt x="38716" y="74151"/>
                      <a:pt x="46122" y="66746"/>
                      <a:pt x="46122" y="57652"/>
                    </a:cubicBezTo>
                    <a:lnTo>
                      <a:pt x="46122" y="29529"/>
                    </a:lnTo>
                    <a:cubicBezTo>
                      <a:pt x="46216" y="20436"/>
                      <a:pt x="38810" y="13030"/>
                      <a:pt x="29623" y="13030"/>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4" name="Полилиния: фигура 73">
                <a:extLst>
                  <a:ext uri="{FF2B5EF4-FFF2-40B4-BE49-F238E27FC236}">
                    <a16:creationId xmlns:a16="http://schemas.microsoft.com/office/drawing/2014/main" id="{C23AF590-D1B0-43BB-972C-C2CC9A1492DB}"/>
                  </a:ext>
                </a:extLst>
              </p:cNvPr>
              <p:cNvSpPr/>
              <p:nvPr/>
            </p:nvSpPr>
            <p:spPr>
              <a:xfrm>
                <a:off x="1808121" y="1927600"/>
                <a:ext cx="59246" cy="87369"/>
              </a:xfrm>
              <a:custGeom>
                <a:avLst/>
                <a:gdLst>
                  <a:gd name="connsiteX0" fmla="*/ 29623 w 59246"/>
                  <a:gd name="connsiteY0" fmla="*/ 87369 h 87369"/>
                  <a:gd name="connsiteX1" fmla="*/ 0 w 59246"/>
                  <a:gd name="connsiteY1" fmla="*/ 57746 h 87369"/>
                  <a:gd name="connsiteX2" fmla="*/ 0 w 59246"/>
                  <a:gd name="connsiteY2" fmla="*/ 29623 h 87369"/>
                  <a:gd name="connsiteX3" fmla="*/ 29623 w 59246"/>
                  <a:gd name="connsiteY3" fmla="*/ 0 h 87369"/>
                  <a:gd name="connsiteX4" fmla="*/ 59246 w 59246"/>
                  <a:gd name="connsiteY4" fmla="*/ 29623 h 87369"/>
                  <a:gd name="connsiteX5" fmla="*/ 59246 w 59246"/>
                  <a:gd name="connsiteY5" fmla="*/ 57746 h 87369"/>
                  <a:gd name="connsiteX6" fmla="*/ 29623 w 59246"/>
                  <a:gd name="connsiteY6" fmla="*/ 87369 h 87369"/>
                  <a:gd name="connsiteX7" fmla="*/ 29623 w 59246"/>
                  <a:gd name="connsiteY7" fmla="*/ 13030 h 87369"/>
                  <a:gd name="connsiteX8" fmla="*/ 13124 w 59246"/>
                  <a:gd name="connsiteY8" fmla="*/ 29529 h 87369"/>
                  <a:gd name="connsiteX9" fmla="*/ 13124 w 59246"/>
                  <a:gd name="connsiteY9" fmla="*/ 57652 h 87369"/>
                  <a:gd name="connsiteX10" fmla="*/ 29623 w 59246"/>
                  <a:gd name="connsiteY10" fmla="*/ 74151 h 87369"/>
                  <a:gd name="connsiteX11" fmla="*/ 46122 w 59246"/>
                  <a:gd name="connsiteY11" fmla="*/ 57652 h 87369"/>
                  <a:gd name="connsiteX12" fmla="*/ 46122 w 59246"/>
                  <a:gd name="connsiteY12" fmla="*/ 29529 h 87369"/>
                  <a:gd name="connsiteX13" fmla="*/ 29623 w 59246"/>
                  <a:gd name="connsiteY13" fmla="*/ 13030 h 8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246" h="87369">
                    <a:moveTo>
                      <a:pt x="29623" y="87369"/>
                    </a:moveTo>
                    <a:cubicBezTo>
                      <a:pt x="13312" y="87369"/>
                      <a:pt x="0" y="74058"/>
                      <a:pt x="0" y="57746"/>
                    </a:cubicBezTo>
                    <a:lnTo>
                      <a:pt x="0" y="29623"/>
                    </a:lnTo>
                    <a:cubicBezTo>
                      <a:pt x="0" y="13312"/>
                      <a:pt x="13312" y="0"/>
                      <a:pt x="29623" y="0"/>
                    </a:cubicBezTo>
                    <a:cubicBezTo>
                      <a:pt x="45934" y="0"/>
                      <a:pt x="59246" y="13312"/>
                      <a:pt x="59246" y="29623"/>
                    </a:cubicBezTo>
                    <a:lnTo>
                      <a:pt x="59246" y="57746"/>
                    </a:lnTo>
                    <a:cubicBezTo>
                      <a:pt x="59246" y="74058"/>
                      <a:pt x="45934" y="87369"/>
                      <a:pt x="29623" y="87369"/>
                    </a:cubicBezTo>
                    <a:close/>
                    <a:moveTo>
                      <a:pt x="29623" y="13030"/>
                    </a:moveTo>
                    <a:cubicBezTo>
                      <a:pt x="20530" y="13030"/>
                      <a:pt x="13124" y="20436"/>
                      <a:pt x="13124" y="29529"/>
                    </a:cubicBezTo>
                    <a:lnTo>
                      <a:pt x="13124" y="57652"/>
                    </a:lnTo>
                    <a:cubicBezTo>
                      <a:pt x="13124" y="66746"/>
                      <a:pt x="20530" y="74151"/>
                      <a:pt x="29623" y="74151"/>
                    </a:cubicBezTo>
                    <a:cubicBezTo>
                      <a:pt x="38716" y="74151"/>
                      <a:pt x="46122" y="66746"/>
                      <a:pt x="46122" y="57652"/>
                    </a:cubicBezTo>
                    <a:lnTo>
                      <a:pt x="46122" y="29529"/>
                    </a:lnTo>
                    <a:cubicBezTo>
                      <a:pt x="46122" y="20436"/>
                      <a:pt x="38716" y="13030"/>
                      <a:pt x="29623" y="13030"/>
                    </a:cubicBez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nvGrpSpPr>
              <p:cNvPr id="75" name="Рисунок 595">
                <a:extLst>
                  <a:ext uri="{FF2B5EF4-FFF2-40B4-BE49-F238E27FC236}">
                    <a16:creationId xmlns:a16="http://schemas.microsoft.com/office/drawing/2014/main" id="{DA3AD22F-CFC5-44F9-BCE8-597F702B21B3}"/>
                  </a:ext>
                </a:extLst>
              </p:cNvPr>
              <p:cNvGrpSpPr/>
              <p:nvPr/>
            </p:nvGrpSpPr>
            <p:grpSpPr>
              <a:xfrm>
                <a:off x="1533827" y="2089965"/>
                <a:ext cx="354350" cy="160113"/>
                <a:chOff x="1533827" y="2089965"/>
                <a:chExt cx="354350" cy="160113"/>
              </a:xfrm>
              <a:grpFill/>
            </p:grpSpPr>
            <p:sp>
              <p:nvSpPr>
                <p:cNvPr id="76" name="Полилиния: фигура 75">
                  <a:extLst>
                    <a:ext uri="{FF2B5EF4-FFF2-40B4-BE49-F238E27FC236}">
                      <a16:creationId xmlns:a16="http://schemas.microsoft.com/office/drawing/2014/main" id="{43F7D180-E957-4E06-8408-DC791211C8BF}"/>
                    </a:ext>
                  </a:extLst>
                </p:cNvPr>
                <p:cNvSpPr/>
                <p:nvPr/>
              </p:nvSpPr>
              <p:spPr>
                <a:xfrm>
                  <a:off x="1533827" y="2089965"/>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60090"/>
                        <a:pt x="60090"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7" name="Полилиния: фигура 76">
                  <a:extLst>
                    <a:ext uri="{FF2B5EF4-FFF2-40B4-BE49-F238E27FC236}">
                      <a16:creationId xmlns:a16="http://schemas.microsoft.com/office/drawing/2014/main" id="{AF6FE41B-5F78-44D7-A292-DA9F61AA3F90}"/>
                    </a:ext>
                  </a:extLst>
                </p:cNvPr>
                <p:cNvSpPr/>
                <p:nvPr/>
              </p:nvSpPr>
              <p:spPr>
                <a:xfrm>
                  <a:off x="1630945" y="2089965"/>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60090"/>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8" name="Полилиния: фигура 77">
                  <a:extLst>
                    <a:ext uri="{FF2B5EF4-FFF2-40B4-BE49-F238E27FC236}">
                      <a16:creationId xmlns:a16="http://schemas.microsoft.com/office/drawing/2014/main" id="{FBC58943-AF68-4ECD-9E58-DE73FD42A046}"/>
                    </a:ext>
                  </a:extLst>
                </p:cNvPr>
                <p:cNvSpPr/>
                <p:nvPr/>
              </p:nvSpPr>
              <p:spPr>
                <a:xfrm>
                  <a:off x="1728064" y="2089965"/>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60090"/>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79" name="Полилиния: фигура 78">
                  <a:extLst>
                    <a:ext uri="{FF2B5EF4-FFF2-40B4-BE49-F238E27FC236}">
                      <a16:creationId xmlns:a16="http://schemas.microsoft.com/office/drawing/2014/main" id="{DFACD4FC-0F28-4642-9736-1283D3FB0E1C}"/>
                    </a:ext>
                  </a:extLst>
                </p:cNvPr>
                <p:cNvSpPr/>
                <p:nvPr/>
              </p:nvSpPr>
              <p:spPr>
                <a:xfrm>
                  <a:off x="1825182" y="2089965"/>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02" y="60090"/>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80" name="Полилиния: фигура 79">
                  <a:extLst>
                    <a:ext uri="{FF2B5EF4-FFF2-40B4-BE49-F238E27FC236}">
                      <a16:creationId xmlns:a16="http://schemas.microsoft.com/office/drawing/2014/main" id="{1107C17A-B1BD-43EE-BA09-FB7FAAC40084}"/>
                    </a:ext>
                  </a:extLst>
                </p:cNvPr>
                <p:cNvSpPr/>
                <p:nvPr/>
              </p:nvSpPr>
              <p:spPr>
                <a:xfrm>
                  <a:off x="1533827" y="2187083"/>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59996"/>
                        <a:pt x="60090"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81" name="Полилиния: фигура 80">
                  <a:extLst>
                    <a:ext uri="{FF2B5EF4-FFF2-40B4-BE49-F238E27FC236}">
                      <a16:creationId xmlns:a16="http://schemas.microsoft.com/office/drawing/2014/main" id="{504DB816-4837-443B-83F7-D9B607B475B1}"/>
                    </a:ext>
                  </a:extLst>
                </p:cNvPr>
                <p:cNvSpPr/>
                <p:nvPr/>
              </p:nvSpPr>
              <p:spPr>
                <a:xfrm>
                  <a:off x="1630945" y="2187083"/>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59996"/>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82" name="Полилиния: фигура 81">
                  <a:extLst>
                    <a:ext uri="{FF2B5EF4-FFF2-40B4-BE49-F238E27FC236}">
                      <a16:creationId xmlns:a16="http://schemas.microsoft.com/office/drawing/2014/main" id="{4AD88BFB-8D88-4D40-91A6-D102FF67E201}"/>
                    </a:ext>
                  </a:extLst>
                </p:cNvPr>
                <p:cNvSpPr/>
                <p:nvPr/>
              </p:nvSpPr>
              <p:spPr>
                <a:xfrm>
                  <a:off x="1728064" y="2187083"/>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96" y="59996"/>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83" name="Полилиния: фигура 82">
                  <a:extLst>
                    <a:ext uri="{FF2B5EF4-FFF2-40B4-BE49-F238E27FC236}">
                      <a16:creationId xmlns:a16="http://schemas.microsoft.com/office/drawing/2014/main" id="{BCAF2F69-E47A-4381-8DDF-DC66783CD999}"/>
                    </a:ext>
                  </a:extLst>
                </p:cNvPr>
                <p:cNvSpPr/>
                <p:nvPr/>
              </p:nvSpPr>
              <p:spPr>
                <a:xfrm>
                  <a:off x="1825182" y="2187083"/>
                  <a:ext cx="62995" cy="62995"/>
                </a:xfrm>
                <a:custGeom>
                  <a:avLst/>
                  <a:gdLst>
                    <a:gd name="connsiteX0" fmla="*/ 56434 w 62995"/>
                    <a:gd name="connsiteY0" fmla="*/ 62996 h 62995"/>
                    <a:gd name="connsiteX1" fmla="*/ 6562 w 62995"/>
                    <a:gd name="connsiteY1" fmla="*/ 62996 h 62995"/>
                    <a:gd name="connsiteX2" fmla="*/ 0 w 62995"/>
                    <a:gd name="connsiteY2" fmla="*/ 56434 h 62995"/>
                    <a:gd name="connsiteX3" fmla="*/ 0 w 62995"/>
                    <a:gd name="connsiteY3" fmla="*/ 6562 h 62995"/>
                    <a:gd name="connsiteX4" fmla="*/ 6562 w 62995"/>
                    <a:gd name="connsiteY4" fmla="*/ 0 h 62995"/>
                    <a:gd name="connsiteX5" fmla="*/ 56434 w 62995"/>
                    <a:gd name="connsiteY5" fmla="*/ 0 h 62995"/>
                    <a:gd name="connsiteX6" fmla="*/ 62996 w 62995"/>
                    <a:gd name="connsiteY6" fmla="*/ 6562 h 62995"/>
                    <a:gd name="connsiteX7" fmla="*/ 62996 w 62995"/>
                    <a:gd name="connsiteY7" fmla="*/ 56434 h 62995"/>
                    <a:gd name="connsiteX8" fmla="*/ 56434 w 62995"/>
                    <a:gd name="connsiteY8" fmla="*/ 62996 h 62995"/>
                    <a:gd name="connsiteX9" fmla="*/ 13124 w 62995"/>
                    <a:gd name="connsiteY9" fmla="*/ 49872 h 62995"/>
                    <a:gd name="connsiteX10" fmla="*/ 49872 w 62995"/>
                    <a:gd name="connsiteY10" fmla="*/ 49872 h 62995"/>
                    <a:gd name="connsiteX11" fmla="*/ 49872 w 62995"/>
                    <a:gd name="connsiteY11" fmla="*/ 13124 h 62995"/>
                    <a:gd name="connsiteX12" fmla="*/ 13124 w 62995"/>
                    <a:gd name="connsiteY12" fmla="*/ 13124 h 62995"/>
                    <a:gd name="connsiteX13" fmla="*/ 13124 w 62995"/>
                    <a:gd name="connsiteY13" fmla="*/ 49872 h 6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995" h="62995">
                      <a:moveTo>
                        <a:pt x="56434" y="62996"/>
                      </a:moveTo>
                      <a:lnTo>
                        <a:pt x="6562" y="62996"/>
                      </a:lnTo>
                      <a:cubicBezTo>
                        <a:pt x="2906" y="62996"/>
                        <a:pt x="0" y="60090"/>
                        <a:pt x="0" y="56434"/>
                      </a:cubicBezTo>
                      <a:lnTo>
                        <a:pt x="0" y="6562"/>
                      </a:lnTo>
                      <a:cubicBezTo>
                        <a:pt x="0" y="2906"/>
                        <a:pt x="2906" y="0"/>
                        <a:pt x="6562" y="0"/>
                      </a:cubicBezTo>
                      <a:lnTo>
                        <a:pt x="56434" y="0"/>
                      </a:lnTo>
                      <a:cubicBezTo>
                        <a:pt x="60090" y="0"/>
                        <a:pt x="62996" y="2906"/>
                        <a:pt x="62996" y="6562"/>
                      </a:cubicBezTo>
                      <a:lnTo>
                        <a:pt x="62996" y="56434"/>
                      </a:lnTo>
                      <a:cubicBezTo>
                        <a:pt x="62902" y="59996"/>
                        <a:pt x="59996" y="62996"/>
                        <a:pt x="56434" y="62996"/>
                      </a:cubicBezTo>
                      <a:close/>
                      <a:moveTo>
                        <a:pt x="13124" y="49872"/>
                      </a:moveTo>
                      <a:lnTo>
                        <a:pt x="49872" y="49872"/>
                      </a:lnTo>
                      <a:lnTo>
                        <a:pt x="49872" y="13124"/>
                      </a:lnTo>
                      <a:lnTo>
                        <a:pt x="13124" y="13124"/>
                      </a:lnTo>
                      <a:lnTo>
                        <a:pt x="13124" y="49872"/>
                      </a:lnTo>
                      <a:close/>
                    </a:path>
                  </a:pathLst>
                </a:custGeom>
                <a:grpFill/>
                <a:ln w="9373"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grpSp>
        <p:nvGrpSpPr>
          <p:cNvPr id="119" name="Группа 118">
            <a:extLst>
              <a:ext uri="{FF2B5EF4-FFF2-40B4-BE49-F238E27FC236}">
                <a16:creationId xmlns:a16="http://schemas.microsoft.com/office/drawing/2014/main" id="{85D2D93F-5F97-4F87-93AE-19315402DC87}"/>
              </a:ext>
            </a:extLst>
          </p:cNvPr>
          <p:cNvGrpSpPr/>
          <p:nvPr/>
        </p:nvGrpSpPr>
        <p:grpSpPr>
          <a:xfrm>
            <a:off x="6101809" y="2255781"/>
            <a:ext cx="3637890" cy="1586411"/>
            <a:chOff x="6101809" y="2255781"/>
            <a:chExt cx="3637890" cy="1586411"/>
          </a:xfrm>
        </p:grpSpPr>
        <p:sp>
          <p:nvSpPr>
            <p:cNvPr id="9" name="TextBox 8">
              <a:extLst>
                <a:ext uri="{FF2B5EF4-FFF2-40B4-BE49-F238E27FC236}">
                  <a16:creationId xmlns:a16="http://schemas.microsoft.com/office/drawing/2014/main" id="{65846B9F-3FD0-49F8-8E5C-1DAD11B0D4FE}"/>
                </a:ext>
              </a:extLst>
            </p:cNvPr>
            <p:cNvSpPr txBox="1"/>
            <p:nvPr/>
          </p:nvSpPr>
          <p:spPr>
            <a:xfrm>
              <a:off x="7342461" y="2734242"/>
              <a:ext cx="2397238" cy="830997"/>
            </a:xfrm>
            <a:prstGeom prst="rect">
              <a:avLst/>
            </a:prstGeom>
            <a:noFill/>
          </p:spPr>
          <p:txBody>
            <a:bodyPr wrap="square">
              <a:spAutoFit/>
            </a:bodyPr>
            <a:lstStyle/>
            <a:p>
              <a:pPr algn="l" rtl="0"/>
              <a:r>
                <a:rPr lang="ru-RU" sz="1600" i="0">
                  <a:solidFill>
                    <a:srgbClr val="222222"/>
                  </a:solidFill>
                  <a:effectLst/>
                  <a:latin typeface="+mj-lt"/>
                </a:rPr>
                <a:t>Непрерывная генерация новых инициатив</a:t>
              </a:r>
            </a:p>
          </p:txBody>
        </p:sp>
        <p:grpSp>
          <p:nvGrpSpPr>
            <p:cNvPr id="28" name="Группа 27">
              <a:extLst>
                <a:ext uri="{FF2B5EF4-FFF2-40B4-BE49-F238E27FC236}">
                  <a16:creationId xmlns:a16="http://schemas.microsoft.com/office/drawing/2014/main" id="{20A8453B-8C05-4401-9350-05B8BB5B45F7}"/>
                </a:ext>
              </a:extLst>
            </p:cNvPr>
            <p:cNvGrpSpPr/>
            <p:nvPr/>
          </p:nvGrpSpPr>
          <p:grpSpPr>
            <a:xfrm>
              <a:off x="6101809" y="2505432"/>
              <a:ext cx="1268208" cy="1336760"/>
              <a:chOff x="437375" y="1216076"/>
              <a:chExt cx="1372000" cy="1446162"/>
            </a:xfrm>
          </p:grpSpPr>
          <p:pic>
            <p:nvPicPr>
              <p:cNvPr id="29" name="Рисунок 28">
                <a:extLst>
                  <a:ext uri="{FF2B5EF4-FFF2-40B4-BE49-F238E27FC236}">
                    <a16:creationId xmlns:a16="http://schemas.microsoft.com/office/drawing/2014/main" id="{C1B0F78B-F2E4-4468-A27A-B1D20725D4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30" name="TextBox 29">
                <a:extLst>
                  <a:ext uri="{FF2B5EF4-FFF2-40B4-BE49-F238E27FC236}">
                    <a16:creationId xmlns:a16="http://schemas.microsoft.com/office/drawing/2014/main" id="{3D7901F3-8BD0-482D-AE45-CC3296C56F24}"/>
                  </a:ext>
                </a:extLst>
              </p:cNvPr>
              <p:cNvSpPr txBox="1"/>
              <p:nvPr/>
            </p:nvSpPr>
            <p:spPr>
              <a:xfrm>
                <a:off x="946313" y="1708323"/>
                <a:ext cx="354122" cy="432855"/>
              </a:xfrm>
              <a:prstGeom prst="rect">
                <a:avLst/>
              </a:prstGeom>
              <a:noFill/>
            </p:spPr>
            <p:txBody>
              <a:bodyPr wrap="none" rtlCol="0">
                <a:spAutoFit/>
              </a:bodyPr>
              <a:lstStyle/>
              <a:p>
                <a:pPr algn="ctr"/>
                <a:r>
                  <a:rPr lang="ru-RU" sz="2000">
                    <a:solidFill>
                      <a:schemeClr val="bg1"/>
                    </a:solidFill>
                    <a:latin typeface="+mj-lt"/>
                  </a:rPr>
                  <a:t>6</a:t>
                </a:r>
              </a:p>
            </p:txBody>
          </p:sp>
        </p:grpSp>
        <p:grpSp>
          <p:nvGrpSpPr>
            <p:cNvPr id="84" name="Рисунок 1">
              <a:extLst>
                <a:ext uri="{FF2B5EF4-FFF2-40B4-BE49-F238E27FC236}">
                  <a16:creationId xmlns:a16="http://schemas.microsoft.com/office/drawing/2014/main" id="{3AEB49E5-2271-4367-AF08-288FE3581E04}"/>
                </a:ext>
              </a:extLst>
            </p:cNvPr>
            <p:cNvGrpSpPr/>
            <p:nvPr/>
          </p:nvGrpSpPr>
          <p:grpSpPr>
            <a:xfrm>
              <a:off x="7411982" y="2255781"/>
              <a:ext cx="416035" cy="441438"/>
              <a:chOff x="3311575" y="1883420"/>
              <a:chExt cx="418888" cy="444465"/>
            </a:xfrm>
            <a:solidFill>
              <a:schemeClr val="accent6"/>
            </a:solidFill>
          </p:grpSpPr>
          <p:grpSp>
            <p:nvGrpSpPr>
              <p:cNvPr id="85" name="Рисунок 1">
                <a:extLst>
                  <a:ext uri="{FF2B5EF4-FFF2-40B4-BE49-F238E27FC236}">
                    <a16:creationId xmlns:a16="http://schemas.microsoft.com/office/drawing/2014/main" id="{3AEB49E5-2271-4367-AF08-288FE3581E04}"/>
                  </a:ext>
                </a:extLst>
              </p:cNvPr>
              <p:cNvGrpSpPr/>
              <p:nvPr/>
            </p:nvGrpSpPr>
            <p:grpSpPr>
              <a:xfrm>
                <a:off x="3311575" y="2071022"/>
                <a:ext cx="418888" cy="256863"/>
                <a:chOff x="3311575" y="2071022"/>
                <a:chExt cx="418888" cy="256863"/>
              </a:xfrm>
              <a:grpFill/>
            </p:grpSpPr>
            <p:sp>
              <p:nvSpPr>
                <p:cNvPr id="97" name="Полилиния: фигура 96">
                  <a:extLst>
                    <a:ext uri="{FF2B5EF4-FFF2-40B4-BE49-F238E27FC236}">
                      <a16:creationId xmlns:a16="http://schemas.microsoft.com/office/drawing/2014/main" id="{7FDF5C26-B066-4944-839F-5115DC238E05}"/>
                    </a:ext>
                  </a:extLst>
                </p:cNvPr>
                <p:cNvSpPr/>
                <p:nvPr/>
              </p:nvSpPr>
              <p:spPr>
                <a:xfrm>
                  <a:off x="3322346" y="2103164"/>
                  <a:ext cx="127523" cy="129485"/>
                </a:xfrm>
                <a:custGeom>
                  <a:avLst/>
                  <a:gdLst>
                    <a:gd name="connsiteX0" fmla="*/ 21132 w 127523"/>
                    <a:gd name="connsiteY0" fmla="*/ 129485 h 129485"/>
                    <a:gd name="connsiteX1" fmla="*/ 15941 w 127523"/>
                    <a:gd name="connsiteY1" fmla="*/ 127031 h 129485"/>
                    <a:gd name="connsiteX2" fmla="*/ 25663 w 127523"/>
                    <a:gd name="connsiteY2" fmla="*/ 20186 h 129485"/>
                    <a:gd name="connsiteX3" fmla="*/ 79557 w 127523"/>
                    <a:gd name="connsiteY3" fmla="*/ 176 h 129485"/>
                    <a:gd name="connsiteX4" fmla="*/ 126090 w 127523"/>
                    <a:gd name="connsiteY4" fmla="*/ 24716 h 129485"/>
                    <a:gd name="connsiteX5" fmla="*/ 125052 w 127523"/>
                    <a:gd name="connsiteY5" fmla="*/ 33966 h 129485"/>
                    <a:gd name="connsiteX6" fmla="*/ 115802 w 127523"/>
                    <a:gd name="connsiteY6" fmla="*/ 32928 h 129485"/>
                    <a:gd name="connsiteX7" fmla="*/ 78613 w 127523"/>
                    <a:gd name="connsiteY7" fmla="*/ 13296 h 129485"/>
                    <a:gd name="connsiteX8" fmla="*/ 34629 w 127523"/>
                    <a:gd name="connsiteY8" fmla="*/ 29813 h 129485"/>
                    <a:gd name="connsiteX9" fmla="*/ 26135 w 127523"/>
                    <a:gd name="connsiteY9" fmla="*/ 118820 h 129485"/>
                    <a:gd name="connsiteX10" fmla="*/ 25096 w 127523"/>
                    <a:gd name="connsiteY10" fmla="*/ 128070 h 129485"/>
                    <a:gd name="connsiteX11" fmla="*/ 21132 w 127523"/>
                    <a:gd name="connsiteY11" fmla="*/ 129485 h 12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523" h="129485">
                      <a:moveTo>
                        <a:pt x="21132" y="129485"/>
                      </a:moveTo>
                      <a:cubicBezTo>
                        <a:pt x="19244" y="129485"/>
                        <a:pt x="17262" y="128636"/>
                        <a:pt x="15941" y="127031"/>
                      </a:cubicBezTo>
                      <a:cubicBezTo>
                        <a:pt x="-8694" y="96356"/>
                        <a:pt x="-4258" y="48407"/>
                        <a:pt x="25663" y="20186"/>
                      </a:cubicBezTo>
                      <a:cubicBezTo>
                        <a:pt x="40859" y="5933"/>
                        <a:pt x="60019" y="-1240"/>
                        <a:pt x="79557" y="176"/>
                      </a:cubicBezTo>
                      <a:cubicBezTo>
                        <a:pt x="97868" y="1497"/>
                        <a:pt x="114386" y="10181"/>
                        <a:pt x="126090" y="24716"/>
                      </a:cubicBezTo>
                      <a:cubicBezTo>
                        <a:pt x="128355" y="27548"/>
                        <a:pt x="127883" y="31701"/>
                        <a:pt x="125052" y="33966"/>
                      </a:cubicBezTo>
                      <a:cubicBezTo>
                        <a:pt x="122220" y="36232"/>
                        <a:pt x="118067" y="35760"/>
                        <a:pt x="115802" y="32928"/>
                      </a:cubicBezTo>
                      <a:cubicBezTo>
                        <a:pt x="106458" y="21318"/>
                        <a:pt x="93243" y="14334"/>
                        <a:pt x="78613" y="13296"/>
                      </a:cubicBezTo>
                      <a:cubicBezTo>
                        <a:pt x="62757" y="12163"/>
                        <a:pt x="47088" y="18015"/>
                        <a:pt x="34629" y="29813"/>
                      </a:cubicBezTo>
                      <a:cubicBezTo>
                        <a:pt x="9523" y="53410"/>
                        <a:pt x="5747" y="93335"/>
                        <a:pt x="26135" y="118820"/>
                      </a:cubicBezTo>
                      <a:cubicBezTo>
                        <a:pt x="28400" y="121651"/>
                        <a:pt x="27928" y="125804"/>
                        <a:pt x="25096" y="128070"/>
                      </a:cubicBezTo>
                      <a:cubicBezTo>
                        <a:pt x="24058" y="129013"/>
                        <a:pt x="22548" y="129485"/>
                        <a:pt x="21132" y="129485"/>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8" name="Полилиния: фигура 97">
                  <a:extLst>
                    <a:ext uri="{FF2B5EF4-FFF2-40B4-BE49-F238E27FC236}">
                      <a16:creationId xmlns:a16="http://schemas.microsoft.com/office/drawing/2014/main" id="{E4C0457C-C703-4A16-88E7-6ECD4F8B63F0}"/>
                    </a:ext>
                  </a:extLst>
                </p:cNvPr>
                <p:cNvSpPr/>
                <p:nvPr/>
              </p:nvSpPr>
              <p:spPr>
                <a:xfrm>
                  <a:off x="3561545" y="2103861"/>
                  <a:ext cx="133294" cy="81217"/>
                </a:xfrm>
                <a:custGeom>
                  <a:avLst/>
                  <a:gdLst>
                    <a:gd name="connsiteX0" fmla="*/ 126727 w 133294"/>
                    <a:gd name="connsiteY0" fmla="*/ 81124 h 81217"/>
                    <a:gd name="connsiteX1" fmla="*/ 120214 w 133294"/>
                    <a:gd name="connsiteY1" fmla="*/ 75366 h 81217"/>
                    <a:gd name="connsiteX2" fmla="*/ 77552 w 133294"/>
                    <a:gd name="connsiteY2" fmla="*/ 17790 h 81217"/>
                    <a:gd name="connsiteX3" fmla="*/ 11198 w 133294"/>
                    <a:gd name="connsiteY3" fmla="*/ 30627 h 81217"/>
                    <a:gd name="connsiteX4" fmla="*/ 1854 w 133294"/>
                    <a:gd name="connsiteY4" fmla="*/ 30438 h 81217"/>
                    <a:gd name="connsiteX5" fmla="*/ 2043 w 133294"/>
                    <a:gd name="connsiteY5" fmla="*/ 21094 h 81217"/>
                    <a:gd name="connsiteX6" fmla="*/ 82460 w 133294"/>
                    <a:gd name="connsiteY6" fmla="*/ 5615 h 81217"/>
                    <a:gd name="connsiteX7" fmla="*/ 133240 w 133294"/>
                    <a:gd name="connsiteY7" fmla="*/ 73856 h 81217"/>
                    <a:gd name="connsiteX8" fmla="*/ 127482 w 133294"/>
                    <a:gd name="connsiteY8" fmla="*/ 81218 h 81217"/>
                    <a:gd name="connsiteX9" fmla="*/ 126727 w 133294"/>
                    <a:gd name="connsiteY9" fmla="*/ 81124 h 8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94" h="81217">
                      <a:moveTo>
                        <a:pt x="126727" y="81124"/>
                      </a:moveTo>
                      <a:cubicBezTo>
                        <a:pt x="123423" y="81124"/>
                        <a:pt x="120592" y="78670"/>
                        <a:pt x="120214" y="75366"/>
                      </a:cubicBezTo>
                      <a:cubicBezTo>
                        <a:pt x="117005" y="49221"/>
                        <a:pt x="100676" y="27135"/>
                        <a:pt x="77552" y="17790"/>
                      </a:cubicBezTo>
                      <a:cubicBezTo>
                        <a:pt x="54616" y="8446"/>
                        <a:pt x="29226" y="13354"/>
                        <a:pt x="11198" y="30627"/>
                      </a:cubicBezTo>
                      <a:cubicBezTo>
                        <a:pt x="8555" y="33175"/>
                        <a:pt x="4402" y="33081"/>
                        <a:pt x="1854" y="30438"/>
                      </a:cubicBezTo>
                      <a:cubicBezTo>
                        <a:pt x="-695" y="27795"/>
                        <a:pt x="-600" y="23642"/>
                        <a:pt x="2043" y="21094"/>
                      </a:cubicBezTo>
                      <a:cubicBezTo>
                        <a:pt x="23846" y="234"/>
                        <a:pt x="54710" y="-5618"/>
                        <a:pt x="82460" y="5615"/>
                      </a:cubicBezTo>
                      <a:cubicBezTo>
                        <a:pt x="110021" y="16846"/>
                        <a:pt x="129464" y="42992"/>
                        <a:pt x="133240" y="73856"/>
                      </a:cubicBezTo>
                      <a:cubicBezTo>
                        <a:pt x="133712" y="77443"/>
                        <a:pt x="131069" y="80746"/>
                        <a:pt x="127482" y="81218"/>
                      </a:cubicBezTo>
                      <a:cubicBezTo>
                        <a:pt x="127293" y="81124"/>
                        <a:pt x="127010" y="81124"/>
                        <a:pt x="126727" y="81124"/>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9" name="Полилиния: фигура 98">
                  <a:extLst>
                    <a:ext uri="{FF2B5EF4-FFF2-40B4-BE49-F238E27FC236}">
                      <a16:creationId xmlns:a16="http://schemas.microsoft.com/office/drawing/2014/main" id="{26DA6FC8-1AA4-426E-A029-725CC003DFED}"/>
                    </a:ext>
                  </a:extLst>
                </p:cNvPr>
                <p:cNvSpPr/>
                <p:nvPr/>
              </p:nvSpPr>
              <p:spPr>
                <a:xfrm>
                  <a:off x="3428939" y="2071022"/>
                  <a:ext cx="51530" cy="47136"/>
                </a:xfrm>
                <a:custGeom>
                  <a:avLst/>
                  <a:gdLst>
                    <a:gd name="connsiteX0" fmla="*/ 6566 w 51530"/>
                    <a:gd name="connsiteY0" fmla="*/ 47136 h 47136"/>
                    <a:gd name="connsiteX1" fmla="*/ 3073 w 51530"/>
                    <a:gd name="connsiteY1" fmla="*/ 46098 h 47136"/>
                    <a:gd name="connsiteX2" fmla="*/ 997 w 51530"/>
                    <a:gd name="connsiteY2" fmla="*/ 37037 h 47136"/>
                    <a:gd name="connsiteX3" fmla="*/ 34315 w 51530"/>
                    <a:gd name="connsiteY3" fmla="*/ 4662 h 47136"/>
                    <a:gd name="connsiteX4" fmla="*/ 42149 w 51530"/>
                    <a:gd name="connsiteY4" fmla="*/ 604 h 47136"/>
                    <a:gd name="connsiteX5" fmla="*/ 50927 w 51530"/>
                    <a:gd name="connsiteY5" fmla="*/ 3813 h 47136"/>
                    <a:gd name="connsiteX6" fmla="*/ 47718 w 51530"/>
                    <a:gd name="connsiteY6" fmla="*/ 12591 h 47136"/>
                    <a:gd name="connsiteX7" fmla="*/ 40922 w 51530"/>
                    <a:gd name="connsiteY7" fmla="*/ 16178 h 47136"/>
                    <a:gd name="connsiteX8" fmla="*/ 12134 w 51530"/>
                    <a:gd name="connsiteY8" fmla="*/ 44210 h 47136"/>
                    <a:gd name="connsiteX9" fmla="*/ 6566 w 51530"/>
                    <a:gd name="connsiteY9" fmla="*/ 47136 h 47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30" h="47136">
                      <a:moveTo>
                        <a:pt x="6566" y="47136"/>
                      </a:moveTo>
                      <a:cubicBezTo>
                        <a:pt x="5338" y="47136"/>
                        <a:pt x="4111" y="46853"/>
                        <a:pt x="3073" y="46098"/>
                      </a:cubicBezTo>
                      <a:cubicBezTo>
                        <a:pt x="-42" y="44116"/>
                        <a:pt x="-891" y="40057"/>
                        <a:pt x="997" y="37037"/>
                      </a:cubicBezTo>
                      <a:cubicBezTo>
                        <a:pt x="9491" y="23634"/>
                        <a:pt x="21007" y="12402"/>
                        <a:pt x="34315" y="4662"/>
                      </a:cubicBezTo>
                      <a:cubicBezTo>
                        <a:pt x="36864" y="3152"/>
                        <a:pt x="39506" y="1831"/>
                        <a:pt x="42149" y="604"/>
                      </a:cubicBezTo>
                      <a:cubicBezTo>
                        <a:pt x="45453" y="-906"/>
                        <a:pt x="49417" y="509"/>
                        <a:pt x="50927" y="3813"/>
                      </a:cubicBezTo>
                      <a:cubicBezTo>
                        <a:pt x="52437" y="7116"/>
                        <a:pt x="51021" y="11081"/>
                        <a:pt x="47718" y="12591"/>
                      </a:cubicBezTo>
                      <a:cubicBezTo>
                        <a:pt x="45453" y="13629"/>
                        <a:pt x="43188" y="14856"/>
                        <a:pt x="40922" y="16178"/>
                      </a:cubicBezTo>
                      <a:cubicBezTo>
                        <a:pt x="29218" y="22973"/>
                        <a:pt x="19591" y="32412"/>
                        <a:pt x="12134" y="44210"/>
                      </a:cubicBezTo>
                      <a:cubicBezTo>
                        <a:pt x="10907" y="46004"/>
                        <a:pt x="8736" y="47136"/>
                        <a:pt x="6566" y="47136"/>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0" name="Полилиния: фигура 99">
                  <a:extLst>
                    <a:ext uri="{FF2B5EF4-FFF2-40B4-BE49-F238E27FC236}">
                      <a16:creationId xmlns:a16="http://schemas.microsoft.com/office/drawing/2014/main" id="{1640F5BF-1ED0-4308-8D74-66B3F9683B75}"/>
                    </a:ext>
                  </a:extLst>
                </p:cNvPr>
                <p:cNvSpPr/>
                <p:nvPr/>
              </p:nvSpPr>
              <p:spPr>
                <a:xfrm>
                  <a:off x="3544426" y="2073986"/>
                  <a:ext cx="46930" cy="50402"/>
                </a:xfrm>
                <a:custGeom>
                  <a:avLst/>
                  <a:gdLst>
                    <a:gd name="connsiteX0" fmla="*/ 40398 w 46930"/>
                    <a:gd name="connsiteY0" fmla="*/ 50403 h 50402"/>
                    <a:gd name="connsiteX1" fmla="*/ 34451 w 46930"/>
                    <a:gd name="connsiteY1" fmla="*/ 46722 h 50402"/>
                    <a:gd name="connsiteX2" fmla="*/ 3210 w 46930"/>
                    <a:gd name="connsiteY2" fmla="*/ 12271 h 50402"/>
                    <a:gd name="connsiteX3" fmla="*/ 944 w 46930"/>
                    <a:gd name="connsiteY3" fmla="*/ 3209 h 50402"/>
                    <a:gd name="connsiteX4" fmla="*/ 10005 w 46930"/>
                    <a:gd name="connsiteY4" fmla="*/ 944 h 50402"/>
                    <a:gd name="connsiteX5" fmla="*/ 46250 w 46930"/>
                    <a:gd name="connsiteY5" fmla="*/ 40870 h 50402"/>
                    <a:gd name="connsiteX6" fmla="*/ 43229 w 46930"/>
                    <a:gd name="connsiteY6" fmla="*/ 49742 h 50402"/>
                    <a:gd name="connsiteX7" fmla="*/ 40398 w 46930"/>
                    <a:gd name="connsiteY7" fmla="*/ 50403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30" h="50402">
                      <a:moveTo>
                        <a:pt x="40398" y="50403"/>
                      </a:moveTo>
                      <a:cubicBezTo>
                        <a:pt x="37944" y="50403"/>
                        <a:pt x="35678" y="49081"/>
                        <a:pt x="34451" y="46722"/>
                      </a:cubicBezTo>
                      <a:cubicBezTo>
                        <a:pt x="27183" y="31997"/>
                        <a:pt x="16329" y="20105"/>
                        <a:pt x="3210" y="12271"/>
                      </a:cubicBezTo>
                      <a:cubicBezTo>
                        <a:pt x="95" y="10383"/>
                        <a:pt x="-944" y="6324"/>
                        <a:pt x="944" y="3209"/>
                      </a:cubicBezTo>
                      <a:cubicBezTo>
                        <a:pt x="2832" y="95"/>
                        <a:pt x="6890" y="-944"/>
                        <a:pt x="10005" y="944"/>
                      </a:cubicBezTo>
                      <a:cubicBezTo>
                        <a:pt x="25296" y="10005"/>
                        <a:pt x="37849" y="23880"/>
                        <a:pt x="46250" y="40870"/>
                      </a:cubicBezTo>
                      <a:cubicBezTo>
                        <a:pt x="47854" y="44173"/>
                        <a:pt x="46533" y="48043"/>
                        <a:pt x="43229" y="49742"/>
                      </a:cubicBezTo>
                      <a:cubicBezTo>
                        <a:pt x="42380" y="50214"/>
                        <a:pt x="41341" y="50403"/>
                        <a:pt x="40398" y="5040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1" name="Полилиния: фигура 100">
                  <a:extLst>
                    <a:ext uri="{FF2B5EF4-FFF2-40B4-BE49-F238E27FC236}">
                      <a16:creationId xmlns:a16="http://schemas.microsoft.com/office/drawing/2014/main" id="{A49E5B54-D0DE-45F0-B482-168B2A064DEA}"/>
                    </a:ext>
                  </a:extLst>
                </p:cNvPr>
                <p:cNvSpPr/>
                <p:nvPr/>
              </p:nvSpPr>
              <p:spPr>
                <a:xfrm>
                  <a:off x="3473550" y="2171768"/>
                  <a:ext cx="256913" cy="124875"/>
                </a:xfrm>
                <a:custGeom>
                  <a:avLst/>
                  <a:gdLst>
                    <a:gd name="connsiteX0" fmla="*/ 198771 w 256913"/>
                    <a:gd name="connsiteY0" fmla="*/ 124876 h 124875"/>
                    <a:gd name="connsiteX1" fmla="*/ 44449 w 256913"/>
                    <a:gd name="connsiteY1" fmla="*/ 124876 h 124875"/>
                    <a:gd name="connsiteX2" fmla="*/ 1597 w 256913"/>
                    <a:gd name="connsiteY2" fmla="*/ 104771 h 124875"/>
                    <a:gd name="connsiteX3" fmla="*/ 2258 w 256913"/>
                    <a:gd name="connsiteY3" fmla="*/ 95521 h 124875"/>
                    <a:gd name="connsiteX4" fmla="*/ 11508 w 256913"/>
                    <a:gd name="connsiteY4" fmla="*/ 96182 h 124875"/>
                    <a:gd name="connsiteX5" fmla="*/ 44354 w 256913"/>
                    <a:gd name="connsiteY5" fmla="*/ 111756 h 124875"/>
                    <a:gd name="connsiteX6" fmla="*/ 198676 w 256913"/>
                    <a:gd name="connsiteY6" fmla="*/ 111756 h 124875"/>
                    <a:gd name="connsiteX7" fmla="*/ 243699 w 256913"/>
                    <a:gd name="connsiteY7" fmla="*/ 62392 h 124875"/>
                    <a:gd name="connsiteX8" fmla="*/ 226992 w 256913"/>
                    <a:gd name="connsiteY8" fmla="*/ 25487 h 124875"/>
                    <a:gd name="connsiteX9" fmla="*/ 192824 w 256913"/>
                    <a:gd name="connsiteY9" fmla="*/ 13311 h 124875"/>
                    <a:gd name="connsiteX10" fmla="*/ 185745 w 256913"/>
                    <a:gd name="connsiteY10" fmla="*/ 7270 h 124875"/>
                    <a:gd name="connsiteX11" fmla="*/ 191786 w 256913"/>
                    <a:gd name="connsiteY11" fmla="*/ 191 h 124875"/>
                    <a:gd name="connsiteX12" fmla="*/ 235959 w 256913"/>
                    <a:gd name="connsiteY12" fmla="*/ 15859 h 124875"/>
                    <a:gd name="connsiteX13" fmla="*/ 256913 w 256913"/>
                    <a:gd name="connsiteY13" fmla="*/ 62392 h 124875"/>
                    <a:gd name="connsiteX14" fmla="*/ 198771 w 256913"/>
                    <a:gd name="connsiteY14" fmla="*/ 124876 h 12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6913" h="124875">
                      <a:moveTo>
                        <a:pt x="198771" y="124876"/>
                      </a:moveTo>
                      <a:lnTo>
                        <a:pt x="44449" y="124876"/>
                      </a:lnTo>
                      <a:cubicBezTo>
                        <a:pt x="28214" y="124876"/>
                        <a:pt x="12641" y="117513"/>
                        <a:pt x="1597" y="104771"/>
                      </a:cubicBezTo>
                      <a:cubicBezTo>
                        <a:pt x="-762" y="102034"/>
                        <a:pt x="-479" y="97881"/>
                        <a:pt x="2258" y="95521"/>
                      </a:cubicBezTo>
                      <a:cubicBezTo>
                        <a:pt x="4995" y="93162"/>
                        <a:pt x="9148" y="93445"/>
                        <a:pt x="11508" y="96182"/>
                      </a:cubicBezTo>
                      <a:cubicBezTo>
                        <a:pt x="20097" y="106187"/>
                        <a:pt x="31801" y="111756"/>
                        <a:pt x="44354" y="111756"/>
                      </a:cubicBezTo>
                      <a:lnTo>
                        <a:pt x="198676" y="111756"/>
                      </a:lnTo>
                      <a:cubicBezTo>
                        <a:pt x="223500" y="111756"/>
                        <a:pt x="243699" y="89669"/>
                        <a:pt x="243699" y="62392"/>
                      </a:cubicBezTo>
                      <a:cubicBezTo>
                        <a:pt x="243699" y="48989"/>
                        <a:pt x="237469" y="35208"/>
                        <a:pt x="226992" y="25487"/>
                      </a:cubicBezTo>
                      <a:cubicBezTo>
                        <a:pt x="217365" y="16614"/>
                        <a:pt x="205189" y="12273"/>
                        <a:pt x="192824" y="13311"/>
                      </a:cubicBezTo>
                      <a:cubicBezTo>
                        <a:pt x="189238" y="13594"/>
                        <a:pt x="186029" y="10857"/>
                        <a:pt x="185745" y="7270"/>
                      </a:cubicBezTo>
                      <a:cubicBezTo>
                        <a:pt x="185462" y="3683"/>
                        <a:pt x="188200" y="474"/>
                        <a:pt x="191786" y="191"/>
                      </a:cubicBezTo>
                      <a:cubicBezTo>
                        <a:pt x="207926" y="-1130"/>
                        <a:pt x="223594" y="4438"/>
                        <a:pt x="235959" y="15859"/>
                      </a:cubicBezTo>
                      <a:cubicBezTo>
                        <a:pt x="249079" y="27941"/>
                        <a:pt x="256913" y="45402"/>
                        <a:pt x="256913" y="62392"/>
                      </a:cubicBezTo>
                      <a:cubicBezTo>
                        <a:pt x="257007" y="96843"/>
                        <a:pt x="230862" y="124876"/>
                        <a:pt x="198771" y="124876"/>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2" name="Полилиния: фигура 101">
                  <a:extLst>
                    <a:ext uri="{FF2B5EF4-FFF2-40B4-BE49-F238E27FC236}">
                      <a16:creationId xmlns:a16="http://schemas.microsoft.com/office/drawing/2014/main" id="{FEA391C3-7594-4A91-A1FD-42D55B54B5E5}"/>
                    </a:ext>
                  </a:extLst>
                </p:cNvPr>
                <p:cNvSpPr/>
                <p:nvPr/>
              </p:nvSpPr>
              <p:spPr>
                <a:xfrm>
                  <a:off x="3311575" y="2214586"/>
                  <a:ext cx="239987" cy="113299"/>
                </a:xfrm>
                <a:custGeom>
                  <a:avLst/>
                  <a:gdLst>
                    <a:gd name="connsiteX0" fmla="*/ 191321 w 239987"/>
                    <a:gd name="connsiteY0" fmla="*/ 113300 h 113299"/>
                    <a:gd name="connsiteX1" fmla="*/ 52951 w 239987"/>
                    <a:gd name="connsiteY1" fmla="*/ 113300 h 113299"/>
                    <a:gd name="connsiteX2" fmla="*/ 0 w 239987"/>
                    <a:gd name="connsiteY2" fmla="*/ 56573 h 113299"/>
                    <a:gd name="connsiteX3" fmla="*/ 47665 w 239987"/>
                    <a:gd name="connsiteY3" fmla="*/ 36 h 113299"/>
                    <a:gd name="connsiteX4" fmla="*/ 54933 w 239987"/>
                    <a:gd name="connsiteY4" fmla="*/ 5888 h 113299"/>
                    <a:gd name="connsiteX5" fmla="*/ 49081 w 239987"/>
                    <a:gd name="connsiteY5" fmla="*/ 13156 h 113299"/>
                    <a:gd name="connsiteX6" fmla="*/ 13214 w 239987"/>
                    <a:gd name="connsiteY6" fmla="*/ 56573 h 113299"/>
                    <a:gd name="connsiteX7" fmla="*/ 52951 w 239987"/>
                    <a:gd name="connsiteY7" fmla="*/ 100180 h 113299"/>
                    <a:gd name="connsiteX8" fmla="*/ 191321 w 239987"/>
                    <a:gd name="connsiteY8" fmla="*/ 100180 h 113299"/>
                    <a:gd name="connsiteX9" fmla="*/ 227377 w 239987"/>
                    <a:gd name="connsiteY9" fmla="*/ 74790 h 113299"/>
                    <a:gd name="connsiteX10" fmla="*/ 235966 w 239987"/>
                    <a:gd name="connsiteY10" fmla="*/ 71298 h 113299"/>
                    <a:gd name="connsiteX11" fmla="*/ 239458 w 239987"/>
                    <a:gd name="connsiteY11" fmla="*/ 79887 h 113299"/>
                    <a:gd name="connsiteX12" fmla="*/ 191321 w 239987"/>
                    <a:gd name="connsiteY12" fmla="*/ 113300 h 11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987" h="113299">
                      <a:moveTo>
                        <a:pt x="191321" y="113300"/>
                      </a:moveTo>
                      <a:lnTo>
                        <a:pt x="52951" y="113300"/>
                      </a:lnTo>
                      <a:cubicBezTo>
                        <a:pt x="23785" y="113300"/>
                        <a:pt x="0" y="87815"/>
                        <a:pt x="0" y="56573"/>
                      </a:cubicBezTo>
                      <a:cubicBezTo>
                        <a:pt x="0" y="27219"/>
                        <a:pt x="20482" y="2962"/>
                        <a:pt x="47665" y="36"/>
                      </a:cubicBezTo>
                      <a:cubicBezTo>
                        <a:pt x="51252" y="-342"/>
                        <a:pt x="54555" y="2301"/>
                        <a:pt x="54933" y="5888"/>
                      </a:cubicBezTo>
                      <a:cubicBezTo>
                        <a:pt x="55310" y="9475"/>
                        <a:pt x="52668" y="12778"/>
                        <a:pt x="49081" y="13156"/>
                      </a:cubicBezTo>
                      <a:cubicBezTo>
                        <a:pt x="28599" y="15326"/>
                        <a:pt x="13214" y="33921"/>
                        <a:pt x="13214" y="56573"/>
                      </a:cubicBezTo>
                      <a:cubicBezTo>
                        <a:pt x="13214" y="80642"/>
                        <a:pt x="31053" y="100180"/>
                        <a:pt x="52951" y="100180"/>
                      </a:cubicBezTo>
                      <a:lnTo>
                        <a:pt x="191321" y="100180"/>
                      </a:lnTo>
                      <a:cubicBezTo>
                        <a:pt x="206801" y="100180"/>
                        <a:pt x="220959" y="90269"/>
                        <a:pt x="227377" y="74790"/>
                      </a:cubicBezTo>
                      <a:cubicBezTo>
                        <a:pt x="228793" y="71392"/>
                        <a:pt x="232663" y="69882"/>
                        <a:pt x="235966" y="71298"/>
                      </a:cubicBezTo>
                      <a:cubicBezTo>
                        <a:pt x="239364" y="72713"/>
                        <a:pt x="240874" y="76583"/>
                        <a:pt x="239458" y="79887"/>
                      </a:cubicBezTo>
                      <a:cubicBezTo>
                        <a:pt x="231058" y="100180"/>
                        <a:pt x="212086" y="113300"/>
                        <a:pt x="191321" y="113300"/>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3" name="Полилиния: фигура 102">
                  <a:extLst>
                    <a:ext uri="{FF2B5EF4-FFF2-40B4-BE49-F238E27FC236}">
                      <a16:creationId xmlns:a16="http://schemas.microsoft.com/office/drawing/2014/main" id="{BBC4DC7B-594F-4B57-A6A5-3ECE19853C19}"/>
                    </a:ext>
                  </a:extLst>
                </p:cNvPr>
                <p:cNvSpPr/>
                <p:nvPr/>
              </p:nvSpPr>
              <p:spPr>
                <a:xfrm>
                  <a:off x="3600661" y="2193247"/>
                  <a:ext cx="34230" cy="41761"/>
                </a:xfrm>
                <a:custGeom>
                  <a:avLst/>
                  <a:gdLst>
                    <a:gd name="connsiteX0" fmla="*/ 6533 w 34230"/>
                    <a:gd name="connsiteY0" fmla="*/ 41762 h 41761"/>
                    <a:gd name="connsiteX1" fmla="*/ 6061 w 34230"/>
                    <a:gd name="connsiteY1" fmla="*/ 41762 h 41761"/>
                    <a:gd name="connsiteX2" fmla="*/ 20 w 34230"/>
                    <a:gd name="connsiteY2" fmla="*/ 34683 h 41761"/>
                    <a:gd name="connsiteX3" fmla="*/ 25127 w 34230"/>
                    <a:gd name="connsiteY3" fmla="*/ 515 h 41761"/>
                    <a:gd name="connsiteX4" fmla="*/ 33716 w 34230"/>
                    <a:gd name="connsiteY4" fmla="*/ 4101 h 41761"/>
                    <a:gd name="connsiteX5" fmla="*/ 30129 w 34230"/>
                    <a:gd name="connsiteY5" fmla="*/ 12691 h 41761"/>
                    <a:gd name="connsiteX6" fmla="*/ 13140 w 34230"/>
                    <a:gd name="connsiteY6" fmla="*/ 35721 h 41761"/>
                    <a:gd name="connsiteX7" fmla="*/ 6533 w 34230"/>
                    <a:gd name="connsiteY7" fmla="*/ 41762 h 41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30" h="41761">
                      <a:moveTo>
                        <a:pt x="6533" y="41762"/>
                      </a:moveTo>
                      <a:cubicBezTo>
                        <a:pt x="6344" y="41762"/>
                        <a:pt x="6155" y="41762"/>
                        <a:pt x="6061" y="41762"/>
                      </a:cubicBezTo>
                      <a:cubicBezTo>
                        <a:pt x="2474" y="41478"/>
                        <a:pt x="-263" y="38364"/>
                        <a:pt x="20" y="34683"/>
                      </a:cubicBezTo>
                      <a:cubicBezTo>
                        <a:pt x="1908" y="10331"/>
                        <a:pt x="24183" y="892"/>
                        <a:pt x="25127" y="515"/>
                      </a:cubicBezTo>
                      <a:cubicBezTo>
                        <a:pt x="28525" y="-901"/>
                        <a:pt x="32300" y="704"/>
                        <a:pt x="33716" y="4101"/>
                      </a:cubicBezTo>
                      <a:cubicBezTo>
                        <a:pt x="35132" y="7499"/>
                        <a:pt x="33527" y="11275"/>
                        <a:pt x="30129" y="12691"/>
                      </a:cubicBezTo>
                      <a:cubicBezTo>
                        <a:pt x="29469" y="12974"/>
                        <a:pt x="14367" y="19581"/>
                        <a:pt x="13140" y="35721"/>
                      </a:cubicBezTo>
                      <a:cubicBezTo>
                        <a:pt x="12857" y="39119"/>
                        <a:pt x="9931" y="41762"/>
                        <a:pt x="6533" y="41762"/>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4" name="Полилиния: фигура 103">
                  <a:extLst>
                    <a:ext uri="{FF2B5EF4-FFF2-40B4-BE49-F238E27FC236}">
                      <a16:creationId xmlns:a16="http://schemas.microsoft.com/office/drawing/2014/main" id="{EA02C71E-F3FE-4BFC-9135-5870E0183DFD}"/>
                    </a:ext>
                  </a:extLst>
                </p:cNvPr>
                <p:cNvSpPr/>
                <p:nvPr/>
              </p:nvSpPr>
              <p:spPr>
                <a:xfrm>
                  <a:off x="3378873" y="2161351"/>
                  <a:ext cx="42717" cy="45153"/>
                </a:xfrm>
                <a:custGeom>
                  <a:avLst/>
                  <a:gdLst>
                    <a:gd name="connsiteX0" fmla="*/ 6607 w 42717"/>
                    <a:gd name="connsiteY0" fmla="*/ 45154 h 45153"/>
                    <a:gd name="connsiteX1" fmla="*/ 0 w 42717"/>
                    <a:gd name="connsiteY1" fmla="*/ 38547 h 45153"/>
                    <a:gd name="connsiteX2" fmla="*/ 35300 w 42717"/>
                    <a:gd name="connsiteY2" fmla="*/ 37 h 45153"/>
                    <a:gd name="connsiteX3" fmla="*/ 42663 w 42717"/>
                    <a:gd name="connsiteY3" fmla="*/ 5795 h 45153"/>
                    <a:gd name="connsiteX4" fmla="*/ 36905 w 42717"/>
                    <a:gd name="connsiteY4" fmla="*/ 13157 h 45153"/>
                    <a:gd name="connsiteX5" fmla="*/ 13120 w 42717"/>
                    <a:gd name="connsiteY5" fmla="*/ 38641 h 45153"/>
                    <a:gd name="connsiteX6" fmla="*/ 6607 w 42717"/>
                    <a:gd name="connsiteY6" fmla="*/ 45154 h 4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717" h="45153">
                      <a:moveTo>
                        <a:pt x="6607" y="45154"/>
                      </a:moveTo>
                      <a:cubicBezTo>
                        <a:pt x="2926" y="45154"/>
                        <a:pt x="0" y="42228"/>
                        <a:pt x="0" y="38547"/>
                      </a:cubicBezTo>
                      <a:cubicBezTo>
                        <a:pt x="0" y="11363"/>
                        <a:pt x="23125" y="1453"/>
                        <a:pt x="35300" y="37"/>
                      </a:cubicBezTo>
                      <a:cubicBezTo>
                        <a:pt x="38887" y="-340"/>
                        <a:pt x="42191" y="2208"/>
                        <a:pt x="42663" y="5795"/>
                      </a:cubicBezTo>
                      <a:cubicBezTo>
                        <a:pt x="43135" y="9381"/>
                        <a:pt x="40492" y="12685"/>
                        <a:pt x="36905" y="13157"/>
                      </a:cubicBezTo>
                      <a:cubicBezTo>
                        <a:pt x="34451" y="13440"/>
                        <a:pt x="13120" y="16838"/>
                        <a:pt x="13120" y="38641"/>
                      </a:cubicBezTo>
                      <a:cubicBezTo>
                        <a:pt x="13214" y="42228"/>
                        <a:pt x="10288" y="45154"/>
                        <a:pt x="6607" y="45154"/>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5" name="Полилиния: фигура 104">
                  <a:extLst>
                    <a:ext uri="{FF2B5EF4-FFF2-40B4-BE49-F238E27FC236}">
                      <a16:creationId xmlns:a16="http://schemas.microsoft.com/office/drawing/2014/main" id="{34B4EA22-6C3E-4288-B565-1D7D3AC6767D}"/>
                    </a:ext>
                  </a:extLst>
                </p:cNvPr>
                <p:cNvSpPr/>
                <p:nvPr/>
              </p:nvSpPr>
              <p:spPr>
                <a:xfrm>
                  <a:off x="3453998" y="2162787"/>
                  <a:ext cx="52524" cy="59291"/>
                </a:xfrm>
                <a:custGeom>
                  <a:avLst/>
                  <a:gdLst>
                    <a:gd name="connsiteX0" fmla="*/ 32570 w 52524"/>
                    <a:gd name="connsiteY0" fmla="*/ 59291 h 59291"/>
                    <a:gd name="connsiteX1" fmla="*/ 11239 w 52524"/>
                    <a:gd name="connsiteY1" fmla="*/ 51552 h 59291"/>
                    <a:gd name="connsiteX2" fmla="*/ 1139 w 52524"/>
                    <a:gd name="connsiteY2" fmla="*/ 5397 h 59291"/>
                    <a:gd name="connsiteX3" fmla="*/ 8879 w 52524"/>
                    <a:gd name="connsiteY3" fmla="*/ 111 h 59291"/>
                    <a:gd name="connsiteX4" fmla="*/ 14164 w 52524"/>
                    <a:gd name="connsiteY4" fmla="*/ 7851 h 59291"/>
                    <a:gd name="connsiteX5" fmla="*/ 14164 w 52524"/>
                    <a:gd name="connsiteY5" fmla="*/ 7851 h 59291"/>
                    <a:gd name="connsiteX6" fmla="*/ 20300 w 52524"/>
                    <a:gd name="connsiteY6" fmla="*/ 41924 h 59291"/>
                    <a:gd name="connsiteX7" fmla="*/ 44274 w 52524"/>
                    <a:gd name="connsiteY7" fmla="*/ 44378 h 59291"/>
                    <a:gd name="connsiteX8" fmla="*/ 52297 w 52524"/>
                    <a:gd name="connsiteY8" fmla="*/ 49097 h 59291"/>
                    <a:gd name="connsiteX9" fmla="*/ 47577 w 52524"/>
                    <a:gd name="connsiteY9" fmla="*/ 57120 h 59291"/>
                    <a:gd name="connsiteX10" fmla="*/ 32570 w 52524"/>
                    <a:gd name="connsiteY10" fmla="*/ 59291 h 5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24" h="59291">
                      <a:moveTo>
                        <a:pt x="32570" y="59291"/>
                      </a:moveTo>
                      <a:cubicBezTo>
                        <a:pt x="23886" y="59291"/>
                        <a:pt x="16713" y="56743"/>
                        <a:pt x="11239" y="51552"/>
                      </a:cubicBezTo>
                      <a:cubicBezTo>
                        <a:pt x="-4618" y="36827"/>
                        <a:pt x="856" y="6718"/>
                        <a:pt x="1139" y="5397"/>
                      </a:cubicBezTo>
                      <a:cubicBezTo>
                        <a:pt x="1800" y="1810"/>
                        <a:pt x="5292" y="-550"/>
                        <a:pt x="8879" y="111"/>
                      </a:cubicBezTo>
                      <a:cubicBezTo>
                        <a:pt x="12466" y="772"/>
                        <a:pt x="14825" y="4264"/>
                        <a:pt x="14164" y="7851"/>
                      </a:cubicBezTo>
                      <a:lnTo>
                        <a:pt x="14164" y="7851"/>
                      </a:lnTo>
                      <a:cubicBezTo>
                        <a:pt x="12937" y="14552"/>
                        <a:pt x="11616" y="33807"/>
                        <a:pt x="20300" y="41924"/>
                      </a:cubicBezTo>
                      <a:cubicBezTo>
                        <a:pt x="25208" y="46455"/>
                        <a:pt x="33230" y="47304"/>
                        <a:pt x="44274" y="44378"/>
                      </a:cubicBezTo>
                      <a:cubicBezTo>
                        <a:pt x="47766" y="43434"/>
                        <a:pt x="51447" y="45511"/>
                        <a:pt x="52297" y="49097"/>
                      </a:cubicBezTo>
                      <a:cubicBezTo>
                        <a:pt x="53241" y="52590"/>
                        <a:pt x="51164" y="56271"/>
                        <a:pt x="47577" y="57120"/>
                      </a:cubicBezTo>
                      <a:cubicBezTo>
                        <a:pt x="42197" y="58536"/>
                        <a:pt x="37195" y="59291"/>
                        <a:pt x="32570" y="59291"/>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6" name="Полилиния: фигура 105">
                  <a:extLst>
                    <a:ext uri="{FF2B5EF4-FFF2-40B4-BE49-F238E27FC236}">
                      <a16:creationId xmlns:a16="http://schemas.microsoft.com/office/drawing/2014/main" id="{057FA8F8-A77F-4DF6-84E4-4D43147D37F2}"/>
                    </a:ext>
                  </a:extLst>
                </p:cNvPr>
                <p:cNvSpPr/>
                <p:nvPr/>
              </p:nvSpPr>
              <p:spPr>
                <a:xfrm>
                  <a:off x="3449542" y="2206983"/>
                  <a:ext cx="61140" cy="37370"/>
                </a:xfrm>
                <a:custGeom>
                  <a:avLst/>
                  <a:gdLst>
                    <a:gd name="connsiteX0" fmla="*/ 6633 w 61140"/>
                    <a:gd name="connsiteY0" fmla="*/ 37370 h 37370"/>
                    <a:gd name="connsiteX1" fmla="*/ 3141 w 61140"/>
                    <a:gd name="connsiteY1" fmla="*/ 36426 h 37370"/>
                    <a:gd name="connsiteX2" fmla="*/ 970 w 61140"/>
                    <a:gd name="connsiteY2" fmla="*/ 27365 h 37370"/>
                    <a:gd name="connsiteX3" fmla="*/ 56375 w 61140"/>
                    <a:gd name="connsiteY3" fmla="*/ 1692 h 37370"/>
                    <a:gd name="connsiteX4" fmla="*/ 60905 w 61140"/>
                    <a:gd name="connsiteY4" fmla="*/ 9809 h 37370"/>
                    <a:gd name="connsiteX5" fmla="*/ 52788 w 61140"/>
                    <a:gd name="connsiteY5" fmla="*/ 14340 h 37370"/>
                    <a:gd name="connsiteX6" fmla="*/ 12202 w 61140"/>
                    <a:gd name="connsiteY6" fmla="*/ 34256 h 37370"/>
                    <a:gd name="connsiteX7" fmla="*/ 6633 w 61140"/>
                    <a:gd name="connsiteY7" fmla="*/ 37370 h 3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140" h="37370">
                      <a:moveTo>
                        <a:pt x="6633" y="37370"/>
                      </a:moveTo>
                      <a:cubicBezTo>
                        <a:pt x="5406" y="37370"/>
                        <a:pt x="4274" y="37087"/>
                        <a:pt x="3141" y="36426"/>
                      </a:cubicBezTo>
                      <a:cubicBezTo>
                        <a:pt x="26" y="34539"/>
                        <a:pt x="-918" y="30480"/>
                        <a:pt x="970" y="27365"/>
                      </a:cubicBezTo>
                      <a:cubicBezTo>
                        <a:pt x="1819" y="25950"/>
                        <a:pt x="23151" y="-7841"/>
                        <a:pt x="56375" y="1692"/>
                      </a:cubicBezTo>
                      <a:cubicBezTo>
                        <a:pt x="59867" y="2730"/>
                        <a:pt x="61849" y="6317"/>
                        <a:pt x="60905" y="9809"/>
                      </a:cubicBezTo>
                      <a:cubicBezTo>
                        <a:pt x="59867" y="13302"/>
                        <a:pt x="56280" y="15284"/>
                        <a:pt x="52788" y="14340"/>
                      </a:cubicBezTo>
                      <a:cubicBezTo>
                        <a:pt x="29003" y="7544"/>
                        <a:pt x="12391" y="33972"/>
                        <a:pt x="12202" y="34256"/>
                      </a:cubicBezTo>
                      <a:cubicBezTo>
                        <a:pt x="11069" y="36332"/>
                        <a:pt x="8898" y="37370"/>
                        <a:pt x="6633" y="37370"/>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7" name="Полилиния: фигура 106">
                  <a:extLst>
                    <a:ext uri="{FF2B5EF4-FFF2-40B4-BE49-F238E27FC236}">
                      <a16:creationId xmlns:a16="http://schemas.microsoft.com/office/drawing/2014/main" id="{5AB08C50-22A1-4058-8018-2290DBCDED42}"/>
                    </a:ext>
                  </a:extLst>
                </p:cNvPr>
                <p:cNvSpPr/>
                <p:nvPr/>
              </p:nvSpPr>
              <p:spPr>
                <a:xfrm>
                  <a:off x="3372783" y="2255338"/>
                  <a:ext cx="43711" cy="30451"/>
                </a:xfrm>
                <a:custGeom>
                  <a:avLst/>
                  <a:gdLst>
                    <a:gd name="connsiteX0" fmla="*/ 27044 w 43711"/>
                    <a:gd name="connsiteY0" fmla="*/ 30451 h 30451"/>
                    <a:gd name="connsiteX1" fmla="*/ 3730 w 43711"/>
                    <a:gd name="connsiteY1" fmla="*/ 21956 h 30451"/>
                    <a:gd name="connsiteX2" fmla="*/ 1088 w 43711"/>
                    <a:gd name="connsiteY2" fmla="*/ 4306 h 30451"/>
                    <a:gd name="connsiteX3" fmla="*/ 9582 w 43711"/>
                    <a:gd name="connsiteY3" fmla="*/ 436 h 30451"/>
                    <a:gd name="connsiteX4" fmla="*/ 13547 w 43711"/>
                    <a:gd name="connsiteY4" fmla="*/ 8836 h 30451"/>
                    <a:gd name="connsiteX5" fmla="*/ 14207 w 43711"/>
                    <a:gd name="connsiteY5" fmla="*/ 13839 h 30451"/>
                    <a:gd name="connsiteX6" fmla="*/ 36294 w 43711"/>
                    <a:gd name="connsiteY6" fmla="*/ 16671 h 30451"/>
                    <a:gd name="connsiteX7" fmla="*/ 43656 w 43711"/>
                    <a:gd name="connsiteY7" fmla="*/ 22428 h 30451"/>
                    <a:gd name="connsiteX8" fmla="*/ 37898 w 43711"/>
                    <a:gd name="connsiteY8" fmla="*/ 29790 h 30451"/>
                    <a:gd name="connsiteX9" fmla="*/ 27044 w 43711"/>
                    <a:gd name="connsiteY9" fmla="*/ 30451 h 3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1" h="30451">
                      <a:moveTo>
                        <a:pt x="27044" y="30451"/>
                      </a:moveTo>
                      <a:cubicBezTo>
                        <a:pt x="15906" y="30451"/>
                        <a:pt x="8167" y="27619"/>
                        <a:pt x="3730" y="21956"/>
                      </a:cubicBezTo>
                      <a:cubicBezTo>
                        <a:pt x="-2310" y="14311"/>
                        <a:pt x="710" y="5344"/>
                        <a:pt x="1088" y="4306"/>
                      </a:cubicBezTo>
                      <a:cubicBezTo>
                        <a:pt x="2315" y="908"/>
                        <a:pt x="6185" y="-885"/>
                        <a:pt x="9582" y="436"/>
                      </a:cubicBezTo>
                      <a:cubicBezTo>
                        <a:pt x="12980" y="1663"/>
                        <a:pt x="14679" y="5439"/>
                        <a:pt x="13547" y="8836"/>
                      </a:cubicBezTo>
                      <a:cubicBezTo>
                        <a:pt x="13452" y="9025"/>
                        <a:pt x="12603" y="11951"/>
                        <a:pt x="14207" y="13839"/>
                      </a:cubicBezTo>
                      <a:cubicBezTo>
                        <a:pt x="15151" y="14972"/>
                        <a:pt x="19587" y="18747"/>
                        <a:pt x="36294" y="16671"/>
                      </a:cubicBezTo>
                      <a:cubicBezTo>
                        <a:pt x="39880" y="16199"/>
                        <a:pt x="43184" y="18747"/>
                        <a:pt x="43656" y="22428"/>
                      </a:cubicBezTo>
                      <a:cubicBezTo>
                        <a:pt x="44128" y="26015"/>
                        <a:pt x="41579" y="29318"/>
                        <a:pt x="37898" y="29790"/>
                      </a:cubicBezTo>
                      <a:cubicBezTo>
                        <a:pt x="33934" y="30168"/>
                        <a:pt x="30347" y="30451"/>
                        <a:pt x="27044" y="30451"/>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08" name="Полилиния: фигура 107">
                  <a:extLst>
                    <a:ext uri="{FF2B5EF4-FFF2-40B4-BE49-F238E27FC236}">
                      <a16:creationId xmlns:a16="http://schemas.microsoft.com/office/drawing/2014/main" id="{C4942AC7-E2BE-40CC-91E4-39CE2A9CE5F3}"/>
                    </a:ext>
                  </a:extLst>
                </p:cNvPr>
                <p:cNvSpPr/>
                <p:nvPr/>
              </p:nvSpPr>
              <p:spPr>
                <a:xfrm>
                  <a:off x="3527927" y="2148367"/>
                  <a:ext cx="64820" cy="63423"/>
                </a:xfrm>
                <a:custGeom>
                  <a:avLst/>
                  <a:gdLst>
                    <a:gd name="connsiteX0" fmla="*/ 21313 w 64820"/>
                    <a:gd name="connsiteY0" fmla="*/ 63423 h 63423"/>
                    <a:gd name="connsiteX1" fmla="*/ 2530 w 64820"/>
                    <a:gd name="connsiteY1" fmla="*/ 56155 h 63423"/>
                    <a:gd name="connsiteX2" fmla="*/ 1398 w 64820"/>
                    <a:gd name="connsiteY2" fmla="*/ 46905 h 63423"/>
                    <a:gd name="connsiteX3" fmla="*/ 10648 w 64820"/>
                    <a:gd name="connsiteY3" fmla="*/ 45773 h 63423"/>
                    <a:gd name="connsiteX4" fmla="*/ 24900 w 64820"/>
                    <a:gd name="connsiteY4" fmla="*/ 49643 h 63423"/>
                    <a:gd name="connsiteX5" fmla="*/ 51800 w 64820"/>
                    <a:gd name="connsiteY5" fmla="*/ 4998 h 63423"/>
                    <a:gd name="connsiteX6" fmla="*/ 59823 w 64820"/>
                    <a:gd name="connsiteY6" fmla="*/ 184 h 63423"/>
                    <a:gd name="connsiteX7" fmla="*/ 64637 w 64820"/>
                    <a:gd name="connsiteY7" fmla="*/ 8207 h 63423"/>
                    <a:gd name="connsiteX8" fmla="*/ 29242 w 64820"/>
                    <a:gd name="connsiteY8" fmla="*/ 62102 h 63423"/>
                    <a:gd name="connsiteX9" fmla="*/ 21313 w 64820"/>
                    <a:gd name="connsiteY9" fmla="*/ 63423 h 63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20" h="63423">
                      <a:moveTo>
                        <a:pt x="21313" y="63423"/>
                      </a:moveTo>
                      <a:cubicBezTo>
                        <a:pt x="16028" y="63423"/>
                        <a:pt x="9609" y="61724"/>
                        <a:pt x="2530" y="56155"/>
                      </a:cubicBezTo>
                      <a:cubicBezTo>
                        <a:pt x="-301" y="53890"/>
                        <a:pt x="-868" y="49737"/>
                        <a:pt x="1398" y="46905"/>
                      </a:cubicBezTo>
                      <a:cubicBezTo>
                        <a:pt x="3663" y="44074"/>
                        <a:pt x="7816" y="43508"/>
                        <a:pt x="10648" y="45773"/>
                      </a:cubicBezTo>
                      <a:cubicBezTo>
                        <a:pt x="18482" y="51908"/>
                        <a:pt x="23296" y="50209"/>
                        <a:pt x="24900" y="49643"/>
                      </a:cubicBezTo>
                      <a:cubicBezTo>
                        <a:pt x="38869" y="44923"/>
                        <a:pt x="49252" y="15097"/>
                        <a:pt x="51800" y="4998"/>
                      </a:cubicBezTo>
                      <a:cubicBezTo>
                        <a:pt x="52650" y="1506"/>
                        <a:pt x="56236" y="-665"/>
                        <a:pt x="59823" y="184"/>
                      </a:cubicBezTo>
                      <a:cubicBezTo>
                        <a:pt x="63315" y="1128"/>
                        <a:pt x="65486" y="4715"/>
                        <a:pt x="64637" y="8207"/>
                      </a:cubicBezTo>
                      <a:cubicBezTo>
                        <a:pt x="63410" y="12926"/>
                        <a:pt x="52366" y="54173"/>
                        <a:pt x="29242" y="62102"/>
                      </a:cubicBezTo>
                      <a:cubicBezTo>
                        <a:pt x="26976" y="62857"/>
                        <a:pt x="24334" y="63423"/>
                        <a:pt x="21313" y="6342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nvGrpSpPr>
              <p:cNvPr id="86" name="Рисунок 1">
                <a:extLst>
                  <a:ext uri="{FF2B5EF4-FFF2-40B4-BE49-F238E27FC236}">
                    <a16:creationId xmlns:a16="http://schemas.microsoft.com/office/drawing/2014/main" id="{3AEB49E5-2271-4367-AF08-288FE3581E04}"/>
                  </a:ext>
                </a:extLst>
              </p:cNvPr>
              <p:cNvGrpSpPr/>
              <p:nvPr/>
            </p:nvGrpSpPr>
            <p:grpSpPr>
              <a:xfrm>
                <a:off x="3385207" y="1883420"/>
                <a:ext cx="256073" cy="278627"/>
                <a:chOff x="3385207" y="1883420"/>
                <a:chExt cx="256073" cy="278627"/>
              </a:xfrm>
              <a:grpFill/>
            </p:grpSpPr>
            <p:grpSp>
              <p:nvGrpSpPr>
                <p:cNvPr id="87" name="Рисунок 1">
                  <a:extLst>
                    <a:ext uri="{FF2B5EF4-FFF2-40B4-BE49-F238E27FC236}">
                      <a16:creationId xmlns:a16="http://schemas.microsoft.com/office/drawing/2014/main" id="{3AEB49E5-2271-4367-AF08-288FE3581E04}"/>
                    </a:ext>
                  </a:extLst>
                </p:cNvPr>
                <p:cNvGrpSpPr/>
                <p:nvPr/>
              </p:nvGrpSpPr>
              <p:grpSpPr>
                <a:xfrm>
                  <a:off x="3444477" y="1944818"/>
                  <a:ext cx="137610" cy="217229"/>
                  <a:chOff x="3444477" y="1944818"/>
                  <a:chExt cx="137610" cy="217229"/>
                </a:xfrm>
                <a:grpFill/>
              </p:grpSpPr>
              <p:sp>
                <p:nvSpPr>
                  <p:cNvPr id="95" name="Полилиния: фигура 94">
                    <a:extLst>
                      <a:ext uri="{FF2B5EF4-FFF2-40B4-BE49-F238E27FC236}">
                        <a16:creationId xmlns:a16="http://schemas.microsoft.com/office/drawing/2014/main" id="{567FE606-356E-441A-AF2E-36DA1A46BCC3}"/>
                      </a:ext>
                    </a:extLst>
                  </p:cNvPr>
                  <p:cNvSpPr/>
                  <p:nvPr/>
                </p:nvSpPr>
                <p:spPr>
                  <a:xfrm>
                    <a:off x="3444477" y="1944818"/>
                    <a:ext cx="137610" cy="217229"/>
                  </a:xfrm>
                  <a:custGeom>
                    <a:avLst/>
                    <a:gdLst>
                      <a:gd name="connsiteX0" fmla="*/ 67670 w 137610"/>
                      <a:gd name="connsiteY0" fmla="*/ 217230 h 217229"/>
                      <a:gd name="connsiteX1" fmla="*/ 36900 w 137610"/>
                      <a:gd name="connsiteY1" fmla="*/ 187593 h 217229"/>
                      <a:gd name="connsiteX2" fmla="*/ 36806 w 137610"/>
                      <a:gd name="connsiteY2" fmla="*/ 184195 h 217229"/>
                      <a:gd name="connsiteX3" fmla="*/ 11510 w 137610"/>
                      <a:gd name="connsiteY3" fmla="*/ 106798 h 217229"/>
                      <a:gd name="connsiteX4" fmla="*/ 467 w 137610"/>
                      <a:gd name="connsiteY4" fmla="*/ 60926 h 217229"/>
                      <a:gd name="connsiteX5" fmla="*/ 60969 w 137610"/>
                      <a:gd name="connsiteY5" fmla="*/ 424 h 217229"/>
                      <a:gd name="connsiteX6" fmla="*/ 114674 w 137610"/>
                      <a:gd name="connsiteY6" fmla="*/ 17508 h 217229"/>
                      <a:gd name="connsiteX7" fmla="*/ 137610 w 137610"/>
                      <a:gd name="connsiteY7" fmla="*/ 68760 h 217229"/>
                      <a:gd name="connsiteX8" fmla="*/ 125246 w 137610"/>
                      <a:gd name="connsiteY8" fmla="*/ 108025 h 217229"/>
                      <a:gd name="connsiteX9" fmla="*/ 98440 w 137610"/>
                      <a:gd name="connsiteY9" fmla="*/ 187593 h 217229"/>
                      <a:gd name="connsiteX10" fmla="*/ 67670 w 137610"/>
                      <a:gd name="connsiteY10" fmla="*/ 217230 h 217229"/>
                      <a:gd name="connsiteX11" fmla="*/ 68897 w 137610"/>
                      <a:gd name="connsiteY11" fmla="*/ 13166 h 217229"/>
                      <a:gd name="connsiteX12" fmla="*/ 62479 w 137610"/>
                      <a:gd name="connsiteY12" fmla="*/ 13544 h 217229"/>
                      <a:gd name="connsiteX13" fmla="*/ 13586 w 137610"/>
                      <a:gd name="connsiteY13" fmla="*/ 62436 h 217229"/>
                      <a:gd name="connsiteX14" fmla="*/ 22553 w 137610"/>
                      <a:gd name="connsiteY14" fmla="*/ 99530 h 217229"/>
                      <a:gd name="connsiteX15" fmla="*/ 50114 w 137610"/>
                      <a:gd name="connsiteY15" fmla="*/ 183723 h 217229"/>
                      <a:gd name="connsiteX16" fmla="*/ 50208 w 137610"/>
                      <a:gd name="connsiteY16" fmla="*/ 187121 h 217229"/>
                      <a:gd name="connsiteX17" fmla="*/ 67764 w 137610"/>
                      <a:gd name="connsiteY17" fmla="*/ 204110 h 217229"/>
                      <a:gd name="connsiteX18" fmla="*/ 85320 w 137610"/>
                      <a:gd name="connsiteY18" fmla="*/ 187121 h 217229"/>
                      <a:gd name="connsiteX19" fmla="*/ 114485 w 137610"/>
                      <a:gd name="connsiteY19" fmla="*/ 100474 h 217229"/>
                      <a:gd name="connsiteX20" fmla="*/ 124396 w 137610"/>
                      <a:gd name="connsiteY20" fmla="*/ 68760 h 217229"/>
                      <a:gd name="connsiteX21" fmla="*/ 105896 w 137610"/>
                      <a:gd name="connsiteY21" fmla="*/ 27324 h 217229"/>
                      <a:gd name="connsiteX22" fmla="*/ 68897 w 137610"/>
                      <a:gd name="connsiteY22" fmla="*/ 13166 h 21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7610" h="217229">
                        <a:moveTo>
                          <a:pt x="67670" y="217230"/>
                        </a:moveTo>
                        <a:cubicBezTo>
                          <a:pt x="51058" y="217230"/>
                          <a:pt x="37561" y="204205"/>
                          <a:pt x="36900" y="187593"/>
                        </a:cubicBezTo>
                        <a:lnTo>
                          <a:pt x="36806" y="184195"/>
                        </a:lnTo>
                        <a:cubicBezTo>
                          <a:pt x="35862" y="156917"/>
                          <a:pt x="27084" y="130206"/>
                          <a:pt x="11510" y="106798"/>
                        </a:cubicBezTo>
                        <a:cubicBezTo>
                          <a:pt x="2449" y="93206"/>
                          <a:pt x="-1421" y="77349"/>
                          <a:pt x="467" y="60926"/>
                        </a:cubicBezTo>
                        <a:cubicBezTo>
                          <a:pt x="3959" y="29401"/>
                          <a:pt x="29443" y="3917"/>
                          <a:pt x="60969" y="424"/>
                        </a:cubicBezTo>
                        <a:cubicBezTo>
                          <a:pt x="80506" y="-1747"/>
                          <a:pt x="100139" y="4483"/>
                          <a:pt x="114674" y="17508"/>
                        </a:cubicBezTo>
                        <a:cubicBezTo>
                          <a:pt x="129210" y="30534"/>
                          <a:pt x="137610" y="49222"/>
                          <a:pt x="137610" y="68760"/>
                        </a:cubicBezTo>
                        <a:cubicBezTo>
                          <a:pt x="137610" y="82918"/>
                          <a:pt x="133363" y="96510"/>
                          <a:pt x="125246" y="108025"/>
                        </a:cubicBezTo>
                        <a:cubicBezTo>
                          <a:pt x="108728" y="131716"/>
                          <a:pt x="99478" y="159182"/>
                          <a:pt x="98440" y="187593"/>
                        </a:cubicBezTo>
                        <a:cubicBezTo>
                          <a:pt x="97874" y="204205"/>
                          <a:pt x="84376" y="217230"/>
                          <a:pt x="67670" y="217230"/>
                        </a:cubicBezTo>
                        <a:close/>
                        <a:moveTo>
                          <a:pt x="68897" y="13166"/>
                        </a:moveTo>
                        <a:cubicBezTo>
                          <a:pt x="66726" y="13166"/>
                          <a:pt x="64649" y="13261"/>
                          <a:pt x="62479" y="13544"/>
                        </a:cubicBezTo>
                        <a:cubicBezTo>
                          <a:pt x="36994" y="16376"/>
                          <a:pt x="16418" y="36952"/>
                          <a:pt x="13586" y="62436"/>
                        </a:cubicBezTo>
                        <a:cubicBezTo>
                          <a:pt x="12076" y="75745"/>
                          <a:pt x="15191" y="88581"/>
                          <a:pt x="22553" y="99530"/>
                        </a:cubicBezTo>
                        <a:cubicBezTo>
                          <a:pt x="39543" y="124920"/>
                          <a:pt x="48981" y="153991"/>
                          <a:pt x="50114" y="183723"/>
                        </a:cubicBezTo>
                        <a:lnTo>
                          <a:pt x="50208" y="187121"/>
                        </a:lnTo>
                        <a:cubicBezTo>
                          <a:pt x="50586" y="196654"/>
                          <a:pt x="58231" y="204110"/>
                          <a:pt x="67764" y="204110"/>
                        </a:cubicBezTo>
                        <a:cubicBezTo>
                          <a:pt x="77297" y="204110"/>
                          <a:pt x="85037" y="196654"/>
                          <a:pt x="85320" y="187121"/>
                        </a:cubicBezTo>
                        <a:cubicBezTo>
                          <a:pt x="86453" y="156256"/>
                          <a:pt x="96552" y="126336"/>
                          <a:pt x="114485" y="100474"/>
                        </a:cubicBezTo>
                        <a:cubicBezTo>
                          <a:pt x="120998" y="91130"/>
                          <a:pt x="124396" y="80181"/>
                          <a:pt x="124396" y="68760"/>
                        </a:cubicBezTo>
                        <a:cubicBezTo>
                          <a:pt x="124396" y="52998"/>
                          <a:pt x="117600" y="37896"/>
                          <a:pt x="105896" y="27324"/>
                        </a:cubicBezTo>
                        <a:cubicBezTo>
                          <a:pt x="95514" y="18075"/>
                          <a:pt x="82583" y="13166"/>
                          <a:pt x="68897" y="13166"/>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6" name="Полилиния: фигура 95">
                    <a:extLst>
                      <a:ext uri="{FF2B5EF4-FFF2-40B4-BE49-F238E27FC236}">
                        <a16:creationId xmlns:a16="http://schemas.microsoft.com/office/drawing/2014/main" id="{9383E80C-DD70-43CC-9024-0AC58DECB7D0}"/>
                      </a:ext>
                    </a:extLst>
                  </p:cNvPr>
                  <p:cNvSpPr/>
                  <p:nvPr/>
                </p:nvSpPr>
                <p:spPr>
                  <a:xfrm>
                    <a:off x="3480145" y="2094525"/>
                    <a:ext cx="64979" cy="19103"/>
                  </a:xfrm>
                  <a:custGeom>
                    <a:avLst/>
                    <a:gdLst>
                      <a:gd name="connsiteX0" fmla="*/ 32190 w 64979"/>
                      <a:gd name="connsiteY0" fmla="*/ 19103 h 19103"/>
                      <a:gd name="connsiteX1" fmla="*/ 3308 w 64979"/>
                      <a:gd name="connsiteY1" fmla="*/ 12308 h 19103"/>
                      <a:gd name="connsiteX2" fmla="*/ 854 w 64979"/>
                      <a:gd name="connsiteY2" fmla="*/ 3341 h 19103"/>
                      <a:gd name="connsiteX3" fmla="*/ 9820 w 64979"/>
                      <a:gd name="connsiteY3" fmla="*/ 887 h 19103"/>
                      <a:gd name="connsiteX4" fmla="*/ 55598 w 64979"/>
                      <a:gd name="connsiteY4" fmla="*/ 604 h 19103"/>
                      <a:gd name="connsiteX5" fmla="*/ 64376 w 64979"/>
                      <a:gd name="connsiteY5" fmla="*/ 3813 h 19103"/>
                      <a:gd name="connsiteX6" fmla="*/ 61167 w 64979"/>
                      <a:gd name="connsiteY6" fmla="*/ 12591 h 19103"/>
                      <a:gd name="connsiteX7" fmla="*/ 32190 w 64979"/>
                      <a:gd name="connsiteY7" fmla="*/ 19103 h 1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979" h="19103">
                        <a:moveTo>
                          <a:pt x="32190" y="19103"/>
                        </a:moveTo>
                        <a:cubicBezTo>
                          <a:pt x="15389" y="19103"/>
                          <a:pt x="4063" y="12780"/>
                          <a:pt x="3308" y="12308"/>
                        </a:cubicBezTo>
                        <a:cubicBezTo>
                          <a:pt x="193" y="10514"/>
                          <a:pt x="-940" y="6456"/>
                          <a:pt x="854" y="3341"/>
                        </a:cubicBezTo>
                        <a:cubicBezTo>
                          <a:pt x="2647" y="226"/>
                          <a:pt x="6706" y="-906"/>
                          <a:pt x="9820" y="887"/>
                        </a:cubicBezTo>
                        <a:cubicBezTo>
                          <a:pt x="10764" y="1359"/>
                          <a:pt x="30585" y="12119"/>
                          <a:pt x="55598" y="604"/>
                        </a:cubicBezTo>
                        <a:cubicBezTo>
                          <a:pt x="58901" y="-906"/>
                          <a:pt x="62865" y="509"/>
                          <a:pt x="64376" y="3813"/>
                        </a:cubicBezTo>
                        <a:cubicBezTo>
                          <a:pt x="65886" y="7116"/>
                          <a:pt x="64470" y="11081"/>
                          <a:pt x="61167" y="12591"/>
                        </a:cubicBezTo>
                        <a:cubicBezTo>
                          <a:pt x="50595" y="17405"/>
                          <a:pt x="40685" y="19103"/>
                          <a:pt x="32190" y="1910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sp>
              <p:nvSpPr>
                <p:cNvPr id="88" name="Полилиния: фигура 87">
                  <a:extLst>
                    <a:ext uri="{FF2B5EF4-FFF2-40B4-BE49-F238E27FC236}">
                      <a16:creationId xmlns:a16="http://schemas.microsoft.com/office/drawing/2014/main" id="{2D0CC5B9-F207-40F1-9F6A-158294149B44}"/>
                    </a:ext>
                  </a:extLst>
                </p:cNvPr>
                <p:cNvSpPr/>
                <p:nvPr/>
              </p:nvSpPr>
              <p:spPr>
                <a:xfrm>
                  <a:off x="3506672" y="1883420"/>
                  <a:ext cx="13214" cy="34734"/>
                </a:xfrm>
                <a:custGeom>
                  <a:avLst/>
                  <a:gdLst>
                    <a:gd name="connsiteX0" fmla="*/ 6607 w 13214"/>
                    <a:gd name="connsiteY0" fmla="*/ 34734 h 34734"/>
                    <a:gd name="connsiteX1" fmla="*/ 0 w 13214"/>
                    <a:gd name="connsiteY1" fmla="*/ 28127 h 34734"/>
                    <a:gd name="connsiteX2" fmla="*/ 0 w 13214"/>
                    <a:gd name="connsiteY2" fmla="*/ 6607 h 34734"/>
                    <a:gd name="connsiteX3" fmla="*/ 6607 w 13214"/>
                    <a:gd name="connsiteY3" fmla="*/ 0 h 34734"/>
                    <a:gd name="connsiteX4" fmla="*/ 13214 w 13214"/>
                    <a:gd name="connsiteY4" fmla="*/ 6607 h 34734"/>
                    <a:gd name="connsiteX5" fmla="*/ 13214 w 13214"/>
                    <a:gd name="connsiteY5" fmla="*/ 28127 h 34734"/>
                    <a:gd name="connsiteX6" fmla="*/ 6607 w 13214"/>
                    <a:gd name="connsiteY6" fmla="*/ 34734 h 3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4" h="34734">
                      <a:moveTo>
                        <a:pt x="6607" y="34734"/>
                      </a:moveTo>
                      <a:cubicBezTo>
                        <a:pt x="2926" y="34734"/>
                        <a:pt x="0" y="31808"/>
                        <a:pt x="0" y="28127"/>
                      </a:cubicBezTo>
                      <a:lnTo>
                        <a:pt x="0" y="6607"/>
                      </a:lnTo>
                      <a:cubicBezTo>
                        <a:pt x="0" y="2926"/>
                        <a:pt x="2926" y="0"/>
                        <a:pt x="6607" y="0"/>
                      </a:cubicBezTo>
                      <a:cubicBezTo>
                        <a:pt x="10288" y="0"/>
                        <a:pt x="13214" y="2926"/>
                        <a:pt x="13214" y="6607"/>
                      </a:cubicBezTo>
                      <a:lnTo>
                        <a:pt x="13214" y="28127"/>
                      </a:lnTo>
                      <a:cubicBezTo>
                        <a:pt x="13214" y="31808"/>
                        <a:pt x="10194" y="34734"/>
                        <a:pt x="6607" y="34734"/>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89" name="Полилиния: фигура 88">
                  <a:extLst>
                    <a:ext uri="{FF2B5EF4-FFF2-40B4-BE49-F238E27FC236}">
                      <a16:creationId xmlns:a16="http://schemas.microsoft.com/office/drawing/2014/main" id="{E8413745-60EE-4DE0-ACED-3711F5FB0907}"/>
                    </a:ext>
                  </a:extLst>
                </p:cNvPr>
                <p:cNvSpPr/>
                <p:nvPr/>
              </p:nvSpPr>
              <p:spPr>
                <a:xfrm>
                  <a:off x="3427349" y="1912263"/>
                  <a:ext cx="27072" cy="29676"/>
                </a:xfrm>
                <a:custGeom>
                  <a:avLst/>
                  <a:gdLst>
                    <a:gd name="connsiteX0" fmla="*/ 20521 w 27072"/>
                    <a:gd name="connsiteY0" fmla="*/ 29676 h 29676"/>
                    <a:gd name="connsiteX1" fmla="*/ 15424 w 27072"/>
                    <a:gd name="connsiteY1" fmla="*/ 27317 h 29676"/>
                    <a:gd name="connsiteX2" fmla="*/ 1549 w 27072"/>
                    <a:gd name="connsiteY2" fmla="*/ 10799 h 29676"/>
                    <a:gd name="connsiteX3" fmla="*/ 2399 w 27072"/>
                    <a:gd name="connsiteY3" fmla="*/ 1549 h 29676"/>
                    <a:gd name="connsiteX4" fmla="*/ 11649 w 27072"/>
                    <a:gd name="connsiteY4" fmla="*/ 2399 h 29676"/>
                    <a:gd name="connsiteX5" fmla="*/ 25523 w 27072"/>
                    <a:gd name="connsiteY5" fmla="*/ 18916 h 29676"/>
                    <a:gd name="connsiteX6" fmla="*/ 24674 w 27072"/>
                    <a:gd name="connsiteY6" fmla="*/ 28166 h 29676"/>
                    <a:gd name="connsiteX7" fmla="*/ 20521 w 27072"/>
                    <a:gd name="connsiteY7" fmla="*/ 29676 h 2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72" h="29676">
                      <a:moveTo>
                        <a:pt x="20521" y="29676"/>
                      </a:moveTo>
                      <a:cubicBezTo>
                        <a:pt x="18633" y="29676"/>
                        <a:pt x="16745" y="28921"/>
                        <a:pt x="15424" y="27317"/>
                      </a:cubicBezTo>
                      <a:lnTo>
                        <a:pt x="1549" y="10799"/>
                      </a:lnTo>
                      <a:cubicBezTo>
                        <a:pt x="-811" y="7967"/>
                        <a:pt x="-433" y="3814"/>
                        <a:pt x="2399" y="1549"/>
                      </a:cubicBezTo>
                      <a:cubicBezTo>
                        <a:pt x="5230" y="-811"/>
                        <a:pt x="9383" y="-433"/>
                        <a:pt x="11649" y="2399"/>
                      </a:cubicBezTo>
                      <a:lnTo>
                        <a:pt x="25523" y="18916"/>
                      </a:lnTo>
                      <a:cubicBezTo>
                        <a:pt x="27883" y="21748"/>
                        <a:pt x="27505" y="25901"/>
                        <a:pt x="24674" y="28166"/>
                      </a:cubicBezTo>
                      <a:cubicBezTo>
                        <a:pt x="23541" y="29204"/>
                        <a:pt x="22031" y="29676"/>
                        <a:pt x="20521" y="29676"/>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0" name="Полилиния: фигура 89">
                  <a:extLst>
                    <a:ext uri="{FF2B5EF4-FFF2-40B4-BE49-F238E27FC236}">
                      <a16:creationId xmlns:a16="http://schemas.microsoft.com/office/drawing/2014/main" id="{80F529F7-5CC6-4291-A822-ACA02C8B30A1}"/>
                    </a:ext>
                  </a:extLst>
                </p:cNvPr>
                <p:cNvSpPr/>
                <p:nvPr/>
              </p:nvSpPr>
              <p:spPr>
                <a:xfrm>
                  <a:off x="3385207" y="1985273"/>
                  <a:ext cx="34429" cy="16979"/>
                </a:xfrm>
                <a:custGeom>
                  <a:avLst/>
                  <a:gdLst>
                    <a:gd name="connsiteX0" fmla="*/ 27833 w 34429"/>
                    <a:gd name="connsiteY0" fmla="*/ 16979 h 16979"/>
                    <a:gd name="connsiteX1" fmla="*/ 26701 w 34429"/>
                    <a:gd name="connsiteY1" fmla="*/ 16885 h 16979"/>
                    <a:gd name="connsiteX2" fmla="*/ 5464 w 34429"/>
                    <a:gd name="connsiteY2" fmla="*/ 13109 h 16979"/>
                    <a:gd name="connsiteX3" fmla="*/ 84 w 34429"/>
                    <a:gd name="connsiteY3" fmla="*/ 5464 h 16979"/>
                    <a:gd name="connsiteX4" fmla="*/ 7729 w 34429"/>
                    <a:gd name="connsiteY4" fmla="*/ 84 h 16979"/>
                    <a:gd name="connsiteX5" fmla="*/ 28966 w 34429"/>
                    <a:gd name="connsiteY5" fmla="*/ 3859 h 16979"/>
                    <a:gd name="connsiteX6" fmla="*/ 34346 w 34429"/>
                    <a:gd name="connsiteY6" fmla="*/ 11505 h 16979"/>
                    <a:gd name="connsiteX7" fmla="*/ 27833 w 34429"/>
                    <a:gd name="connsiteY7" fmla="*/ 16979 h 1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29" h="16979">
                      <a:moveTo>
                        <a:pt x="27833" y="16979"/>
                      </a:moveTo>
                      <a:cubicBezTo>
                        <a:pt x="27456" y="16979"/>
                        <a:pt x="27078" y="16979"/>
                        <a:pt x="26701" y="16885"/>
                      </a:cubicBezTo>
                      <a:lnTo>
                        <a:pt x="5464" y="13109"/>
                      </a:lnTo>
                      <a:cubicBezTo>
                        <a:pt x="1877" y="12448"/>
                        <a:pt x="-482" y="9051"/>
                        <a:pt x="84" y="5464"/>
                      </a:cubicBezTo>
                      <a:cubicBezTo>
                        <a:pt x="745" y="1877"/>
                        <a:pt x="4142" y="-483"/>
                        <a:pt x="7729" y="84"/>
                      </a:cubicBezTo>
                      <a:lnTo>
                        <a:pt x="28966" y="3859"/>
                      </a:lnTo>
                      <a:cubicBezTo>
                        <a:pt x="32553" y="4520"/>
                        <a:pt x="34912" y="7918"/>
                        <a:pt x="34346" y="11505"/>
                      </a:cubicBezTo>
                      <a:cubicBezTo>
                        <a:pt x="33780" y="14714"/>
                        <a:pt x="30948" y="16979"/>
                        <a:pt x="27833" y="16979"/>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1" name="Полилиния: фигура 90">
                  <a:extLst>
                    <a:ext uri="{FF2B5EF4-FFF2-40B4-BE49-F238E27FC236}">
                      <a16:creationId xmlns:a16="http://schemas.microsoft.com/office/drawing/2014/main" id="{F2472899-49B5-4211-BCA8-E63EC5FB9F18}"/>
                    </a:ext>
                  </a:extLst>
                </p:cNvPr>
                <p:cNvSpPr/>
                <p:nvPr/>
              </p:nvSpPr>
              <p:spPr>
                <a:xfrm>
                  <a:off x="3399896" y="2057632"/>
                  <a:ext cx="31857" cy="23904"/>
                </a:xfrm>
                <a:custGeom>
                  <a:avLst/>
                  <a:gdLst>
                    <a:gd name="connsiteX0" fmla="*/ 6632 w 31857"/>
                    <a:gd name="connsiteY0" fmla="*/ 23904 h 23904"/>
                    <a:gd name="connsiteX1" fmla="*/ 874 w 31857"/>
                    <a:gd name="connsiteY1" fmla="*/ 20601 h 23904"/>
                    <a:gd name="connsiteX2" fmla="*/ 3328 w 31857"/>
                    <a:gd name="connsiteY2" fmla="*/ 11634 h 23904"/>
                    <a:gd name="connsiteX3" fmla="*/ 22017 w 31857"/>
                    <a:gd name="connsiteY3" fmla="*/ 874 h 23904"/>
                    <a:gd name="connsiteX4" fmla="*/ 30983 w 31857"/>
                    <a:gd name="connsiteY4" fmla="*/ 3328 h 23904"/>
                    <a:gd name="connsiteX5" fmla="*/ 28529 w 31857"/>
                    <a:gd name="connsiteY5" fmla="*/ 12295 h 23904"/>
                    <a:gd name="connsiteX6" fmla="*/ 9841 w 31857"/>
                    <a:gd name="connsiteY6" fmla="*/ 23055 h 23904"/>
                    <a:gd name="connsiteX7" fmla="*/ 6632 w 31857"/>
                    <a:gd name="connsiteY7" fmla="*/ 23904 h 2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57" h="23904">
                      <a:moveTo>
                        <a:pt x="6632" y="23904"/>
                      </a:moveTo>
                      <a:cubicBezTo>
                        <a:pt x="4366" y="23904"/>
                        <a:pt x="2101" y="22677"/>
                        <a:pt x="874" y="20601"/>
                      </a:cubicBezTo>
                      <a:cubicBezTo>
                        <a:pt x="-919" y="17486"/>
                        <a:pt x="119" y="13427"/>
                        <a:pt x="3328" y="11634"/>
                      </a:cubicBezTo>
                      <a:lnTo>
                        <a:pt x="22017" y="874"/>
                      </a:lnTo>
                      <a:cubicBezTo>
                        <a:pt x="25131" y="-919"/>
                        <a:pt x="29190" y="119"/>
                        <a:pt x="30983" y="3328"/>
                      </a:cubicBezTo>
                      <a:cubicBezTo>
                        <a:pt x="32777" y="6443"/>
                        <a:pt x="31738" y="10501"/>
                        <a:pt x="28529" y="12295"/>
                      </a:cubicBezTo>
                      <a:lnTo>
                        <a:pt x="9841" y="23055"/>
                      </a:lnTo>
                      <a:cubicBezTo>
                        <a:pt x="8803" y="23621"/>
                        <a:pt x="7670" y="23904"/>
                        <a:pt x="6632" y="23904"/>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2" name="Полилиния: фигура 91">
                  <a:extLst>
                    <a:ext uri="{FF2B5EF4-FFF2-40B4-BE49-F238E27FC236}">
                      <a16:creationId xmlns:a16="http://schemas.microsoft.com/office/drawing/2014/main" id="{E3164DAA-23D7-4616-A226-C20942618332}"/>
                    </a:ext>
                  </a:extLst>
                </p:cNvPr>
                <p:cNvSpPr/>
                <p:nvPr/>
              </p:nvSpPr>
              <p:spPr>
                <a:xfrm>
                  <a:off x="3594730" y="2057653"/>
                  <a:ext cx="31816" cy="23884"/>
                </a:xfrm>
                <a:custGeom>
                  <a:avLst/>
                  <a:gdLst>
                    <a:gd name="connsiteX0" fmla="*/ 25300 w 31816"/>
                    <a:gd name="connsiteY0" fmla="*/ 23884 h 23884"/>
                    <a:gd name="connsiteX1" fmla="*/ 21996 w 31816"/>
                    <a:gd name="connsiteY1" fmla="*/ 23035 h 23884"/>
                    <a:gd name="connsiteX2" fmla="*/ 3308 w 31816"/>
                    <a:gd name="connsiteY2" fmla="*/ 12275 h 23884"/>
                    <a:gd name="connsiteX3" fmla="*/ 854 w 31816"/>
                    <a:gd name="connsiteY3" fmla="*/ 3308 h 23884"/>
                    <a:gd name="connsiteX4" fmla="*/ 9821 w 31816"/>
                    <a:gd name="connsiteY4" fmla="*/ 854 h 23884"/>
                    <a:gd name="connsiteX5" fmla="*/ 28509 w 31816"/>
                    <a:gd name="connsiteY5" fmla="*/ 11614 h 23884"/>
                    <a:gd name="connsiteX6" fmla="*/ 30963 w 31816"/>
                    <a:gd name="connsiteY6" fmla="*/ 20580 h 23884"/>
                    <a:gd name="connsiteX7" fmla="*/ 25300 w 31816"/>
                    <a:gd name="connsiteY7" fmla="*/ 23884 h 2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16" h="23884">
                      <a:moveTo>
                        <a:pt x="25300" y="23884"/>
                      </a:moveTo>
                      <a:cubicBezTo>
                        <a:pt x="24167" y="23884"/>
                        <a:pt x="23035" y="23601"/>
                        <a:pt x="21996" y="23035"/>
                      </a:cubicBezTo>
                      <a:lnTo>
                        <a:pt x="3308" y="12275"/>
                      </a:lnTo>
                      <a:cubicBezTo>
                        <a:pt x="193" y="10481"/>
                        <a:pt x="-940" y="6423"/>
                        <a:pt x="854" y="3308"/>
                      </a:cubicBezTo>
                      <a:cubicBezTo>
                        <a:pt x="2647" y="193"/>
                        <a:pt x="6706" y="-940"/>
                        <a:pt x="9821" y="854"/>
                      </a:cubicBezTo>
                      <a:lnTo>
                        <a:pt x="28509" y="11614"/>
                      </a:lnTo>
                      <a:cubicBezTo>
                        <a:pt x="31624" y="13407"/>
                        <a:pt x="32756" y="17466"/>
                        <a:pt x="30963" y="20580"/>
                      </a:cubicBezTo>
                      <a:cubicBezTo>
                        <a:pt x="29830" y="22751"/>
                        <a:pt x="27565" y="23884"/>
                        <a:pt x="25300" y="23884"/>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3" name="Полилиния: фигура 92">
                  <a:extLst>
                    <a:ext uri="{FF2B5EF4-FFF2-40B4-BE49-F238E27FC236}">
                      <a16:creationId xmlns:a16="http://schemas.microsoft.com/office/drawing/2014/main" id="{5B8400DA-90B5-4FD0-9C47-C7C918089F9A}"/>
                    </a:ext>
                  </a:extLst>
                </p:cNvPr>
                <p:cNvSpPr/>
                <p:nvPr/>
              </p:nvSpPr>
              <p:spPr>
                <a:xfrm>
                  <a:off x="3606803" y="1985249"/>
                  <a:ext cx="34477" cy="17002"/>
                </a:xfrm>
                <a:custGeom>
                  <a:avLst/>
                  <a:gdLst>
                    <a:gd name="connsiteX0" fmla="*/ 6620 w 34477"/>
                    <a:gd name="connsiteY0" fmla="*/ 17003 h 17002"/>
                    <a:gd name="connsiteX1" fmla="*/ 108 w 34477"/>
                    <a:gd name="connsiteY1" fmla="*/ 11528 h 17002"/>
                    <a:gd name="connsiteX2" fmla="*/ 5487 w 34477"/>
                    <a:gd name="connsiteY2" fmla="*/ 3883 h 17002"/>
                    <a:gd name="connsiteX3" fmla="*/ 26724 w 34477"/>
                    <a:gd name="connsiteY3" fmla="*/ 108 h 17002"/>
                    <a:gd name="connsiteX4" fmla="*/ 34370 w 34477"/>
                    <a:gd name="connsiteY4" fmla="*/ 5488 h 17002"/>
                    <a:gd name="connsiteX5" fmla="*/ 28990 w 34477"/>
                    <a:gd name="connsiteY5" fmla="*/ 13133 h 17002"/>
                    <a:gd name="connsiteX6" fmla="*/ 7753 w 34477"/>
                    <a:gd name="connsiteY6" fmla="*/ 16908 h 17002"/>
                    <a:gd name="connsiteX7" fmla="*/ 6620 w 34477"/>
                    <a:gd name="connsiteY7" fmla="*/ 17003 h 1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77" h="17002">
                      <a:moveTo>
                        <a:pt x="6620" y="17003"/>
                      </a:moveTo>
                      <a:cubicBezTo>
                        <a:pt x="3505" y="17003"/>
                        <a:pt x="674" y="14737"/>
                        <a:pt x="108" y="11528"/>
                      </a:cubicBezTo>
                      <a:cubicBezTo>
                        <a:pt x="-553" y="7942"/>
                        <a:pt x="1901" y="4544"/>
                        <a:pt x="5487" y="3883"/>
                      </a:cubicBezTo>
                      <a:lnTo>
                        <a:pt x="26724" y="108"/>
                      </a:lnTo>
                      <a:cubicBezTo>
                        <a:pt x="30311" y="-553"/>
                        <a:pt x="33709" y="1901"/>
                        <a:pt x="34370" y="5488"/>
                      </a:cubicBezTo>
                      <a:cubicBezTo>
                        <a:pt x="35030" y="9074"/>
                        <a:pt x="32577" y="12472"/>
                        <a:pt x="28990" y="13133"/>
                      </a:cubicBezTo>
                      <a:lnTo>
                        <a:pt x="7753" y="16908"/>
                      </a:lnTo>
                      <a:cubicBezTo>
                        <a:pt x="7470" y="17003"/>
                        <a:pt x="7092" y="17003"/>
                        <a:pt x="6620" y="17003"/>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94" name="Полилиния: фигура 93">
                  <a:extLst>
                    <a:ext uri="{FF2B5EF4-FFF2-40B4-BE49-F238E27FC236}">
                      <a16:creationId xmlns:a16="http://schemas.microsoft.com/office/drawing/2014/main" id="{3C7F520D-A3A6-4F71-9F0C-2A09D495A6B1}"/>
                    </a:ext>
                  </a:extLst>
                </p:cNvPr>
                <p:cNvSpPr/>
                <p:nvPr/>
              </p:nvSpPr>
              <p:spPr>
                <a:xfrm>
                  <a:off x="3572082" y="1912302"/>
                  <a:ext cx="26994" cy="29637"/>
                </a:xfrm>
                <a:custGeom>
                  <a:avLst/>
                  <a:gdLst>
                    <a:gd name="connsiteX0" fmla="*/ 6607 w 26994"/>
                    <a:gd name="connsiteY0" fmla="*/ 29637 h 29637"/>
                    <a:gd name="connsiteX1" fmla="*/ 2360 w 26994"/>
                    <a:gd name="connsiteY1" fmla="*/ 28127 h 29637"/>
                    <a:gd name="connsiteX2" fmla="*/ 1510 w 26994"/>
                    <a:gd name="connsiteY2" fmla="*/ 18877 h 29637"/>
                    <a:gd name="connsiteX3" fmla="*/ 15385 w 26994"/>
                    <a:gd name="connsiteY3" fmla="*/ 2360 h 29637"/>
                    <a:gd name="connsiteX4" fmla="*/ 24635 w 26994"/>
                    <a:gd name="connsiteY4" fmla="*/ 1510 h 29637"/>
                    <a:gd name="connsiteX5" fmla="*/ 25484 w 26994"/>
                    <a:gd name="connsiteY5" fmla="*/ 10760 h 29637"/>
                    <a:gd name="connsiteX6" fmla="*/ 11609 w 26994"/>
                    <a:gd name="connsiteY6" fmla="*/ 27278 h 29637"/>
                    <a:gd name="connsiteX7" fmla="*/ 6607 w 26994"/>
                    <a:gd name="connsiteY7" fmla="*/ 29637 h 2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94" h="29637">
                      <a:moveTo>
                        <a:pt x="6607" y="29637"/>
                      </a:moveTo>
                      <a:cubicBezTo>
                        <a:pt x="5097" y="29637"/>
                        <a:pt x="3587" y="29165"/>
                        <a:pt x="2360" y="28127"/>
                      </a:cubicBezTo>
                      <a:cubicBezTo>
                        <a:pt x="-472" y="25767"/>
                        <a:pt x="-755" y="21614"/>
                        <a:pt x="1510" y="18877"/>
                      </a:cubicBezTo>
                      <a:lnTo>
                        <a:pt x="15385" y="2360"/>
                      </a:lnTo>
                      <a:cubicBezTo>
                        <a:pt x="17745" y="-472"/>
                        <a:pt x="21898" y="-755"/>
                        <a:pt x="24635" y="1510"/>
                      </a:cubicBezTo>
                      <a:cubicBezTo>
                        <a:pt x="27467" y="3870"/>
                        <a:pt x="27750" y="8023"/>
                        <a:pt x="25484" y="10760"/>
                      </a:cubicBezTo>
                      <a:lnTo>
                        <a:pt x="11609" y="27278"/>
                      </a:lnTo>
                      <a:cubicBezTo>
                        <a:pt x="10383" y="28882"/>
                        <a:pt x="8495" y="29637"/>
                        <a:pt x="6607" y="29637"/>
                      </a:cubicBezTo>
                      <a:close/>
                    </a:path>
                  </a:pathLst>
                </a:custGeom>
                <a:grpFill/>
                <a:ln w="9439" cap="flat">
                  <a:noFill/>
                  <a:prstDash val="solid"/>
                  <a:miter/>
                </a:ln>
              </p:spPr>
              <p:txBody>
                <a:bodyPr rtlCol="0" anchor="ct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grpSp>
      <p:grpSp>
        <p:nvGrpSpPr>
          <p:cNvPr id="120" name="Группа 119">
            <a:extLst>
              <a:ext uri="{FF2B5EF4-FFF2-40B4-BE49-F238E27FC236}">
                <a16:creationId xmlns:a16="http://schemas.microsoft.com/office/drawing/2014/main" id="{C16187AC-EEA0-4160-91CE-BA8AEB18987A}"/>
              </a:ext>
            </a:extLst>
          </p:cNvPr>
          <p:cNvGrpSpPr/>
          <p:nvPr/>
        </p:nvGrpSpPr>
        <p:grpSpPr>
          <a:xfrm>
            <a:off x="7968666" y="729905"/>
            <a:ext cx="3898949" cy="1827721"/>
            <a:chOff x="7968666" y="729905"/>
            <a:chExt cx="3898949" cy="1827721"/>
          </a:xfrm>
        </p:grpSpPr>
        <p:sp>
          <p:nvSpPr>
            <p:cNvPr id="10" name="TextBox 9">
              <a:extLst>
                <a:ext uri="{FF2B5EF4-FFF2-40B4-BE49-F238E27FC236}">
                  <a16:creationId xmlns:a16="http://schemas.microsoft.com/office/drawing/2014/main" id="{A81C8C4D-09EA-40E9-8145-F049C63CB53B}"/>
                </a:ext>
              </a:extLst>
            </p:cNvPr>
            <p:cNvSpPr txBox="1"/>
            <p:nvPr/>
          </p:nvSpPr>
          <p:spPr>
            <a:xfrm>
              <a:off x="9226366" y="1200047"/>
              <a:ext cx="2641249" cy="1077218"/>
            </a:xfrm>
            <a:prstGeom prst="rect">
              <a:avLst/>
            </a:prstGeom>
            <a:noFill/>
          </p:spPr>
          <p:txBody>
            <a:bodyPr wrap="square">
              <a:spAutoFit/>
            </a:bodyPr>
            <a:lstStyle/>
            <a:p>
              <a:pPr algn="l" rtl="0"/>
              <a:r>
                <a:rPr lang="ru-RU" sz="1600">
                  <a:solidFill>
                    <a:srgbClr val="222222"/>
                  </a:solidFill>
                  <a:latin typeface="+mj-lt"/>
                </a:rPr>
                <a:t>Неготовность менять ТОП-состав, сопротивляющийся трансформации</a:t>
              </a:r>
              <a:endParaRPr lang="ru-RU" sz="1600" i="0">
                <a:solidFill>
                  <a:srgbClr val="222222"/>
                </a:solidFill>
                <a:effectLst/>
                <a:latin typeface="+mj-lt"/>
              </a:endParaRPr>
            </a:p>
          </p:txBody>
        </p:sp>
        <p:grpSp>
          <p:nvGrpSpPr>
            <p:cNvPr id="31" name="Группа 30">
              <a:extLst>
                <a:ext uri="{FF2B5EF4-FFF2-40B4-BE49-F238E27FC236}">
                  <a16:creationId xmlns:a16="http://schemas.microsoft.com/office/drawing/2014/main" id="{8D3AC9D2-A6BB-426E-BEEA-A353EB2CF632}"/>
                </a:ext>
              </a:extLst>
            </p:cNvPr>
            <p:cNvGrpSpPr/>
            <p:nvPr/>
          </p:nvGrpSpPr>
          <p:grpSpPr>
            <a:xfrm>
              <a:off x="7968666" y="1220866"/>
              <a:ext cx="1268208" cy="1336760"/>
              <a:chOff x="437375" y="1216076"/>
              <a:chExt cx="1372000" cy="1446162"/>
            </a:xfrm>
          </p:grpSpPr>
          <p:pic>
            <p:nvPicPr>
              <p:cNvPr id="32" name="Рисунок 31">
                <a:extLst>
                  <a:ext uri="{FF2B5EF4-FFF2-40B4-BE49-F238E27FC236}">
                    <a16:creationId xmlns:a16="http://schemas.microsoft.com/office/drawing/2014/main" id="{F9C5A418-9186-4FDA-A4C8-BDDE135908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7375" y="1216076"/>
                <a:ext cx="1372000" cy="1446162"/>
              </a:xfrm>
              <a:prstGeom prst="rect">
                <a:avLst/>
              </a:prstGeom>
            </p:spPr>
          </p:pic>
          <p:sp>
            <p:nvSpPr>
              <p:cNvPr id="33" name="TextBox 32">
                <a:extLst>
                  <a:ext uri="{FF2B5EF4-FFF2-40B4-BE49-F238E27FC236}">
                    <a16:creationId xmlns:a16="http://schemas.microsoft.com/office/drawing/2014/main" id="{A094F38C-DCB1-4F7E-8FF5-4A42C2D43969}"/>
                  </a:ext>
                </a:extLst>
              </p:cNvPr>
              <p:cNvSpPr txBox="1"/>
              <p:nvPr/>
            </p:nvSpPr>
            <p:spPr>
              <a:xfrm>
                <a:off x="948914" y="1708323"/>
                <a:ext cx="348920" cy="432855"/>
              </a:xfrm>
              <a:prstGeom prst="rect">
                <a:avLst/>
              </a:prstGeom>
              <a:noFill/>
            </p:spPr>
            <p:txBody>
              <a:bodyPr wrap="none" rtlCol="0">
                <a:spAutoFit/>
              </a:bodyPr>
              <a:lstStyle/>
              <a:p>
                <a:pPr algn="ctr"/>
                <a:r>
                  <a:rPr lang="ru-RU" sz="2000">
                    <a:solidFill>
                      <a:schemeClr val="bg1"/>
                    </a:solidFill>
                    <a:latin typeface="+mj-lt"/>
                  </a:rPr>
                  <a:t>7</a:t>
                </a:r>
              </a:p>
            </p:txBody>
          </p:sp>
        </p:grpSp>
        <p:grpSp>
          <p:nvGrpSpPr>
            <p:cNvPr id="109" name="Группа 108">
              <a:extLst>
                <a:ext uri="{FF2B5EF4-FFF2-40B4-BE49-F238E27FC236}">
                  <a16:creationId xmlns:a16="http://schemas.microsoft.com/office/drawing/2014/main" id="{70DDCA92-1DB5-48B9-B8E5-A697CFA474A3}"/>
                </a:ext>
              </a:extLst>
            </p:cNvPr>
            <p:cNvGrpSpPr/>
            <p:nvPr/>
          </p:nvGrpSpPr>
          <p:grpSpPr>
            <a:xfrm>
              <a:off x="9317032" y="729905"/>
              <a:ext cx="352466" cy="436451"/>
              <a:chOff x="9617075" y="1836738"/>
              <a:chExt cx="406400" cy="503237"/>
            </a:xfrm>
            <a:solidFill>
              <a:schemeClr val="accent6"/>
            </a:solidFill>
          </p:grpSpPr>
          <p:sp>
            <p:nvSpPr>
              <p:cNvPr id="110" name="Freeform 126">
                <a:extLst>
                  <a:ext uri="{FF2B5EF4-FFF2-40B4-BE49-F238E27FC236}">
                    <a16:creationId xmlns:a16="http://schemas.microsoft.com/office/drawing/2014/main" id="{22836111-74F3-488A-9FBD-6C7593F6C6BA}"/>
                  </a:ext>
                </a:extLst>
              </p:cNvPr>
              <p:cNvSpPr>
                <a:spLocks noEditPoints="1"/>
              </p:cNvSpPr>
              <p:nvPr/>
            </p:nvSpPr>
            <p:spPr bwMode="auto">
              <a:xfrm>
                <a:off x="9617075" y="1952625"/>
                <a:ext cx="188912" cy="387350"/>
              </a:xfrm>
              <a:custGeom>
                <a:avLst/>
                <a:gdLst>
                  <a:gd name="T0" fmla="*/ 56 w 77"/>
                  <a:gd name="T1" fmla="*/ 12 h 157"/>
                  <a:gd name="T2" fmla="*/ 42 w 77"/>
                  <a:gd name="T3" fmla="*/ 4 h 157"/>
                  <a:gd name="T4" fmla="*/ 41 w 77"/>
                  <a:gd name="T5" fmla="*/ 3 h 157"/>
                  <a:gd name="T6" fmla="*/ 27 w 77"/>
                  <a:gd name="T7" fmla="*/ 0 h 157"/>
                  <a:gd name="T8" fmla="*/ 13 w 77"/>
                  <a:gd name="T9" fmla="*/ 6 h 157"/>
                  <a:gd name="T10" fmla="*/ 5 w 77"/>
                  <a:gd name="T11" fmla="*/ 12 h 157"/>
                  <a:gd name="T12" fmla="*/ 0 w 77"/>
                  <a:gd name="T13" fmla="*/ 21 h 157"/>
                  <a:gd name="T14" fmla="*/ 0 w 77"/>
                  <a:gd name="T15" fmla="*/ 24 h 157"/>
                  <a:gd name="T16" fmla="*/ 2 w 77"/>
                  <a:gd name="T17" fmla="*/ 41 h 157"/>
                  <a:gd name="T18" fmla="*/ 8 w 77"/>
                  <a:gd name="T19" fmla="*/ 59 h 157"/>
                  <a:gd name="T20" fmla="*/ 4 w 77"/>
                  <a:gd name="T21" fmla="*/ 81 h 157"/>
                  <a:gd name="T22" fmla="*/ 7 w 77"/>
                  <a:gd name="T23" fmla="*/ 83 h 157"/>
                  <a:gd name="T24" fmla="*/ 8 w 77"/>
                  <a:gd name="T25" fmla="*/ 83 h 157"/>
                  <a:gd name="T26" fmla="*/ 8 w 77"/>
                  <a:gd name="T27" fmla="*/ 154 h 157"/>
                  <a:gd name="T28" fmla="*/ 11 w 77"/>
                  <a:gd name="T29" fmla="*/ 157 h 157"/>
                  <a:gd name="T30" fmla="*/ 14 w 77"/>
                  <a:gd name="T31" fmla="*/ 154 h 157"/>
                  <a:gd name="T32" fmla="*/ 14 w 77"/>
                  <a:gd name="T33" fmla="*/ 83 h 157"/>
                  <a:gd name="T34" fmla="*/ 52 w 77"/>
                  <a:gd name="T35" fmla="*/ 83 h 157"/>
                  <a:gd name="T36" fmla="*/ 52 w 77"/>
                  <a:gd name="T37" fmla="*/ 154 h 157"/>
                  <a:gd name="T38" fmla="*/ 54 w 77"/>
                  <a:gd name="T39" fmla="*/ 157 h 157"/>
                  <a:gd name="T40" fmla="*/ 57 w 77"/>
                  <a:gd name="T41" fmla="*/ 154 h 157"/>
                  <a:gd name="T42" fmla="*/ 57 w 77"/>
                  <a:gd name="T43" fmla="*/ 83 h 157"/>
                  <a:gd name="T44" fmla="*/ 59 w 77"/>
                  <a:gd name="T45" fmla="*/ 83 h 157"/>
                  <a:gd name="T46" fmla="*/ 61 w 77"/>
                  <a:gd name="T47" fmla="*/ 81 h 157"/>
                  <a:gd name="T48" fmla="*/ 61 w 77"/>
                  <a:gd name="T49" fmla="*/ 53 h 157"/>
                  <a:gd name="T50" fmla="*/ 73 w 77"/>
                  <a:gd name="T51" fmla="*/ 51 h 157"/>
                  <a:gd name="T52" fmla="*/ 77 w 77"/>
                  <a:gd name="T53" fmla="*/ 43 h 157"/>
                  <a:gd name="T54" fmla="*/ 77 w 77"/>
                  <a:gd name="T55" fmla="*/ 41 h 157"/>
                  <a:gd name="T56" fmla="*/ 74 w 77"/>
                  <a:gd name="T57" fmla="*/ 35 h 157"/>
                  <a:gd name="T58" fmla="*/ 56 w 77"/>
                  <a:gd name="T59" fmla="*/ 12 h 157"/>
                  <a:gd name="T60" fmla="*/ 71 w 77"/>
                  <a:gd name="T61" fmla="*/ 43 h 157"/>
                  <a:gd name="T62" fmla="*/ 70 w 77"/>
                  <a:gd name="T63" fmla="*/ 47 h 157"/>
                  <a:gd name="T64" fmla="*/ 63 w 77"/>
                  <a:gd name="T65" fmla="*/ 48 h 157"/>
                  <a:gd name="T66" fmla="*/ 60 w 77"/>
                  <a:gd name="T67" fmla="*/ 46 h 157"/>
                  <a:gd name="T68" fmla="*/ 60 w 77"/>
                  <a:gd name="T69" fmla="*/ 45 h 157"/>
                  <a:gd name="T70" fmla="*/ 47 w 77"/>
                  <a:gd name="T71" fmla="*/ 35 h 157"/>
                  <a:gd name="T72" fmla="*/ 44 w 77"/>
                  <a:gd name="T73" fmla="*/ 36 h 157"/>
                  <a:gd name="T74" fmla="*/ 44 w 77"/>
                  <a:gd name="T75" fmla="*/ 40 h 157"/>
                  <a:gd name="T76" fmla="*/ 56 w 77"/>
                  <a:gd name="T77" fmla="*/ 49 h 157"/>
                  <a:gd name="T78" fmla="*/ 56 w 77"/>
                  <a:gd name="T79" fmla="*/ 78 h 157"/>
                  <a:gd name="T80" fmla="*/ 10 w 77"/>
                  <a:gd name="T81" fmla="*/ 78 h 157"/>
                  <a:gd name="T82" fmla="*/ 14 w 77"/>
                  <a:gd name="T83" fmla="*/ 60 h 157"/>
                  <a:gd name="T84" fmla="*/ 14 w 77"/>
                  <a:gd name="T85" fmla="*/ 59 h 157"/>
                  <a:gd name="T86" fmla="*/ 7 w 77"/>
                  <a:gd name="T87" fmla="*/ 40 h 157"/>
                  <a:gd name="T88" fmla="*/ 6 w 77"/>
                  <a:gd name="T89" fmla="*/ 24 h 157"/>
                  <a:gd name="T90" fmla="*/ 6 w 77"/>
                  <a:gd name="T91" fmla="*/ 21 h 157"/>
                  <a:gd name="T92" fmla="*/ 8 w 77"/>
                  <a:gd name="T93" fmla="*/ 16 h 157"/>
                  <a:gd name="T94" fmla="*/ 16 w 77"/>
                  <a:gd name="T95" fmla="*/ 10 h 157"/>
                  <a:gd name="T96" fmla="*/ 27 w 77"/>
                  <a:gd name="T97" fmla="*/ 6 h 157"/>
                  <a:gd name="T98" fmla="*/ 38 w 77"/>
                  <a:gd name="T99" fmla="*/ 8 h 157"/>
                  <a:gd name="T100" fmla="*/ 40 w 77"/>
                  <a:gd name="T101" fmla="*/ 9 h 157"/>
                  <a:gd name="T102" fmla="*/ 52 w 77"/>
                  <a:gd name="T103" fmla="*/ 16 h 157"/>
                  <a:gd name="T104" fmla="*/ 70 w 77"/>
                  <a:gd name="T105" fmla="*/ 38 h 157"/>
                  <a:gd name="T106" fmla="*/ 71 w 77"/>
                  <a:gd name="T107" fmla="*/ 41 h 157"/>
                  <a:gd name="T108" fmla="*/ 71 w 77"/>
                  <a:gd name="T109" fmla="*/ 4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157">
                    <a:moveTo>
                      <a:pt x="56" y="12"/>
                    </a:moveTo>
                    <a:cubicBezTo>
                      <a:pt x="52" y="8"/>
                      <a:pt x="44" y="5"/>
                      <a:pt x="42" y="4"/>
                    </a:cubicBezTo>
                    <a:cubicBezTo>
                      <a:pt x="41" y="3"/>
                      <a:pt x="41" y="3"/>
                      <a:pt x="41" y="3"/>
                    </a:cubicBezTo>
                    <a:cubicBezTo>
                      <a:pt x="37" y="2"/>
                      <a:pt x="34" y="0"/>
                      <a:pt x="27" y="0"/>
                    </a:cubicBezTo>
                    <a:cubicBezTo>
                      <a:pt x="21" y="0"/>
                      <a:pt x="17" y="2"/>
                      <a:pt x="13" y="6"/>
                    </a:cubicBezTo>
                    <a:cubicBezTo>
                      <a:pt x="5" y="12"/>
                      <a:pt x="5" y="12"/>
                      <a:pt x="5" y="12"/>
                    </a:cubicBezTo>
                    <a:cubicBezTo>
                      <a:pt x="2" y="14"/>
                      <a:pt x="0" y="18"/>
                      <a:pt x="0" y="21"/>
                    </a:cubicBezTo>
                    <a:cubicBezTo>
                      <a:pt x="0" y="24"/>
                      <a:pt x="0" y="24"/>
                      <a:pt x="0" y="24"/>
                    </a:cubicBezTo>
                    <a:cubicBezTo>
                      <a:pt x="0" y="29"/>
                      <a:pt x="0" y="35"/>
                      <a:pt x="2" y="41"/>
                    </a:cubicBezTo>
                    <a:cubicBezTo>
                      <a:pt x="4" y="46"/>
                      <a:pt x="7" y="56"/>
                      <a:pt x="8" y="59"/>
                    </a:cubicBezTo>
                    <a:cubicBezTo>
                      <a:pt x="4" y="69"/>
                      <a:pt x="4" y="80"/>
                      <a:pt x="4" y="81"/>
                    </a:cubicBezTo>
                    <a:cubicBezTo>
                      <a:pt x="4" y="82"/>
                      <a:pt x="5" y="83"/>
                      <a:pt x="7" y="83"/>
                    </a:cubicBezTo>
                    <a:cubicBezTo>
                      <a:pt x="8" y="83"/>
                      <a:pt x="8" y="83"/>
                      <a:pt x="8" y="83"/>
                    </a:cubicBezTo>
                    <a:cubicBezTo>
                      <a:pt x="8" y="154"/>
                      <a:pt x="8" y="154"/>
                      <a:pt x="8" y="154"/>
                    </a:cubicBezTo>
                    <a:cubicBezTo>
                      <a:pt x="8" y="155"/>
                      <a:pt x="10" y="157"/>
                      <a:pt x="11" y="157"/>
                    </a:cubicBezTo>
                    <a:cubicBezTo>
                      <a:pt x="13" y="157"/>
                      <a:pt x="14" y="155"/>
                      <a:pt x="14" y="154"/>
                    </a:cubicBezTo>
                    <a:cubicBezTo>
                      <a:pt x="14" y="83"/>
                      <a:pt x="14" y="83"/>
                      <a:pt x="14" y="83"/>
                    </a:cubicBezTo>
                    <a:cubicBezTo>
                      <a:pt x="52" y="83"/>
                      <a:pt x="52" y="83"/>
                      <a:pt x="52" y="83"/>
                    </a:cubicBezTo>
                    <a:cubicBezTo>
                      <a:pt x="52" y="154"/>
                      <a:pt x="52" y="154"/>
                      <a:pt x="52" y="154"/>
                    </a:cubicBezTo>
                    <a:cubicBezTo>
                      <a:pt x="52" y="155"/>
                      <a:pt x="53" y="157"/>
                      <a:pt x="54" y="157"/>
                    </a:cubicBezTo>
                    <a:cubicBezTo>
                      <a:pt x="56" y="157"/>
                      <a:pt x="57" y="155"/>
                      <a:pt x="57" y="154"/>
                    </a:cubicBezTo>
                    <a:cubicBezTo>
                      <a:pt x="57" y="83"/>
                      <a:pt x="57" y="83"/>
                      <a:pt x="57" y="83"/>
                    </a:cubicBezTo>
                    <a:cubicBezTo>
                      <a:pt x="59" y="83"/>
                      <a:pt x="59" y="83"/>
                      <a:pt x="59" y="83"/>
                    </a:cubicBezTo>
                    <a:cubicBezTo>
                      <a:pt x="60" y="83"/>
                      <a:pt x="61" y="82"/>
                      <a:pt x="61" y="81"/>
                    </a:cubicBezTo>
                    <a:cubicBezTo>
                      <a:pt x="61" y="53"/>
                      <a:pt x="61" y="53"/>
                      <a:pt x="61" y="53"/>
                    </a:cubicBezTo>
                    <a:cubicBezTo>
                      <a:pt x="66" y="55"/>
                      <a:pt x="71" y="53"/>
                      <a:pt x="73" y="51"/>
                    </a:cubicBezTo>
                    <a:cubicBezTo>
                      <a:pt x="76" y="49"/>
                      <a:pt x="77" y="46"/>
                      <a:pt x="77" y="43"/>
                    </a:cubicBezTo>
                    <a:cubicBezTo>
                      <a:pt x="77" y="41"/>
                      <a:pt x="77" y="41"/>
                      <a:pt x="77" y="41"/>
                    </a:cubicBezTo>
                    <a:cubicBezTo>
                      <a:pt x="77" y="39"/>
                      <a:pt x="76" y="37"/>
                      <a:pt x="74" y="35"/>
                    </a:cubicBezTo>
                    <a:cubicBezTo>
                      <a:pt x="74" y="34"/>
                      <a:pt x="60" y="16"/>
                      <a:pt x="56" y="12"/>
                    </a:cubicBezTo>
                    <a:close/>
                    <a:moveTo>
                      <a:pt x="71" y="43"/>
                    </a:moveTo>
                    <a:cubicBezTo>
                      <a:pt x="71" y="45"/>
                      <a:pt x="71" y="46"/>
                      <a:pt x="70" y="47"/>
                    </a:cubicBezTo>
                    <a:cubicBezTo>
                      <a:pt x="68" y="48"/>
                      <a:pt x="65" y="49"/>
                      <a:pt x="63" y="48"/>
                    </a:cubicBezTo>
                    <a:cubicBezTo>
                      <a:pt x="60" y="46"/>
                      <a:pt x="60" y="46"/>
                      <a:pt x="60" y="46"/>
                    </a:cubicBezTo>
                    <a:cubicBezTo>
                      <a:pt x="60" y="46"/>
                      <a:pt x="60" y="46"/>
                      <a:pt x="60" y="45"/>
                    </a:cubicBezTo>
                    <a:cubicBezTo>
                      <a:pt x="47" y="35"/>
                      <a:pt x="47" y="35"/>
                      <a:pt x="47" y="35"/>
                    </a:cubicBezTo>
                    <a:cubicBezTo>
                      <a:pt x="46" y="34"/>
                      <a:pt x="44" y="35"/>
                      <a:pt x="44" y="36"/>
                    </a:cubicBezTo>
                    <a:cubicBezTo>
                      <a:pt x="43" y="37"/>
                      <a:pt x="43" y="39"/>
                      <a:pt x="44" y="40"/>
                    </a:cubicBezTo>
                    <a:cubicBezTo>
                      <a:pt x="56" y="49"/>
                      <a:pt x="56" y="49"/>
                      <a:pt x="56" y="49"/>
                    </a:cubicBezTo>
                    <a:cubicBezTo>
                      <a:pt x="56" y="78"/>
                      <a:pt x="56" y="78"/>
                      <a:pt x="56" y="78"/>
                    </a:cubicBezTo>
                    <a:cubicBezTo>
                      <a:pt x="10" y="78"/>
                      <a:pt x="10" y="78"/>
                      <a:pt x="10" y="78"/>
                    </a:cubicBezTo>
                    <a:cubicBezTo>
                      <a:pt x="10" y="74"/>
                      <a:pt x="11" y="67"/>
                      <a:pt x="14" y="60"/>
                    </a:cubicBezTo>
                    <a:cubicBezTo>
                      <a:pt x="14" y="60"/>
                      <a:pt x="14" y="59"/>
                      <a:pt x="14" y="59"/>
                    </a:cubicBezTo>
                    <a:cubicBezTo>
                      <a:pt x="13" y="55"/>
                      <a:pt x="7" y="40"/>
                      <a:pt x="7" y="40"/>
                    </a:cubicBezTo>
                    <a:cubicBezTo>
                      <a:pt x="6" y="35"/>
                      <a:pt x="6" y="29"/>
                      <a:pt x="6" y="24"/>
                    </a:cubicBezTo>
                    <a:cubicBezTo>
                      <a:pt x="6" y="21"/>
                      <a:pt x="6" y="21"/>
                      <a:pt x="6" y="21"/>
                    </a:cubicBezTo>
                    <a:cubicBezTo>
                      <a:pt x="6" y="19"/>
                      <a:pt x="7" y="18"/>
                      <a:pt x="8" y="16"/>
                    </a:cubicBezTo>
                    <a:cubicBezTo>
                      <a:pt x="16" y="10"/>
                      <a:pt x="16" y="10"/>
                      <a:pt x="16" y="10"/>
                    </a:cubicBezTo>
                    <a:cubicBezTo>
                      <a:pt x="21" y="7"/>
                      <a:pt x="23" y="6"/>
                      <a:pt x="27" y="6"/>
                    </a:cubicBezTo>
                    <a:cubicBezTo>
                      <a:pt x="33" y="6"/>
                      <a:pt x="35" y="7"/>
                      <a:pt x="38" y="8"/>
                    </a:cubicBezTo>
                    <a:cubicBezTo>
                      <a:pt x="40" y="9"/>
                      <a:pt x="40" y="9"/>
                      <a:pt x="40" y="9"/>
                    </a:cubicBezTo>
                    <a:cubicBezTo>
                      <a:pt x="44" y="11"/>
                      <a:pt x="50" y="14"/>
                      <a:pt x="52" y="16"/>
                    </a:cubicBezTo>
                    <a:cubicBezTo>
                      <a:pt x="55" y="19"/>
                      <a:pt x="66" y="33"/>
                      <a:pt x="70" y="38"/>
                    </a:cubicBezTo>
                    <a:cubicBezTo>
                      <a:pt x="71" y="39"/>
                      <a:pt x="71" y="40"/>
                      <a:pt x="71" y="41"/>
                    </a:cubicBezTo>
                    <a:lnTo>
                      <a:pt x="7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1" name="Freeform 127">
                <a:extLst>
                  <a:ext uri="{FF2B5EF4-FFF2-40B4-BE49-F238E27FC236}">
                    <a16:creationId xmlns:a16="http://schemas.microsoft.com/office/drawing/2014/main" id="{61DB3EC5-2CD9-4D37-9CF1-0D06ECFE8D7E}"/>
                  </a:ext>
                </a:extLst>
              </p:cNvPr>
              <p:cNvSpPr>
                <a:spLocks/>
              </p:cNvSpPr>
              <p:nvPr/>
            </p:nvSpPr>
            <p:spPr bwMode="auto">
              <a:xfrm>
                <a:off x="9648825" y="1855788"/>
                <a:ext cx="98425" cy="88900"/>
              </a:xfrm>
              <a:custGeom>
                <a:avLst/>
                <a:gdLst>
                  <a:gd name="T0" fmla="*/ 3 w 40"/>
                  <a:gd name="T1" fmla="*/ 32 h 36"/>
                  <a:gd name="T2" fmla="*/ 5 w 40"/>
                  <a:gd name="T3" fmla="*/ 29 h 36"/>
                  <a:gd name="T4" fmla="*/ 5 w 40"/>
                  <a:gd name="T5" fmla="*/ 27 h 36"/>
                  <a:gd name="T6" fmla="*/ 5 w 40"/>
                  <a:gd name="T7" fmla="*/ 21 h 36"/>
                  <a:gd name="T8" fmla="*/ 20 w 40"/>
                  <a:gd name="T9" fmla="*/ 6 h 36"/>
                  <a:gd name="T10" fmla="*/ 34 w 40"/>
                  <a:gd name="T11" fmla="*/ 21 h 36"/>
                  <a:gd name="T12" fmla="*/ 34 w 40"/>
                  <a:gd name="T13" fmla="*/ 27 h 36"/>
                  <a:gd name="T14" fmla="*/ 33 w 40"/>
                  <a:gd name="T15" fmla="*/ 33 h 36"/>
                  <a:gd name="T16" fmla="*/ 35 w 40"/>
                  <a:gd name="T17" fmla="*/ 36 h 36"/>
                  <a:gd name="T18" fmla="*/ 36 w 40"/>
                  <a:gd name="T19" fmla="*/ 36 h 36"/>
                  <a:gd name="T20" fmla="*/ 39 w 40"/>
                  <a:gd name="T21" fmla="*/ 34 h 36"/>
                  <a:gd name="T22" fmla="*/ 40 w 40"/>
                  <a:gd name="T23" fmla="*/ 27 h 36"/>
                  <a:gd name="T24" fmla="*/ 40 w 40"/>
                  <a:gd name="T25" fmla="*/ 21 h 36"/>
                  <a:gd name="T26" fmla="*/ 20 w 40"/>
                  <a:gd name="T27" fmla="*/ 0 h 36"/>
                  <a:gd name="T28" fmla="*/ 0 w 40"/>
                  <a:gd name="T29" fmla="*/ 21 h 36"/>
                  <a:gd name="T30" fmla="*/ 0 w 40"/>
                  <a:gd name="T31" fmla="*/ 27 h 36"/>
                  <a:gd name="T32" fmla="*/ 0 w 40"/>
                  <a:gd name="T33" fmla="*/ 30 h 36"/>
                  <a:gd name="T34" fmla="*/ 3 w 40"/>
                  <a:gd name="T3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36">
                    <a:moveTo>
                      <a:pt x="3" y="32"/>
                    </a:moveTo>
                    <a:cubicBezTo>
                      <a:pt x="5" y="32"/>
                      <a:pt x="6" y="31"/>
                      <a:pt x="5" y="29"/>
                    </a:cubicBezTo>
                    <a:cubicBezTo>
                      <a:pt x="5" y="29"/>
                      <a:pt x="5" y="28"/>
                      <a:pt x="5" y="27"/>
                    </a:cubicBezTo>
                    <a:cubicBezTo>
                      <a:pt x="5" y="21"/>
                      <a:pt x="5" y="21"/>
                      <a:pt x="5" y="21"/>
                    </a:cubicBezTo>
                    <a:cubicBezTo>
                      <a:pt x="5" y="13"/>
                      <a:pt x="12" y="6"/>
                      <a:pt x="20" y="6"/>
                    </a:cubicBezTo>
                    <a:cubicBezTo>
                      <a:pt x="28" y="6"/>
                      <a:pt x="34" y="13"/>
                      <a:pt x="34" y="21"/>
                    </a:cubicBezTo>
                    <a:cubicBezTo>
                      <a:pt x="34" y="27"/>
                      <a:pt x="34" y="27"/>
                      <a:pt x="34" y="27"/>
                    </a:cubicBezTo>
                    <a:cubicBezTo>
                      <a:pt x="34" y="29"/>
                      <a:pt x="34" y="31"/>
                      <a:pt x="33" y="33"/>
                    </a:cubicBezTo>
                    <a:cubicBezTo>
                      <a:pt x="33" y="34"/>
                      <a:pt x="34" y="36"/>
                      <a:pt x="35" y="36"/>
                    </a:cubicBezTo>
                    <a:cubicBezTo>
                      <a:pt x="35" y="36"/>
                      <a:pt x="36" y="36"/>
                      <a:pt x="36" y="36"/>
                    </a:cubicBezTo>
                    <a:cubicBezTo>
                      <a:pt x="37" y="36"/>
                      <a:pt x="38" y="36"/>
                      <a:pt x="39" y="34"/>
                    </a:cubicBezTo>
                    <a:cubicBezTo>
                      <a:pt x="39" y="32"/>
                      <a:pt x="40" y="30"/>
                      <a:pt x="40" y="27"/>
                    </a:cubicBezTo>
                    <a:cubicBezTo>
                      <a:pt x="40" y="21"/>
                      <a:pt x="40" y="21"/>
                      <a:pt x="40" y="21"/>
                    </a:cubicBezTo>
                    <a:cubicBezTo>
                      <a:pt x="40" y="10"/>
                      <a:pt x="31" y="0"/>
                      <a:pt x="20" y="0"/>
                    </a:cubicBezTo>
                    <a:cubicBezTo>
                      <a:pt x="9" y="0"/>
                      <a:pt x="0" y="10"/>
                      <a:pt x="0" y="21"/>
                    </a:cubicBezTo>
                    <a:cubicBezTo>
                      <a:pt x="0" y="27"/>
                      <a:pt x="0" y="27"/>
                      <a:pt x="0" y="27"/>
                    </a:cubicBezTo>
                    <a:cubicBezTo>
                      <a:pt x="0" y="28"/>
                      <a:pt x="0" y="29"/>
                      <a:pt x="0" y="30"/>
                    </a:cubicBezTo>
                    <a:cubicBezTo>
                      <a:pt x="0" y="32"/>
                      <a:pt x="2" y="33"/>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2" name="Freeform 128">
                <a:extLst>
                  <a:ext uri="{FF2B5EF4-FFF2-40B4-BE49-F238E27FC236}">
                    <a16:creationId xmlns:a16="http://schemas.microsoft.com/office/drawing/2014/main" id="{ED795A15-9520-416A-8C79-0D565383AC14}"/>
                  </a:ext>
                </a:extLst>
              </p:cNvPr>
              <p:cNvSpPr>
                <a:spLocks/>
              </p:cNvSpPr>
              <p:nvPr/>
            </p:nvSpPr>
            <p:spPr bwMode="auto">
              <a:xfrm>
                <a:off x="9680575" y="2187575"/>
                <a:ext cx="12700" cy="152400"/>
              </a:xfrm>
              <a:custGeom>
                <a:avLst/>
                <a:gdLst>
                  <a:gd name="T0" fmla="*/ 2 w 5"/>
                  <a:gd name="T1" fmla="*/ 0 h 62"/>
                  <a:gd name="T2" fmla="*/ 0 w 5"/>
                  <a:gd name="T3" fmla="*/ 3 h 62"/>
                  <a:gd name="T4" fmla="*/ 0 w 5"/>
                  <a:gd name="T5" fmla="*/ 59 h 62"/>
                  <a:gd name="T6" fmla="*/ 2 w 5"/>
                  <a:gd name="T7" fmla="*/ 62 h 62"/>
                  <a:gd name="T8" fmla="*/ 5 w 5"/>
                  <a:gd name="T9" fmla="*/ 59 h 62"/>
                  <a:gd name="T10" fmla="*/ 5 w 5"/>
                  <a:gd name="T11" fmla="*/ 3 h 62"/>
                  <a:gd name="T12" fmla="*/ 2 w 5"/>
                  <a:gd name="T13" fmla="*/ 0 h 62"/>
                </a:gdLst>
                <a:ahLst/>
                <a:cxnLst>
                  <a:cxn ang="0">
                    <a:pos x="T0" y="T1"/>
                  </a:cxn>
                  <a:cxn ang="0">
                    <a:pos x="T2" y="T3"/>
                  </a:cxn>
                  <a:cxn ang="0">
                    <a:pos x="T4" y="T5"/>
                  </a:cxn>
                  <a:cxn ang="0">
                    <a:pos x="T6" y="T7"/>
                  </a:cxn>
                  <a:cxn ang="0">
                    <a:pos x="T8" y="T9"/>
                  </a:cxn>
                  <a:cxn ang="0">
                    <a:pos x="T10" y="T11"/>
                  </a:cxn>
                  <a:cxn ang="0">
                    <a:pos x="T12" y="T13"/>
                  </a:cxn>
                </a:cxnLst>
                <a:rect l="0" t="0" r="r" b="b"/>
                <a:pathLst>
                  <a:path w="5" h="62">
                    <a:moveTo>
                      <a:pt x="2" y="0"/>
                    </a:moveTo>
                    <a:cubicBezTo>
                      <a:pt x="1" y="0"/>
                      <a:pt x="0" y="1"/>
                      <a:pt x="0" y="3"/>
                    </a:cubicBezTo>
                    <a:cubicBezTo>
                      <a:pt x="0" y="59"/>
                      <a:pt x="0" y="59"/>
                      <a:pt x="0" y="59"/>
                    </a:cubicBezTo>
                    <a:cubicBezTo>
                      <a:pt x="0" y="60"/>
                      <a:pt x="1" y="62"/>
                      <a:pt x="2" y="62"/>
                    </a:cubicBezTo>
                    <a:cubicBezTo>
                      <a:pt x="4" y="62"/>
                      <a:pt x="5" y="60"/>
                      <a:pt x="5" y="59"/>
                    </a:cubicBezTo>
                    <a:cubicBezTo>
                      <a:pt x="5" y="3"/>
                      <a:pt x="5" y="3"/>
                      <a:pt x="5" y="3"/>
                    </a:cubicBezTo>
                    <a:cubicBezTo>
                      <a:pt x="5" y="1"/>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sp>
            <p:nvSpPr>
              <p:cNvPr id="113" name="Freeform 129">
                <a:extLst>
                  <a:ext uri="{FF2B5EF4-FFF2-40B4-BE49-F238E27FC236}">
                    <a16:creationId xmlns:a16="http://schemas.microsoft.com/office/drawing/2014/main" id="{D67E7488-1BE0-42B7-B92C-8C0CAB70CEB3}"/>
                  </a:ext>
                </a:extLst>
              </p:cNvPr>
              <p:cNvSpPr>
                <a:spLocks/>
              </p:cNvSpPr>
              <p:nvPr/>
            </p:nvSpPr>
            <p:spPr bwMode="auto">
              <a:xfrm>
                <a:off x="9791700" y="1836738"/>
                <a:ext cx="231775" cy="374650"/>
              </a:xfrm>
              <a:custGeom>
                <a:avLst/>
                <a:gdLst>
                  <a:gd name="T0" fmla="*/ 91 w 94"/>
                  <a:gd name="T1" fmla="*/ 73 h 152"/>
                  <a:gd name="T2" fmla="*/ 81 w 94"/>
                  <a:gd name="T3" fmla="*/ 73 h 152"/>
                  <a:gd name="T4" fmla="*/ 42 w 94"/>
                  <a:gd name="T5" fmla="*/ 17 h 152"/>
                  <a:gd name="T6" fmla="*/ 42 w 94"/>
                  <a:gd name="T7" fmla="*/ 3 h 152"/>
                  <a:gd name="T8" fmla="*/ 39 w 94"/>
                  <a:gd name="T9" fmla="*/ 0 h 152"/>
                  <a:gd name="T10" fmla="*/ 37 w 94"/>
                  <a:gd name="T11" fmla="*/ 3 h 152"/>
                  <a:gd name="T12" fmla="*/ 37 w 94"/>
                  <a:gd name="T13" fmla="*/ 17 h 152"/>
                  <a:gd name="T14" fmla="*/ 0 w 94"/>
                  <a:gd name="T15" fmla="*/ 56 h 152"/>
                  <a:gd name="T16" fmla="*/ 2 w 94"/>
                  <a:gd name="T17" fmla="*/ 60 h 152"/>
                  <a:gd name="T18" fmla="*/ 6 w 94"/>
                  <a:gd name="T19" fmla="*/ 58 h 152"/>
                  <a:gd name="T20" fmla="*/ 37 w 94"/>
                  <a:gd name="T21" fmla="*/ 23 h 152"/>
                  <a:gd name="T22" fmla="*/ 37 w 94"/>
                  <a:gd name="T23" fmla="*/ 41 h 152"/>
                  <a:gd name="T24" fmla="*/ 39 w 94"/>
                  <a:gd name="T25" fmla="*/ 44 h 152"/>
                  <a:gd name="T26" fmla="*/ 42 w 94"/>
                  <a:gd name="T27" fmla="*/ 41 h 152"/>
                  <a:gd name="T28" fmla="*/ 42 w 94"/>
                  <a:gd name="T29" fmla="*/ 23 h 152"/>
                  <a:gd name="T30" fmla="*/ 75 w 94"/>
                  <a:gd name="T31" fmla="*/ 73 h 152"/>
                  <a:gd name="T32" fmla="*/ 65 w 94"/>
                  <a:gd name="T33" fmla="*/ 73 h 152"/>
                  <a:gd name="T34" fmla="*/ 62 w 94"/>
                  <a:gd name="T35" fmla="*/ 76 h 152"/>
                  <a:gd name="T36" fmla="*/ 65 w 94"/>
                  <a:gd name="T37" fmla="*/ 79 h 152"/>
                  <a:gd name="T38" fmla="*/ 75 w 94"/>
                  <a:gd name="T39" fmla="*/ 79 h 152"/>
                  <a:gd name="T40" fmla="*/ 42 w 94"/>
                  <a:gd name="T41" fmla="*/ 129 h 152"/>
                  <a:gd name="T42" fmla="*/ 42 w 94"/>
                  <a:gd name="T43" fmla="*/ 110 h 152"/>
                  <a:gd name="T44" fmla="*/ 39 w 94"/>
                  <a:gd name="T45" fmla="*/ 108 h 152"/>
                  <a:gd name="T46" fmla="*/ 37 w 94"/>
                  <a:gd name="T47" fmla="*/ 110 h 152"/>
                  <a:gd name="T48" fmla="*/ 37 w 94"/>
                  <a:gd name="T49" fmla="*/ 129 h 152"/>
                  <a:gd name="T50" fmla="*/ 14 w 94"/>
                  <a:gd name="T51" fmla="*/ 113 h 152"/>
                  <a:gd name="T52" fmla="*/ 10 w 94"/>
                  <a:gd name="T53" fmla="*/ 113 h 152"/>
                  <a:gd name="T54" fmla="*/ 9 w 94"/>
                  <a:gd name="T55" fmla="*/ 117 h 152"/>
                  <a:gd name="T56" fmla="*/ 37 w 94"/>
                  <a:gd name="T57" fmla="*/ 135 h 152"/>
                  <a:gd name="T58" fmla="*/ 37 w 94"/>
                  <a:gd name="T59" fmla="*/ 149 h 152"/>
                  <a:gd name="T60" fmla="*/ 39 w 94"/>
                  <a:gd name="T61" fmla="*/ 152 h 152"/>
                  <a:gd name="T62" fmla="*/ 42 w 94"/>
                  <a:gd name="T63" fmla="*/ 149 h 152"/>
                  <a:gd name="T64" fmla="*/ 42 w 94"/>
                  <a:gd name="T65" fmla="*/ 135 h 152"/>
                  <a:gd name="T66" fmla="*/ 81 w 94"/>
                  <a:gd name="T67" fmla="*/ 79 h 152"/>
                  <a:gd name="T68" fmla="*/ 91 w 94"/>
                  <a:gd name="T69" fmla="*/ 79 h 152"/>
                  <a:gd name="T70" fmla="*/ 94 w 94"/>
                  <a:gd name="T71" fmla="*/ 76 h 152"/>
                  <a:gd name="T72" fmla="*/ 91 w 94"/>
                  <a:gd name="T73" fmla="*/ 7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152">
                    <a:moveTo>
                      <a:pt x="91" y="73"/>
                    </a:moveTo>
                    <a:cubicBezTo>
                      <a:pt x="81" y="73"/>
                      <a:pt x="81" y="73"/>
                      <a:pt x="81" y="73"/>
                    </a:cubicBezTo>
                    <a:cubicBezTo>
                      <a:pt x="80" y="43"/>
                      <a:pt x="63" y="19"/>
                      <a:pt x="42" y="17"/>
                    </a:cubicBezTo>
                    <a:cubicBezTo>
                      <a:pt x="42" y="3"/>
                      <a:pt x="42" y="3"/>
                      <a:pt x="42" y="3"/>
                    </a:cubicBezTo>
                    <a:cubicBezTo>
                      <a:pt x="42" y="1"/>
                      <a:pt x="41" y="0"/>
                      <a:pt x="39" y="0"/>
                    </a:cubicBezTo>
                    <a:cubicBezTo>
                      <a:pt x="38" y="0"/>
                      <a:pt x="37" y="1"/>
                      <a:pt x="37" y="3"/>
                    </a:cubicBezTo>
                    <a:cubicBezTo>
                      <a:pt x="37" y="17"/>
                      <a:pt x="37" y="17"/>
                      <a:pt x="37" y="17"/>
                    </a:cubicBezTo>
                    <a:cubicBezTo>
                      <a:pt x="20" y="19"/>
                      <a:pt x="6" y="34"/>
                      <a:pt x="0" y="56"/>
                    </a:cubicBezTo>
                    <a:cubicBezTo>
                      <a:pt x="0" y="58"/>
                      <a:pt x="1" y="59"/>
                      <a:pt x="2" y="60"/>
                    </a:cubicBezTo>
                    <a:cubicBezTo>
                      <a:pt x="4" y="60"/>
                      <a:pt x="5" y="59"/>
                      <a:pt x="6" y="58"/>
                    </a:cubicBezTo>
                    <a:cubicBezTo>
                      <a:pt x="10" y="38"/>
                      <a:pt x="23" y="24"/>
                      <a:pt x="37" y="23"/>
                    </a:cubicBezTo>
                    <a:cubicBezTo>
                      <a:pt x="37" y="41"/>
                      <a:pt x="37" y="41"/>
                      <a:pt x="37" y="41"/>
                    </a:cubicBezTo>
                    <a:cubicBezTo>
                      <a:pt x="37" y="43"/>
                      <a:pt x="38" y="44"/>
                      <a:pt x="39" y="44"/>
                    </a:cubicBezTo>
                    <a:cubicBezTo>
                      <a:pt x="41" y="44"/>
                      <a:pt x="42" y="43"/>
                      <a:pt x="42" y="41"/>
                    </a:cubicBezTo>
                    <a:cubicBezTo>
                      <a:pt x="42" y="23"/>
                      <a:pt x="42" y="23"/>
                      <a:pt x="42" y="23"/>
                    </a:cubicBezTo>
                    <a:cubicBezTo>
                      <a:pt x="60" y="25"/>
                      <a:pt x="74" y="46"/>
                      <a:pt x="75" y="73"/>
                    </a:cubicBezTo>
                    <a:cubicBezTo>
                      <a:pt x="65" y="73"/>
                      <a:pt x="65" y="73"/>
                      <a:pt x="65" y="73"/>
                    </a:cubicBezTo>
                    <a:cubicBezTo>
                      <a:pt x="64" y="73"/>
                      <a:pt x="62" y="74"/>
                      <a:pt x="62" y="76"/>
                    </a:cubicBezTo>
                    <a:cubicBezTo>
                      <a:pt x="62" y="77"/>
                      <a:pt x="64" y="79"/>
                      <a:pt x="65" y="79"/>
                    </a:cubicBezTo>
                    <a:cubicBezTo>
                      <a:pt x="75" y="79"/>
                      <a:pt x="75" y="79"/>
                      <a:pt x="75" y="79"/>
                    </a:cubicBezTo>
                    <a:cubicBezTo>
                      <a:pt x="74" y="105"/>
                      <a:pt x="60" y="127"/>
                      <a:pt x="42" y="129"/>
                    </a:cubicBezTo>
                    <a:cubicBezTo>
                      <a:pt x="42" y="110"/>
                      <a:pt x="42" y="110"/>
                      <a:pt x="42" y="110"/>
                    </a:cubicBezTo>
                    <a:cubicBezTo>
                      <a:pt x="42" y="109"/>
                      <a:pt x="41" y="108"/>
                      <a:pt x="39" y="108"/>
                    </a:cubicBezTo>
                    <a:cubicBezTo>
                      <a:pt x="38" y="108"/>
                      <a:pt x="37" y="109"/>
                      <a:pt x="37" y="110"/>
                    </a:cubicBezTo>
                    <a:cubicBezTo>
                      <a:pt x="37" y="129"/>
                      <a:pt x="37" y="129"/>
                      <a:pt x="37" y="129"/>
                    </a:cubicBezTo>
                    <a:cubicBezTo>
                      <a:pt x="28" y="128"/>
                      <a:pt x="20" y="123"/>
                      <a:pt x="14" y="113"/>
                    </a:cubicBezTo>
                    <a:cubicBezTo>
                      <a:pt x="13" y="112"/>
                      <a:pt x="11" y="112"/>
                      <a:pt x="10" y="113"/>
                    </a:cubicBezTo>
                    <a:cubicBezTo>
                      <a:pt x="9" y="114"/>
                      <a:pt x="8" y="115"/>
                      <a:pt x="9" y="117"/>
                    </a:cubicBezTo>
                    <a:cubicBezTo>
                      <a:pt x="16" y="127"/>
                      <a:pt x="26" y="134"/>
                      <a:pt x="37" y="135"/>
                    </a:cubicBezTo>
                    <a:cubicBezTo>
                      <a:pt x="37" y="149"/>
                      <a:pt x="37" y="149"/>
                      <a:pt x="37" y="149"/>
                    </a:cubicBezTo>
                    <a:cubicBezTo>
                      <a:pt x="37" y="151"/>
                      <a:pt x="38" y="152"/>
                      <a:pt x="39" y="152"/>
                    </a:cubicBezTo>
                    <a:cubicBezTo>
                      <a:pt x="41" y="152"/>
                      <a:pt x="42" y="151"/>
                      <a:pt x="42" y="149"/>
                    </a:cubicBezTo>
                    <a:cubicBezTo>
                      <a:pt x="42" y="135"/>
                      <a:pt x="42" y="135"/>
                      <a:pt x="42" y="135"/>
                    </a:cubicBezTo>
                    <a:cubicBezTo>
                      <a:pt x="63" y="133"/>
                      <a:pt x="80" y="109"/>
                      <a:pt x="81" y="79"/>
                    </a:cubicBezTo>
                    <a:cubicBezTo>
                      <a:pt x="91" y="79"/>
                      <a:pt x="91" y="79"/>
                      <a:pt x="91" y="79"/>
                    </a:cubicBezTo>
                    <a:cubicBezTo>
                      <a:pt x="93" y="79"/>
                      <a:pt x="94" y="77"/>
                      <a:pt x="94" y="76"/>
                    </a:cubicBezTo>
                    <a:cubicBezTo>
                      <a:pt x="94" y="74"/>
                      <a:pt x="93" y="73"/>
                      <a:pt x="91"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ru-RU"/>
              </a:p>
            </p:txBody>
          </p:sp>
        </p:grpSp>
      </p:grpSp>
    </p:spTree>
    <p:extLst>
      <p:ext uri="{BB962C8B-B14F-4D97-AF65-F5344CB8AC3E}">
        <p14:creationId xmlns:p14="http://schemas.microsoft.com/office/powerpoint/2010/main" val="215018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4"/>
                                        </p:tgtEl>
                                        <p:attrNameLst>
                                          <p:attrName>style.visibility</p:attrName>
                                        </p:attrNameLst>
                                      </p:cBhvr>
                                      <p:to>
                                        <p:strVal val="visible"/>
                                      </p:to>
                                    </p:set>
                                    <p:animEffect transition="in" filter="fade">
                                      <p:cBhvr>
                                        <p:cTn id="7" dur="500"/>
                                        <p:tgtEl>
                                          <p:spTgt spid="1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1"/>
                                        </p:tgtEl>
                                        <p:attrNameLst>
                                          <p:attrName>style.visibility</p:attrName>
                                        </p:attrNameLst>
                                      </p:cBhvr>
                                      <p:to>
                                        <p:strVal val="visible"/>
                                      </p:to>
                                    </p:set>
                                    <p:animEffect transition="in" filter="fade">
                                      <p:cBhvr>
                                        <p:cTn id="12" dur="500"/>
                                        <p:tgtEl>
                                          <p:spTgt spid="1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6"/>
                                        </p:tgtEl>
                                        <p:attrNameLst>
                                          <p:attrName>style.visibility</p:attrName>
                                        </p:attrNameLst>
                                      </p:cBhvr>
                                      <p:to>
                                        <p:strVal val="visible"/>
                                      </p:to>
                                    </p:set>
                                    <p:animEffect transition="in" filter="fade">
                                      <p:cBhvr>
                                        <p:cTn id="17" dur="500"/>
                                        <p:tgtEl>
                                          <p:spTgt spid="1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8"/>
                                        </p:tgtEl>
                                        <p:attrNameLst>
                                          <p:attrName>style.visibility</p:attrName>
                                        </p:attrNameLst>
                                      </p:cBhvr>
                                      <p:to>
                                        <p:strVal val="visible"/>
                                      </p:to>
                                    </p:set>
                                    <p:animEffect transition="in" filter="fade">
                                      <p:cBhvr>
                                        <p:cTn id="27" dur="500"/>
                                        <p:tgtEl>
                                          <p:spTgt spid="11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19"/>
                                        </p:tgtEl>
                                        <p:attrNameLst>
                                          <p:attrName>style.visibility</p:attrName>
                                        </p:attrNameLst>
                                      </p:cBhvr>
                                      <p:to>
                                        <p:strVal val="visible"/>
                                      </p:to>
                                    </p:set>
                                    <p:animEffect transition="in" filter="fade">
                                      <p:cBhvr>
                                        <p:cTn id="32" dur="500"/>
                                        <p:tgtEl>
                                          <p:spTgt spid="11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20"/>
                                        </p:tgtEl>
                                        <p:attrNameLst>
                                          <p:attrName>style.visibility</p:attrName>
                                        </p:attrNameLst>
                                      </p:cBhvr>
                                      <p:to>
                                        <p:strVal val="visible"/>
                                      </p:to>
                                    </p:set>
                                    <p:animEffect transition="in" filter="fade">
                                      <p:cBhvr>
                                        <p:cTn id="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4GMYdetqbqsLqVOhLzw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MyHdGrhiO5e5lzjzxyY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9MwEb_JIZPsNxaw..bv_A"/>
</p:tagLst>
</file>

<file path=ppt/theme/theme1.xml><?xml version="1.0" encoding="utf-8"?>
<a:theme xmlns:a="http://schemas.openxmlformats.org/drawingml/2006/main" name="BITOBE 2021">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ITOBE 2021" id="{F32BD2E9-85E1-41C3-9BC8-31D0375B8197}" vid="{590F9087-2E63-45AA-8838-4B6272EDF924}"/>
    </a:ext>
  </a:extLst>
</a:theme>
</file>

<file path=ppt/theme/theme2.xml><?xml version="1.0" encoding="utf-8"?>
<a:theme xmlns:a="http://schemas.openxmlformats.org/drawingml/2006/main" name="3_Шаблон BITOBE для электронных версий 2018-01-15">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 презентации BITOBE_основной" id="{DEECF613-5314-442F-8727-B60B45B37289}" vid="{245F2E1E-5D45-4523-A95D-4AB66856489A}"/>
    </a:ext>
  </a:extLst>
</a:theme>
</file>

<file path=ppt/theme/theme3.xml><?xml version="1.0" encoding="utf-8"?>
<a:theme xmlns:a="http://schemas.openxmlformats.org/drawingml/2006/main" name="Методологи">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 презентации BITOBE_основной" id="{DEECF613-5314-442F-8727-B60B45B37289}" vid="{245F2E1E-5D45-4523-A95D-4AB66856489A}"/>
    </a:ext>
  </a:extLst>
</a:theme>
</file>

<file path=ppt/theme/theme4.xml><?xml version="1.0" encoding="utf-8"?>
<a:theme xmlns:a="http://schemas.openxmlformats.org/drawingml/2006/main" name="8_Шаблон BITOBE для электронных версий 2018-01-15">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 презентации BITOBE_основной" id="{DEECF613-5314-442F-8727-B60B45B37289}" vid="{245F2E1E-5D45-4523-A95D-4AB66856489A}"/>
    </a:ext>
  </a:extLst>
</a:theme>
</file>

<file path=ppt/theme/theme5.xml><?xml version="1.0" encoding="utf-8"?>
<a:theme xmlns:a="http://schemas.openxmlformats.org/drawingml/2006/main" name="9_Шаблон BITOBE для электронных версий 2018-01-15">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 презентации BITOBE_основной" id="{DEECF613-5314-442F-8727-B60B45B37289}" vid="{245F2E1E-5D45-4523-A95D-4AB66856489A}"/>
    </a:ext>
  </a:extLst>
</a:theme>
</file>

<file path=ppt/theme/theme6.xml><?xml version="1.0" encoding="utf-8"?>
<a:theme xmlns:a="http://schemas.openxmlformats.org/drawingml/2006/main" name="1_БЕРЕМ ВОТ ЭТОТ (переименовать)">
  <a:themeElements>
    <a:clrScheme name="Другая 34">
      <a:dk1>
        <a:srgbClr val="3D424C"/>
      </a:dk1>
      <a:lt1>
        <a:srgbClr val="FFFFFF"/>
      </a:lt1>
      <a:dk2>
        <a:srgbClr val="002266"/>
      </a:dk2>
      <a:lt2>
        <a:srgbClr val="DFE8F2"/>
      </a:lt2>
      <a:accent1>
        <a:srgbClr val="3A5BA7"/>
      </a:accent1>
      <a:accent2>
        <a:srgbClr val="72A0D5"/>
      </a:accent2>
      <a:accent3>
        <a:srgbClr val="56B78D"/>
      </a:accent3>
      <a:accent4>
        <a:srgbClr val="FAAF58"/>
      </a:accent4>
      <a:accent5>
        <a:srgbClr val="FF6D6D"/>
      </a:accent5>
      <a:accent6>
        <a:srgbClr val="7D8696"/>
      </a:accent6>
      <a:hlink>
        <a:srgbClr val="3A5BA7"/>
      </a:hlink>
      <a:folHlink>
        <a:srgbClr val="7D8696"/>
      </a:folHlink>
    </a:clrScheme>
    <a:fontScheme name="Другая 16">
      <a:majorFont>
        <a:latin typeface="Segoe UI Semibold"/>
        <a:ea typeface=""/>
        <a:cs typeface=""/>
      </a:majorFont>
      <a:minorFont>
        <a:latin typeface="Segoe UI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 презентации BITOBE_основной" id="{DEECF613-5314-442F-8727-B60B45B37289}" vid="{245F2E1E-5D45-4523-A95D-4AB66856489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ITOBE 2021</Template>
  <Application>Microsoft Office PowerPoint</Application>
  <PresentationFormat>Широкоэкранный</PresentationFormat>
  <Slides>18</Slides>
  <Notes>11</Notes>
  <HiddenSlides>0</HiddenSlides>
  <ScaleCrop>false</ScaleCrop>
  <HeadingPairs>
    <vt:vector size="4" baseType="variant">
      <vt:variant>
        <vt:lpstr>Тема</vt:lpstr>
      </vt:variant>
      <vt:variant>
        <vt:i4>6</vt:i4>
      </vt:variant>
      <vt:variant>
        <vt:lpstr>Заголовки слайдов</vt:lpstr>
      </vt:variant>
      <vt:variant>
        <vt:i4>18</vt:i4>
      </vt:variant>
    </vt:vector>
  </HeadingPairs>
  <TitlesOfParts>
    <vt:vector size="24" baseType="lpstr">
      <vt:lpstr>BITOBE 2021</vt:lpstr>
      <vt:lpstr>3_Шаблон BITOBE для электронных версий 2018-01-15</vt:lpstr>
      <vt:lpstr>Методологи</vt:lpstr>
      <vt:lpstr>8_Шаблон BITOBE для электронных версий 2018-01-15</vt:lpstr>
      <vt:lpstr>9_Шаблон BITOBE для электронных версий 2018-01-15</vt:lpstr>
      <vt:lpstr>1_БЕРЕМ ВОТ ЭТОТ (переименовать)</vt:lpstr>
      <vt:lpstr>Презентация PowerPoint</vt:lpstr>
      <vt:lpstr>Что такое трансформация</vt:lpstr>
      <vt:lpstr>Глубина трансформации бизнеса – классический подход</vt:lpstr>
      <vt:lpstr>Организационная модель как объект трансформации</vt:lpstr>
      <vt:lpstr>8 шагов, приводящих к успешной трансформации</vt:lpstr>
      <vt:lpstr>Трансформация и корпоративная культура</vt:lpstr>
      <vt:lpstr>Альтернативный подход к трансформациям</vt:lpstr>
      <vt:lpstr>Эмоциональный цикл перемен</vt:lpstr>
      <vt:lpstr>Возможное минное поле: как избежать ошибок </vt:lpstr>
      <vt:lpstr>7 рычагов изменений</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Шаблон для КП по обучению</dc:title>
  <dc:creator>BITOBE</dc:creator>
  <cp:revision>3</cp:revision>
  <cp:lastPrinted>2019-10-03T09:12:20Z</cp:lastPrinted>
  <dcterms:created xsi:type="dcterms:W3CDTF">2018-05-15T15:14:19Z</dcterms:created>
  <dcterms:modified xsi:type="dcterms:W3CDTF">2021-10-04T13:23:55Z</dcterms:modified>
</cp:coreProperties>
</file>